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27"/>
  </p:notesMasterIdLst>
  <p:sldIdLst>
    <p:sldId id="258" r:id="rId2"/>
    <p:sldId id="260" r:id="rId3"/>
    <p:sldId id="261" r:id="rId4"/>
    <p:sldId id="262" r:id="rId5"/>
    <p:sldId id="264" r:id="rId6"/>
    <p:sldId id="283" r:id="rId7"/>
    <p:sldId id="263" r:id="rId8"/>
    <p:sldId id="265" r:id="rId9"/>
    <p:sldId id="266" r:id="rId10"/>
    <p:sldId id="268" r:id="rId11"/>
    <p:sldId id="267" r:id="rId12"/>
    <p:sldId id="278" r:id="rId13"/>
    <p:sldId id="269" r:id="rId14"/>
    <p:sldId id="270" r:id="rId15"/>
    <p:sldId id="281" r:id="rId16"/>
    <p:sldId id="271" r:id="rId17"/>
    <p:sldId id="282" r:id="rId18"/>
    <p:sldId id="274" r:id="rId19"/>
    <p:sldId id="272" r:id="rId20"/>
    <p:sldId id="275" r:id="rId21"/>
    <p:sldId id="288" r:id="rId22"/>
    <p:sldId id="286" r:id="rId23"/>
    <p:sldId id="287" r:id="rId24"/>
    <p:sldId id="289" r:id="rId25"/>
    <p:sldId id="279" r:id="rId26"/>
  </p:sldIdLst>
  <p:sldSz cx="12192000" cy="6858000"/>
  <p:notesSz cx="6858000" cy="9144000"/>
  <p:embeddedFontLs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Raleway" panose="020B0003030101060003" pitchFamily="34" charset="0"/>
      <p:regular r:id="rId32"/>
      <p:bold r:id="rId33"/>
    </p:embeddedFont>
    <p:embeddedFont>
      <p:font typeface="Calibri Light" panose="020F0302020204030204" pitchFamily="34" charset="0"/>
      <p:regular r:id="rId34"/>
      <p:italic r:id="rId3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848" userDrawn="1">
          <p15:clr>
            <a:srgbClr val="A4A3A4"/>
          </p15:clr>
        </p15:guide>
        <p15:guide id="2" pos="672" userDrawn="1">
          <p15:clr>
            <a:srgbClr val="A4A3A4"/>
          </p15:clr>
        </p15:guide>
        <p15:guide id="3" orient="horz" pos="672" userDrawn="1">
          <p15:clr>
            <a:srgbClr val="A4A3A4"/>
          </p15:clr>
        </p15:guide>
        <p15:guide id="4" pos="35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4CB"/>
    <a:srgbClr val="E3E3DD"/>
    <a:srgbClr val="E3DDDD"/>
    <a:srgbClr val="EBDDDD"/>
    <a:srgbClr val="DDDDDD"/>
    <a:srgbClr val="B2B2B2"/>
    <a:srgbClr val="00C2F3"/>
    <a:srgbClr val="212A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4" autoAdjust="0"/>
    <p:restoredTop sz="74370" autoAdjust="0"/>
  </p:normalViewPr>
  <p:slideViewPr>
    <p:cSldViewPr snapToGrid="0" showGuides="1">
      <p:cViewPr>
        <p:scale>
          <a:sx n="75" d="100"/>
          <a:sy n="75" d="100"/>
        </p:scale>
        <p:origin x="-1434" y="-330"/>
      </p:cViewPr>
      <p:guideLst>
        <p:guide orient="horz" pos="1848"/>
        <p:guide orient="horz" pos="672"/>
        <p:guide pos="672"/>
        <p:guide pos="3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6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5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1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C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912097793331388E-2"/>
          <c:y val="6.5573770491803282E-2"/>
          <c:w val="0.61121877126470303"/>
          <c:h val="0.7531868250075297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tificial Intelligence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trendline>
            <c:name>Computing Power</c:name>
            <c:spPr>
              <a:ln w="63500">
                <a:solidFill>
                  <a:srgbClr val="0084CB"/>
                </a:solidFill>
                <a:tailEnd type="triangle"/>
              </a:ln>
            </c:spPr>
            <c:trendlineType val="exp"/>
            <c:dispRSqr val="0"/>
            <c:dispEq val="0"/>
          </c:trendline>
          <c:cat>
            <c:strRef>
              <c:f>Sheet1!$A$2:$A$6</c:f>
              <c:strCache>
                <c:ptCount val="5"/>
                <c:pt idx="0">
                  <c:v>80s</c:v>
                </c:pt>
                <c:pt idx="1">
                  <c:v>90s</c:v>
                </c:pt>
                <c:pt idx="2">
                  <c:v>00s</c:v>
                </c:pt>
                <c:pt idx="3">
                  <c:v>10s</c:v>
                </c:pt>
                <c:pt idx="4">
                  <c:v>20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</c:v>
                </c:pt>
                <c:pt idx="1">
                  <c:v>15</c:v>
                </c:pt>
                <c:pt idx="2">
                  <c:v>40</c:v>
                </c:pt>
                <c:pt idx="3">
                  <c:v>20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B8E-4EFF-9BD1-D381143763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chine Learning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trendline>
            <c:name>Internet Infrastructure</c:name>
            <c:spPr>
              <a:ln w="63500">
                <a:solidFill>
                  <a:srgbClr val="00C2F3"/>
                </a:solidFill>
                <a:tailEnd type="triangle"/>
              </a:ln>
            </c:spPr>
            <c:trendlineType val="exp"/>
            <c:dispRSqr val="0"/>
            <c:dispEq val="0"/>
          </c:trendline>
          <c:cat>
            <c:strRef>
              <c:f>Sheet1!$A$2:$A$6</c:f>
              <c:strCache>
                <c:ptCount val="5"/>
                <c:pt idx="0">
                  <c:v>80s</c:v>
                </c:pt>
                <c:pt idx="1">
                  <c:v>90s</c:v>
                </c:pt>
                <c:pt idx="2">
                  <c:v>00s</c:v>
                </c:pt>
                <c:pt idx="3">
                  <c:v>10s</c:v>
                </c:pt>
                <c:pt idx="4">
                  <c:v>20s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0</c:v>
                </c:pt>
                <c:pt idx="1">
                  <c:v>15</c:v>
                </c:pt>
                <c:pt idx="2">
                  <c:v>30</c:v>
                </c:pt>
                <c:pt idx="3">
                  <c:v>20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B8E-4EFF-9BD1-D381143763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atural Language Processing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trendline>
            <c:name>Machine Learning &amp; A.I.</c:name>
            <c:spPr>
              <a:ln w="63500">
                <a:solidFill>
                  <a:schemeClr val="bg1">
                    <a:lumMod val="50000"/>
                  </a:schemeClr>
                </a:solidFill>
                <a:tailEnd type="triangle"/>
              </a:ln>
            </c:spPr>
            <c:trendlineType val="exp"/>
            <c:dispRSqr val="0"/>
            <c:dispEq val="0"/>
          </c:trendline>
          <c:cat>
            <c:strRef>
              <c:f>Sheet1!$A$2:$A$6</c:f>
              <c:strCache>
                <c:ptCount val="5"/>
                <c:pt idx="0">
                  <c:v>80s</c:v>
                </c:pt>
                <c:pt idx="1">
                  <c:v>90s</c:v>
                </c:pt>
                <c:pt idx="2">
                  <c:v>00s</c:v>
                </c:pt>
                <c:pt idx="3">
                  <c:v>10s</c:v>
                </c:pt>
                <c:pt idx="4">
                  <c:v>20s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10</c:v>
                </c:pt>
                <c:pt idx="1">
                  <c:v>10</c:v>
                </c:pt>
                <c:pt idx="2">
                  <c:v>15</c:v>
                </c:pt>
                <c:pt idx="3">
                  <c:v>20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B8E-4EFF-9BD1-D381143763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7166336"/>
        <c:axId val="125881152"/>
      </c:lineChart>
      <c:catAx>
        <c:axId val="13716633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2000" b="0">
                    <a:solidFill>
                      <a:srgbClr val="0084CB"/>
                    </a:solidFill>
                    <a:latin typeface="Raleway" panose="020B0003030101060003" pitchFamily="34" charset="0"/>
                  </a:defRPr>
                </a:pPr>
                <a:r>
                  <a:rPr lang="en-CA" sz="2000" b="0">
                    <a:solidFill>
                      <a:srgbClr val="0084CB"/>
                    </a:solidFill>
                    <a:latin typeface="Raleway" panose="020B0003030101060003" pitchFamily="34" charset="0"/>
                  </a:rPr>
                  <a:t>Year</a:t>
                </a:r>
              </a:p>
            </c:rich>
          </c:tx>
          <c:layout>
            <c:manualLayout>
              <c:xMode val="edge"/>
              <c:yMode val="edge"/>
              <c:x val="0.33260401477593077"/>
              <c:y val="0.91751774880598957"/>
            </c:manualLayout>
          </c:layout>
          <c:overlay val="0"/>
        </c:title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2">
                    <a:lumMod val="50000"/>
                  </a:schemeClr>
                </a:solidFill>
              </a:defRPr>
            </a:pPr>
            <a:endParaRPr lang="en-US"/>
          </a:p>
        </c:txPr>
        <c:crossAx val="125881152"/>
        <c:crosses val="autoZero"/>
        <c:auto val="1"/>
        <c:lblAlgn val="ctr"/>
        <c:lblOffset val="100"/>
        <c:noMultiLvlLbl val="0"/>
      </c:catAx>
      <c:valAx>
        <c:axId val="125881152"/>
        <c:scaling>
          <c:orientation val="minMax"/>
        </c:scaling>
        <c:delete val="1"/>
        <c:axPos val="l"/>
        <c:title>
          <c:tx>
            <c:rich>
              <a:bodyPr rot="-5400000" vert="horz"/>
              <a:lstStyle/>
              <a:p>
                <a:pPr>
                  <a:defRPr sz="2000" b="0">
                    <a:solidFill>
                      <a:srgbClr val="0084CB"/>
                    </a:solidFill>
                  </a:defRPr>
                </a:pPr>
                <a:r>
                  <a:rPr lang="en-CA" sz="2000" b="0">
                    <a:solidFill>
                      <a:srgbClr val="0084CB"/>
                    </a:solidFill>
                  </a:rPr>
                  <a:t>Maturity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37166336"/>
        <c:crosses val="autoZero"/>
        <c:crossBetween val="between"/>
      </c:valAx>
    </c:plotArea>
    <c:legend>
      <c:legendPos val="r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ayout/>
      <c:overlay val="0"/>
      <c:txPr>
        <a:bodyPr/>
        <a:lstStyle/>
        <a:p>
          <a:pPr>
            <a:defRPr sz="160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20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1D753A-AE95-4D31-9EF1-8CE92F0D395F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652941-7633-4522-83A8-D7CE6B3F9E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448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ccRobot</a:t>
            </a:r>
            <a:r>
              <a:rPr lang="en-US" dirty="0" smtClean="0"/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Cloud Based; Enterprise</a:t>
            </a:r>
            <a:r>
              <a:rPr lang="en-US" baseline="0" dirty="0" smtClean="0"/>
              <a:t> Graded; Agile </a:t>
            </a:r>
            <a:r>
              <a:rPr lang="en-US" baseline="0" dirty="0" err="1" smtClean="0"/>
              <a:t>Chatbot</a:t>
            </a:r>
            <a:r>
              <a:rPr lang="en-US" baseline="0" dirty="0" smtClean="0"/>
              <a:t> Development Platform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he Build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DIY; </a:t>
            </a:r>
            <a:r>
              <a:rPr lang="en-CA" dirty="0" smtClean="0"/>
              <a:t>Program</a:t>
            </a:r>
            <a:r>
              <a:rPr lang="en-CA" baseline="0" dirty="0" smtClean="0"/>
              <a:t> by example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aseline="0" dirty="0" smtClean="0"/>
              <a:t>  Deploy Quickly; </a:t>
            </a:r>
            <a:r>
              <a:rPr lang="en-US" dirty="0" smtClean="0"/>
              <a:t>Low</a:t>
            </a:r>
            <a:r>
              <a:rPr lang="en-US" baseline="0" dirty="0" smtClean="0"/>
              <a:t> Risk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Result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Any</a:t>
            </a:r>
            <a:r>
              <a:rPr lang="en-US" baseline="0" dirty="0" smtClean="0"/>
              <a:t> Language; 24/7; Cost + Service Quality Optimization;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046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 err="1" smtClean="0"/>
              <a:t>ccRobot</a:t>
            </a:r>
            <a:r>
              <a:rPr lang="en-CA" dirty="0" smtClean="0"/>
              <a:t> uses the most cutting edge machine learning in the industry, which means it learns very fast. Your organization can start using it right away, and see the impact almost immediately – both in terms of reducing cost and improving customer experience.</a:t>
            </a: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5509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4562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rogram by example</a:t>
            </a:r>
          </a:p>
          <a:p>
            <a:r>
              <a:rPr lang="en-US" dirty="0" smtClean="0"/>
              <a:t>Train / Compile at needed</a:t>
            </a:r>
          </a:p>
          <a:p>
            <a:r>
              <a:rPr lang="en-US" dirty="0" smtClean="0"/>
              <a:t>No external</a:t>
            </a:r>
            <a:r>
              <a:rPr lang="en-US" baseline="0" dirty="0" smtClean="0"/>
              <a:t> consultant</a:t>
            </a:r>
            <a:endParaRPr lang="en-US" dirty="0" smtClean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3657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User Experience [</a:t>
            </a:r>
            <a:r>
              <a:rPr lang="en-US" baseline="0" dirty="0" smtClean="0"/>
              <a:t>korahlimited.spoon.x10host.com/</a:t>
            </a:r>
            <a:r>
              <a:rPr lang="en-US" baseline="0" dirty="0" err="1" smtClean="0"/>
              <a:t>ccrSales</a:t>
            </a:r>
            <a:r>
              <a:rPr lang="en-US" dirty="0" smtClean="0"/>
              <a:t>]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Easy to implement or add to mobile, web or chat app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Easy for user to find [ Another level of self-serve! ]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Can ask user for information, get ticket or not (your choice)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Robot self-introduction guides users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Hybrid response (sample)  mixed languages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Confident levels + escalation </a:t>
            </a:r>
          </a:p>
          <a:p>
            <a:pPr marL="228600" indent="-228600">
              <a:buAutoNum type="arabicPeriod"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Agent Experience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http://korahlimited.spoon.x10host.com/oprCns/Opr.html?oprId=spoon&amp;orgId=14C20537-F311-B294-662C-C144D90A9444]</a:t>
            </a:r>
            <a:endParaRPr lang="en-US" baseline="0" dirty="0" smtClean="0"/>
          </a:p>
          <a:p>
            <a:pPr marL="228600" indent="-228600">
              <a:buAutoNum type="arabicPeriod"/>
            </a:pPr>
            <a:r>
              <a:rPr lang="en-US" baseline="0" dirty="0" smtClean="0"/>
              <a:t>Operator Console tells you when user needs help.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Show auto mode operation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Show Agent has joined call for semi-auto operation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Canned responses and selection</a:t>
            </a:r>
          </a:p>
          <a:p>
            <a:pPr marL="228600" indent="-228600">
              <a:buAutoNum type="arabicPeriod"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Admin Experience [http://korahlimited.spoon.x10host.com/admCns]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Call Script / Decision Tree / FAQ; Question and Answer Design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Adding Inquiries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Adding Multimedia response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Show Training Data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Show Training Data (in different languages; i.e. </a:t>
            </a:r>
            <a:r>
              <a:rPr lang="en-US" baseline="0" dirty="0" err="1" smtClean="0"/>
              <a:t>omni</a:t>
            </a:r>
            <a:r>
              <a:rPr lang="en-US" baseline="0" dirty="0" smtClean="0"/>
              <a:t>-language)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Show Training Data (Real World Language Skill) added by </a:t>
            </a:r>
            <a:r>
              <a:rPr lang="en-US" baseline="0" dirty="0" err="1" smtClean="0"/>
              <a:t>OprCns</a:t>
            </a:r>
            <a:endParaRPr lang="en-US" baseline="0" dirty="0" smtClean="0"/>
          </a:p>
          <a:p>
            <a:pPr marL="228600" indent="-228600">
              <a:buAutoNum type="arabicPeriod"/>
            </a:pPr>
            <a:r>
              <a:rPr lang="en-US" baseline="0" dirty="0" smtClean="0"/>
              <a:t>Confident threshold (for self-assessment)</a:t>
            </a: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5362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tient outreach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spitals can use </a:t>
            </a:r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 an automated, natural communication channel to more easily interact and take care of patients in an engaging and interactive way. </a:t>
            </a:r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n follow-up with the patient after a hospital visit to learn about their progress in healing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example, </a:t>
            </a:r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nnects with the patient at home and asks,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Hi Clarence, my name is </a:t>
            </a:r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llee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You recently had a check-up with Dr. Z at Thunder Bay Regional Health Sciences Centre who prescribed you some medicine to take. Has the medicine been working?”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patient responds using his/her natural language,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The medicine seems to work. My symptoms have been gone for now.”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ptures the response and can deliver it to the appropriate channel, i.e. electronic medical record, and can then trigger an appropriate action, i.e. confirm the next appointment for the patient,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That is great to hear. Just so you know, I have you scheduled for a follow-up appointment with Dr. Z on June 5 at 10:00 am. Would you like to keep this appointment or book it for a different date/time?”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4877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arly detection to help prevent youth suicide and youth obesity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n perform non-intrusive weekly check-ins for patients, to provide an engaging interaction while getting valuable at-home feedback from the patient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example, </a:t>
            </a:r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nnects with the patient at home and asks,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Hi Stephen! How are you feeling today? Were you able to stick to the eating schedule today?”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patient responds using his/her natural language,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Hi I haven’t been feeling great. I don’t really know why.”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ptures the response and can trigger an appropriate action, i.e. suggest an appointment for the patient,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I’m sorry to hear that. Could I schedule you an appointment with Dr. X to follow-up for you?”</a:t>
            </a:r>
            <a:endParaRPr lang="en-CA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4877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cal language form-filling for uninsured First Nations individuals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n help automate repetitive steps in the process required for uninsured individuals to get healthcare, interacting in the individuals’ native language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nnects with the individual at home, allowing him/her to begin the process with minimal paperwork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rs provide answers to </a:t>
            </a:r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their native language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ponses are captured by </a:t>
            </a:r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then securely sent to and stored in the appropriate hospital/government database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us starting the process needed to get these uninsured individuals into the healthcare system; all of this is accomplished faster and more convenient than ever before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standing that many First Nations individual do not have access to the internet, </a:t>
            </a:r>
            <a:r>
              <a:rPr lang="en-CA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obot</a:t>
            </a:r>
            <a:r>
              <a:rPr lang="en-CA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n connect over SMS/voice to communicate to the individual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315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aseline="0" dirty="0" smtClean="0"/>
              <a:t>The market needs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aseline="0" dirty="0" smtClean="0"/>
              <a:t>About Korah</a:t>
            </a:r>
            <a:r>
              <a:rPr lang="en-US" baseline="0" dirty="0" smtClean="0"/>
              <a:t>…</a:t>
            </a:r>
            <a:endParaRPr lang="en-CA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4209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echnology Trend</a:t>
            </a:r>
          </a:p>
          <a:p>
            <a:r>
              <a:rPr lang="en-US" dirty="0" smtClean="0"/>
              <a:t>Spoiled</a:t>
            </a:r>
            <a:r>
              <a:rPr lang="en-US" baseline="0" dirty="0" smtClean="0"/>
              <a:t> customers</a:t>
            </a:r>
            <a:endParaRPr lang="en-US" dirty="0" smtClean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5741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aseline="0" dirty="0" smtClean="0"/>
              <a:t>low-friction way of interactions -&gt; Text</a:t>
            </a:r>
            <a:endParaRPr lang="en-US" dirty="0" smtClean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26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/>
              <a:t>Automate repetitive enquiries (80%)</a:t>
            </a:r>
          </a:p>
          <a:p>
            <a:r>
              <a:rPr lang="en-US" b="0" dirty="0" smtClean="0"/>
              <a:t>  to reduce cost</a:t>
            </a:r>
            <a:r>
              <a:rPr lang="en-US" b="0" baseline="0" dirty="0" smtClean="0"/>
              <a:t> and enable 24/7 service</a:t>
            </a:r>
          </a:p>
          <a:p>
            <a:r>
              <a:rPr lang="en-US" b="0" baseline="0" dirty="0" smtClean="0"/>
              <a:t>Standardize call script to improve customer exp.</a:t>
            </a:r>
            <a:endParaRPr lang="en-US" b="0" dirty="0" smtClean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2253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“Instant”</a:t>
            </a:r>
            <a:r>
              <a:rPr lang="en-US" baseline="0" dirty="0" smtClean="0"/>
              <a:t> Service – Start serving as soon as 30 min.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 smtClean="0"/>
              <a:t>Automate up to </a:t>
            </a:r>
            <a:r>
              <a:rPr lang="en-US" dirty="0" smtClean="0"/>
              <a:t>80% of customer service workload</a:t>
            </a:r>
            <a:endParaRPr lang="en-CA" dirty="0" smtClean="0"/>
          </a:p>
          <a:p>
            <a:r>
              <a:rPr lang="en-CA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Pareto principle (80/20</a:t>
            </a:r>
            <a:r>
              <a:rPr lang="en-CA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ule):</a:t>
            </a:r>
          </a:p>
          <a:p>
            <a:r>
              <a:rPr lang="en-CA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80% of workload is contributed by 20% of inquiry se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Mobile Ready</a:t>
            </a:r>
            <a:endParaRPr lang="en-CA" dirty="0" smtClean="0"/>
          </a:p>
          <a:p>
            <a:endParaRPr lang="en-CA" b="1" dirty="0" smtClean="0"/>
          </a:p>
          <a:p>
            <a:r>
              <a:rPr lang="en-CA" b="1" dirty="0" smtClean="0"/>
              <a:t>Any organization</a:t>
            </a:r>
            <a:r>
              <a:rPr lang="en-CA" dirty="0" smtClean="0"/>
              <a:t> that currently offers, or wishes to offer </a:t>
            </a:r>
            <a:r>
              <a:rPr lang="en-CA" i="1" dirty="0" smtClean="0"/>
              <a:t>round-the-clock customer service</a:t>
            </a:r>
            <a:r>
              <a:rPr lang="en-CA" dirty="0" smtClean="0"/>
              <a:t> to their website visitors can benefit from using </a:t>
            </a:r>
            <a:r>
              <a:rPr lang="en-CA" dirty="0" err="1" smtClean="0"/>
              <a:t>ccR</a:t>
            </a:r>
            <a:r>
              <a:rPr lang="en-CA" dirty="0" smtClean="0"/>
              <a:t>-Web, including service for </a:t>
            </a:r>
            <a:r>
              <a:rPr lang="en-CA" i="1" dirty="0" smtClean="0"/>
              <a:t>internal</a:t>
            </a:r>
            <a:r>
              <a:rPr lang="en-CA" dirty="0" smtClean="0"/>
              <a:t> or </a:t>
            </a:r>
            <a:r>
              <a:rPr lang="en-CA" i="1" dirty="0" smtClean="0"/>
              <a:t>external</a:t>
            </a:r>
            <a:r>
              <a:rPr lang="en-CA" dirty="0" smtClean="0"/>
              <a:t> customers. </a:t>
            </a:r>
          </a:p>
          <a:p>
            <a:r>
              <a:rPr lang="en-CA" b="1" dirty="0" smtClean="0"/>
              <a:t>Any website or web application</a:t>
            </a:r>
            <a:r>
              <a:rPr lang="en-CA" dirty="0" smtClean="0"/>
              <a:t> can be enhanced by automating end user interactions with natural user interfaces. </a:t>
            </a:r>
          </a:p>
          <a:p>
            <a:r>
              <a:rPr lang="en-CA" dirty="0" err="1" smtClean="0"/>
              <a:t>ccR</a:t>
            </a:r>
            <a:r>
              <a:rPr lang="en-CA" dirty="0" smtClean="0"/>
              <a:t> addresses the needs of organizations who wish to </a:t>
            </a:r>
            <a:r>
              <a:rPr lang="en-CA" b="1" dirty="0" smtClean="0"/>
              <a:t>improve the efficiency and service quality</a:t>
            </a:r>
            <a:r>
              <a:rPr lang="en-CA" dirty="0" smtClean="0"/>
              <a:t> of their customer service offerings, and also addresses the needs of smaller organizations by offering a low cost alternative for those who wish to offer </a:t>
            </a:r>
            <a:r>
              <a:rPr lang="en-CA" b="1" dirty="0" smtClean="0"/>
              <a:t>24/7</a:t>
            </a:r>
            <a:r>
              <a:rPr lang="en-CA" dirty="0" smtClean="0"/>
              <a:t> customer service but cannot afford a team of customer service agents.</a:t>
            </a: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9784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Modules will be available.</a:t>
            </a:r>
          </a:p>
          <a:p>
            <a:r>
              <a:rPr lang="en-US" baseline="0" dirty="0" smtClean="0"/>
              <a:t>Better user experience with mixed media interactions.</a:t>
            </a:r>
          </a:p>
          <a:p>
            <a:r>
              <a:rPr lang="en-US" baseline="0" dirty="0" smtClean="0"/>
              <a:t>HTML/</a:t>
            </a:r>
            <a:r>
              <a:rPr lang="en-US" baseline="0" dirty="0" err="1" smtClean="0"/>
              <a:t>Javascript</a:t>
            </a:r>
            <a:r>
              <a:rPr lang="en-US" baseline="0" dirty="0" smtClean="0"/>
              <a:t> can trigger actions via web services that forms the robotic arms</a:t>
            </a:r>
          </a:p>
          <a:p>
            <a:r>
              <a:rPr lang="en-US" baseline="0" dirty="0" smtClean="0"/>
              <a:t>Hyperlinks in robot response enables direct integration with back office systems</a:t>
            </a:r>
          </a:p>
          <a:p>
            <a:r>
              <a:rPr lang="en-US" baseline="0" dirty="0" smtClean="0"/>
              <a:t>Customer survey robot can be deployed for both outbound and </a:t>
            </a:r>
            <a:r>
              <a:rPr lang="en-US" b="1" baseline="0" dirty="0" smtClean="0"/>
              <a:t>inbound</a:t>
            </a:r>
            <a:r>
              <a:rPr lang="en-US" baseline="0" dirty="0" smtClean="0"/>
              <a:t> calls. </a:t>
            </a: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6049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Agile approach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Horizontal axis = iterations in developmen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Vertical axis = scope of the service</a:t>
            </a: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3476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cRobot</a:t>
            </a:r>
            <a:r>
              <a:rPr lang="en-US" dirty="0" smtClean="0"/>
              <a:t> can be deployed gradually and risk free</a:t>
            </a:r>
          </a:p>
          <a:p>
            <a:r>
              <a:rPr lang="en-US" dirty="0" smtClean="0"/>
              <a:t>Eliminate catch-22 problem by providing a safety net</a:t>
            </a: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52941-7633-4522-83A8-D7CE6B3F9EA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51688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2617" y="214841"/>
            <a:ext cx="1991280" cy="746147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40604" y="6499623"/>
            <a:ext cx="83243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0083CA"/>
                </a:solidFill>
                <a:latin typeface="Raleway" panose="020B0003030101060003" pitchFamily="34" charset="0"/>
              </a:rPr>
              <a:t>© 2017 Korah Limited</a:t>
            </a:r>
            <a:r>
              <a:rPr lang="en-US" sz="1200" baseline="0" dirty="0" smtClean="0">
                <a:solidFill>
                  <a:srgbClr val="0083CA"/>
                </a:solidFill>
                <a:latin typeface="Raleway" panose="020B0003030101060003" pitchFamily="34" charset="0"/>
              </a:rPr>
              <a:t>.</a:t>
            </a:r>
            <a:r>
              <a:rPr lang="en-US" sz="1050" dirty="0" smtClean="0">
                <a:solidFill>
                  <a:srgbClr val="0083CA"/>
                </a:solidFill>
                <a:latin typeface="Raleway" panose="020B0003030101060003" pitchFamily="34" charset="0"/>
              </a:rPr>
              <a:t> All rights reserved.</a:t>
            </a:r>
            <a:endParaRPr lang="en-US" sz="1050" dirty="0">
              <a:solidFill>
                <a:srgbClr val="0083CA"/>
              </a:solidFill>
              <a:latin typeface="Raleway" panose="020B0003030101060003" pitchFamily="34" charset="0"/>
            </a:endParaRPr>
          </a:p>
        </p:txBody>
      </p:sp>
      <p:sp>
        <p:nvSpPr>
          <p:cNvPr id="14" name="Isosceles Triangle 13"/>
          <p:cNvSpPr/>
          <p:nvPr userDrawn="1"/>
        </p:nvSpPr>
        <p:spPr>
          <a:xfrm rot="16200000">
            <a:off x="11615248" y="6264540"/>
            <a:ext cx="728760" cy="446108"/>
          </a:xfrm>
          <a:prstGeom prst="triangle">
            <a:avLst>
              <a:gd name="adj" fmla="val 48414"/>
            </a:avLst>
          </a:prstGeom>
          <a:solidFill>
            <a:srgbClr val="0083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753897" y="6355365"/>
            <a:ext cx="5987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F9FBF094-4433-4169-9536-0895C02B0204}" type="slidenum">
              <a:rPr lang="en-US" sz="1200" smtClean="0">
                <a:solidFill>
                  <a:schemeClr val="bg1"/>
                </a:solidFill>
                <a:latin typeface="Raleway" panose="020B0003030101060003" pitchFamily="34" charset="0"/>
              </a:rPr>
              <a:pPr algn="ctr"/>
              <a:t>‹#›</a:t>
            </a:fld>
            <a:endParaRPr lang="en-US" sz="1200" dirty="0">
              <a:solidFill>
                <a:schemeClr val="bg1"/>
              </a:solidFill>
              <a:latin typeface="Raleway" panose="020B00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375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  <p15:guide id="2" pos="370">
          <p15:clr>
            <a:srgbClr val="FBAE40"/>
          </p15:clr>
        </p15:guide>
        <p15:guide id="3" pos="7265">
          <p15:clr>
            <a:srgbClr val="FBAE40"/>
          </p15:clr>
        </p15:guide>
        <p15:guide id="4" orient="horz" pos="792" userDrawn="1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6270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135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074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135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01370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7393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3838073"/>
            <a:ext cx="12192000" cy="3019927"/>
          </a:xfrm>
          <a:prstGeom prst="rect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2617" y="214841"/>
            <a:ext cx="1991280" cy="746147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40604" y="6499623"/>
            <a:ext cx="83243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Raleway" panose="020B0003030101060003" pitchFamily="34" charset="0"/>
              </a:rPr>
              <a:t>© 2017 Korah Limited</a:t>
            </a:r>
            <a:r>
              <a:rPr lang="en-US" sz="1200" baseline="0" dirty="0" smtClean="0">
                <a:solidFill>
                  <a:schemeClr val="bg1"/>
                </a:solidFill>
                <a:latin typeface="Raleway" panose="020B0003030101060003" pitchFamily="34" charset="0"/>
              </a:rPr>
              <a:t>.</a:t>
            </a:r>
            <a:r>
              <a:rPr lang="en-US" sz="1050" dirty="0" smtClean="0">
                <a:solidFill>
                  <a:schemeClr val="bg1"/>
                </a:solidFill>
                <a:latin typeface="Raleway" panose="020B0003030101060003" pitchFamily="34" charset="0"/>
              </a:rPr>
              <a:t> All rights reserved.</a:t>
            </a:r>
            <a:endParaRPr lang="en-US" sz="1050" dirty="0">
              <a:solidFill>
                <a:schemeClr val="bg1"/>
              </a:solidFill>
              <a:latin typeface="Raleway" panose="020B0003030101060003" pitchFamily="34" charset="0"/>
            </a:endParaRPr>
          </a:p>
        </p:txBody>
      </p:sp>
      <p:sp>
        <p:nvSpPr>
          <p:cNvPr id="14" name="Isosceles Triangle 13"/>
          <p:cNvSpPr/>
          <p:nvPr userDrawn="1"/>
        </p:nvSpPr>
        <p:spPr>
          <a:xfrm rot="16200000">
            <a:off x="11615248" y="6264540"/>
            <a:ext cx="728760" cy="446108"/>
          </a:xfrm>
          <a:prstGeom prst="triangle">
            <a:avLst>
              <a:gd name="adj" fmla="val 484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753897" y="6355365"/>
            <a:ext cx="5987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F9FBF094-4433-4169-9536-0895C02B0204}" type="slidenum">
              <a:rPr lang="en-US" sz="1200" smtClean="0">
                <a:solidFill>
                  <a:srgbClr val="0084CB"/>
                </a:solidFill>
                <a:latin typeface="Raleway" panose="020B0003030101060003" pitchFamily="34" charset="0"/>
              </a:rPr>
              <a:pPr algn="ctr"/>
              <a:t>‹#›</a:t>
            </a:fld>
            <a:endParaRPr lang="en-US" sz="12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4730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  <p15:guide id="2" pos="370">
          <p15:clr>
            <a:srgbClr val="FBAE40"/>
          </p15:clr>
        </p15:guide>
        <p15:guide id="3" pos="7265">
          <p15:clr>
            <a:srgbClr val="FBAE40"/>
          </p15:clr>
        </p15:guide>
        <p15:guide id="4" orient="horz" pos="792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245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385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164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216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442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114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977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6B6D5-BBA6-4A9E-8D3E-73E01C1E9A25}" type="datetimeFigureOut">
              <a:rPr lang="en-US" smtClean="0"/>
              <a:t>5/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F371C1-F766-41FC-887F-B2206C2E7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127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49" r:id="rId3"/>
    <p:sldLayoutId id="2147483650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1" r:id="rId14"/>
    <p:sldLayoutId id="2147483664" r:id="rId1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microsoft.com/office/2007/relationships/hdphoto" Target="../media/hdphoto2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0.jpe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pn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6.jpeg"/><Relationship Id="rId4" Type="http://schemas.microsoft.com/office/2007/relationships/hdphoto" Target="../media/hdphoto7.wdp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8.png"/><Relationship Id="rId4" Type="http://schemas.microsoft.com/office/2007/relationships/hdphoto" Target="../media/hdphoto8.wdp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microsoft.com/office/2007/relationships/hdphoto" Target="../media/hdphoto4.wdp"/><Relationship Id="rId5" Type="http://schemas.openxmlformats.org/officeDocument/2006/relationships/image" Target="../media/image10.png"/><Relationship Id="rId4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2.jpeg"/><Relationship Id="rId7" Type="http://schemas.microsoft.com/office/2007/relationships/hdphoto" Target="../media/hdphoto6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jpeg"/><Relationship Id="rId5" Type="http://schemas.microsoft.com/office/2007/relationships/hdphoto" Target="../media/hdphoto5.wdp"/><Relationship Id="rId4" Type="http://schemas.openxmlformats.org/officeDocument/2006/relationships/image" Target="../media/image13.png"/><Relationship Id="rId9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jpe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/>
        </p:nvSpPr>
        <p:spPr>
          <a:xfrm rot="2586709">
            <a:off x="-1636352" y="935110"/>
            <a:ext cx="4776223" cy="4960398"/>
          </a:xfrm>
          <a:custGeom>
            <a:avLst/>
            <a:gdLst>
              <a:gd name="connsiteX0" fmla="*/ 0 w 4776223"/>
              <a:gd name="connsiteY0" fmla="*/ 1 h 4960398"/>
              <a:gd name="connsiteX1" fmla="*/ 4776222 w 4776223"/>
              <a:gd name="connsiteY1" fmla="*/ 0 h 4960398"/>
              <a:gd name="connsiteX2" fmla="*/ 4776223 w 4776223"/>
              <a:gd name="connsiteY2" fmla="*/ 4960398 h 4960398"/>
              <a:gd name="connsiteX3" fmla="*/ 3680223 w 4776223"/>
              <a:gd name="connsiteY3" fmla="*/ 4960398 h 4960398"/>
              <a:gd name="connsiteX4" fmla="*/ 2325223 w 4776223"/>
              <a:gd name="connsiteY4" fmla="*/ 3513012 h 4960398"/>
              <a:gd name="connsiteX5" fmla="*/ 3328836 w 4776223"/>
              <a:gd name="connsiteY5" fmla="*/ 3513012 h 4960398"/>
              <a:gd name="connsiteX6" fmla="*/ 3328836 w 4776223"/>
              <a:gd name="connsiteY6" fmla="*/ 1447386 h 4960398"/>
              <a:gd name="connsiteX7" fmla="*/ 1447386 w 4776223"/>
              <a:gd name="connsiteY7" fmla="*/ 1447386 h 4960398"/>
              <a:gd name="connsiteX8" fmla="*/ 1447386 w 4776223"/>
              <a:gd name="connsiteY8" fmla="*/ 2575322 h 4960398"/>
              <a:gd name="connsiteX9" fmla="*/ 0 w 4776223"/>
              <a:gd name="connsiteY9" fmla="*/ 1029251 h 4960398"/>
              <a:gd name="connsiteX10" fmla="*/ 0 w 4776223"/>
              <a:gd name="connsiteY10" fmla="*/ 1 h 4960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76223" h="4960398">
                <a:moveTo>
                  <a:pt x="0" y="1"/>
                </a:moveTo>
                <a:lnTo>
                  <a:pt x="4776222" y="0"/>
                </a:lnTo>
                <a:lnTo>
                  <a:pt x="4776223" y="4960398"/>
                </a:lnTo>
                <a:lnTo>
                  <a:pt x="3680223" y="4960398"/>
                </a:lnTo>
                <a:lnTo>
                  <a:pt x="2325223" y="3513012"/>
                </a:lnTo>
                <a:lnTo>
                  <a:pt x="3328836" y="3513012"/>
                </a:lnTo>
                <a:lnTo>
                  <a:pt x="3328836" y="1447386"/>
                </a:lnTo>
                <a:lnTo>
                  <a:pt x="1447386" y="1447386"/>
                </a:lnTo>
                <a:lnTo>
                  <a:pt x="1447386" y="2575322"/>
                </a:lnTo>
                <a:lnTo>
                  <a:pt x="0" y="1029251"/>
                </a:lnTo>
                <a:lnTo>
                  <a:pt x="0" y="1"/>
                </a:lnTo>
                <a:close/>
              </a:path>
            </a:pathLst>
          </a:custGeom>
          <a:blipFill dpi="0" rotWithShape="0">
            <a:blip r:embed="rId4" cstate="screen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Freeform 33"/>
          <p:cNvSpPr/>
          <p:nvPr/>
        </p:nvSpPr>
        <p:spPr>
          <a:xfrm>
            <a:off x="-3086" y="0"/>
            <a:ext cx="7063764" cy="6858000"/>
          </a:xfrm>
          <a:custGeom>
            <a:avLst/>
            <a:gdLst>
              <a:gd name="connsiteX0" fmla="*/ 2242942 w 7063764"/>
              <a:gd name="connsiteY0" fmla="*/ 0 h 6858000"/>
              <a:gd name="connsiteX1" fmla="*/ 3636282 w 7063764"/>
              <a:gd name="connsiteY1" fmla="*/ 0 h 6858000"/>
              <a:gd name="connsiteX2" fmla="*/ 7063764 w 7063764"/>
              <a:gd name="connsiteY2" fmla="*/ 3244261 h 6858000"/>
              <a:gd name="connsiteX3" fmla="*/ 3643203 w 7063764"/>
              <a:gd name="connsiteY3" fmla="*/ 6858000 h 6858000"/>
              <a:gd name="connsiteX4" fmla="*/ 2544249 w 7063764"/>
              <a:gd name="connsiteY4" fmla="*/ 6858000 h 6858000"/>
              <a:gd name="connsiteX5" fmla="*/ 0 w 7063764"/>
              <a:gd name="connsiteY5" fmla="*/ 4449758 h 6858000"/>
              <a:gd name="connsiteX6" fmla="*/ 0 w 7063764"/>
              <a:gd name="connsiteY6" fmla="*/ 2369613 h 6858000"/>
              <a:gd name="connsiteX7" fmla="*/ 2242942 w 7063764"/>
              <a:gd name="connsiteY7" fmla="*/ 0 h 6858000"/>
              <a:gd name="connsiteX8" fmla="*/ 2958538 w 7063764"/>
              <a:gd name="connsiteY8" fmla="*/ 1385853 h 6858000"/>
              <a:gd name="connsiteX9" fmla="*/ 1042967 w 7063764"/>
              <a:gd name="connsiteY9" fmla="*/ 3409606 h 6858000"/>
              <a:gd name="connsiteX10" fmla="*/ 3066721 w 7063764"/>
              <a:gd name="connsiteY10" fmla="*/ 5325177 h 6858000"/>
              <a:gd name="connsiteX11" fmla="*/ 4982292 w 7063764"/>
              <a:gd name="connsiteY11" fmla="*/ 3301423 h 6858000"/>
              <a:gd name="connsiteX12" fmla="*/ 2958538 w 7063764"/>
              <a:gd name="connsiteY12" fmla="*/ 138585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63764" h="6858000">
                <a:moveTo>
                  <a:pt x="2242942" y="0"/>
                </a:moveTo>
                <a:lnTo>
                  <a:pt x="3636282" y="0"/>
                </a:lnTo>
                <a:lnTo>
                  <a:pt x="7063764" y="3244261"/>
                </a:lnTo>
                <a:lnTo>
                  <a:pt x="3643203" y="6858000"/>
                </a:lnTo>
                <a:lnTo>
                  <a:pt x="2544249" y="6858000"/>
                </a:lnTo>
                <a:lnTo>
                  <a:pt x="0" y="4449758"/>
                </a:lnTo>
                <a:lnTo>
                  <a:pt x="0" y="2369613"/>
                </a:lnTo>
                <a:lnTo>
                  <a:pt x="2242942" y="0"/>
                </a:lnTo>
                <a:close/>
                <a:moveTo>
                  <a:pt x="2958538" y="1385853"/>
                </a:moveTo>
                <a:lnTo>
                  <a:pt x="1042967" y="3409606"/>
                </a:lnTo>
                <a:lnTo>
                  <a:pt x="3066721" y="5325177"/>
                </a:lnTo>
                <a:lnTo>
                  <a:pt x="4982292" y="3301423"/>
                </a:lnTo>
                <a:lnTo>
                  <a:pt x="2958538" y="1385853"/>
                </a:lnTo>
                <a:close/>
              </a:path>
            </a:pathLst>
          </a:custGeom>
          <a:blipFill>
            <a:blip r:embed="rId6" cstate="screen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47700" y="308630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0" algn="ctr" fontAlgn="ctr">
              <a:lnSpc>
                <a:spcPct val="100000"/>
              </a:lnSpc>
              <a:buClr>
                <a:srgbClr val="002E6E"/>
              </a:buClr>
              <a:buNone/>
              <a:defRPr/>
            </a:pPr>
            <a:r>
              <a:rPr lang="en-US" dirty="0">
                <a:solidFill>
                  <a:schemeClr val="bg1">
                    <a:lumMod val="85000"/>
                  </a:schemeClr>
                </a:solidFill>
                <a:latin typeface="Raleway" panose="020B0003030101060003" pitchFamily="34" charset="0"/>
                <a:cs typeface="Times New Roman" pitchFamily="18" charset="0"/>
              </a:rPr>
              <a:t>PRIVATE &amp; CONFIDENTIAL</a:t>
            </a:r>
          </a:p>
        </p:txBody>
      </p:sp>
      <p:sp>
        <p:nvSpPr>
          <p:cNvPr id="8" name="Rectangle 7"/>
          <p:cNvSpPr/>
          <p:nvPr/>
        </p:nvSpPr>
        <p:spPr>
          <a:xfrm>
            <a:off x="3616474" y="4796205"/>
            <a:ext cx="82296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000" dirty="0">
                <a:solidFill>
                  <a:srgbClr val="0083CA"/>
                </a:solidFill>
                <a:latin typeface="Raleway" panose="020B0003030101060003" pitchFamily="34" charset="0"/>
              </a:rPr>
              <a:t>Enterprise </a:t>
            </a:r>
            <a:r>
              <a:rPr lang="en-US" sz="2000" dirty="0" err="1">
                <a:solidFill>
                  <a:srgbClr val="0083CA"/>
                </a:solidFill>
                <a:latin typeface="Raleway" panose="020B0003030101060003" pitchFamily="34" charset="0"/>
              </a:rPr>
              <a:t>Chatbot</a:t>
            </a:r>
            <a:r>
              <a:rPr lang="en-US" sz="2000" dirty="0">
                <a:solidFill>
                  <a:srgbClr val="0083CA"/>
                </a:solidFill>
                <a:latin typeface="Raleway" panose="020B0003030101060003" pitchFamily="34" charset="0"/>
              </a:rPr>
              <a:t> Platform</a:t>
            </a:r>
          </a:p>
        </p:txBody>
      </p:sp>
      <p:sp>
        <p:nvSpPr>
          <p:cNvPr id="9" name="TextBox 8"/>
          <p:cNvSpPr txBox="1"/>
          <p:nvPr>
            <p:custDataLst>
              <p:tags r:id="rId1"/>
            </p:custDataLst>
          </p:nvPr>
        </p:nvSpPr>
        <p:spPr>
          <a:xfrm>
            <a:off x="5730719" y="5519211"/>
            <a:ext cx="6096002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indent="85725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50" b="0"/>
            </a:lvl1pPr>
          </a:lstStyle>
          <a:p>
            <a:pPr indent="0" algn="r" fontAlgn="ctr">
              <a:lnSpc>
                <a:spcPct val="100000"/>
              </a:lnSpc>
              <a:buClr>
                <a:srgbClr val="002E6E"/>
              </a:buClr>
              <a:buNone/>
              <a:defRPr/>
            </a:pPr>
            <a:r>
              <a:rPr lang="en-US" sz="1600" dirty="0">
                <a:solidFill>
                  <a:srgbClr val="0083CA"/>
                </a:solidFill>
                <a:latin typeface="Raleway" panose="020B0003030101060003" pitchFamily="34" charset="0"/>
                <a:cs typeface="Times New Roman" pitchFamily="18" charset="0"/>
              </a:rPr>
              <a:t>Presentation for Thunder Bay Regional Health Leadership</a:t>
            </a:r>
          </a:p>
          <a:p>
            <a:pPr indent="0" algn="r" fontAlgn="ctr">
              <a:lnSpc>
                <a:spcPct val="100000"/>
              </a:lnSpc>
              <a:buClr>
                <a:srgbClr val="002E6E"/>
              </a:buClr>
              <a:buNone/>
              <a:defRPr/>
            </a:pPr>
            <a:r>
              <a:rPr lang="en-US" sz="1600" dirty="0">
                <a:solidFill>
                  <a:srgbClr val="0083CA"/>
                </a:solidFill>
                <a:latin typeface="Raleway" panose="020B0003030101060003" pitchFamily="34" charset="0"/>
                <a:cs typeface="Times New Roman" pitchFamily="18" charset="0"/>
              </a:rPr>
              <a:t>May 8, 2017</a:t>
            </a:r>
          </a:p>
        </p:txBody>
      </p:sp>
      <p:pic>
        <p:nvPicPr>
          <p:cNvPr id="10" name="Picture 2" descr="\\10.10.1.18\Projects\Korah\Ccr\doc\ccRobot Logo\ccRobot Logo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16571" y="3777686"/>
            <a:ext cx="2571447" cy="96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4999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ounded Rectangle 26"/>
          <p:cNvSpPr/>
          <p:nvPr/>
        </p:nvSpPr>
        <p:spPr>
          <a:xfrm>
            <a:off x="6683562" y="2295010"/>
            <a:ext cx="3376088" cy="3001380"/>
          </a:xfrm>
          <a:prstGeom prst="roundRect">
            <a:avLst>
              <a:gd name="adj" fmla="val 201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7994564" y="1799190"/>
            <a:ext cx="754084" cy="754084"/>
          </a:xfrm>
          <a:prstGeom prst="ellipse">
            <a:avLst/>
          </a:pr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30"/>
          <p:cNvSpPr/>
          <p:nvPr/>
        </p:nvSpPr>
        <p:spPr>
          <a:xfrm>
            <a:off x="2066250" y="2295010"/>
            <a:ext cx="3376088" cy="3001380"/>
          </a:xfrm>
          <a:prstGeom prst="roundRect">
            <a:avLst>
              <a:gd name="adj" fmla="val 201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3377252" y="1799190"/>
            <a:ext cx="754084" cy="754084"/>
          </a:xfrm>
          <a:prstGeom prst="ellipse">
            <a:avLst/>
          </a:pr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8639" y="2096074"/>
            <a:ext cx="1745934" cy="914400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37" name="Freeform 11"/>
          <p:cNvSpPr>
            <a:spLocks noChangeAspect="1" noEditPoints="1"/>
          </p:cNvSpPr>
          <p:nvPr/>
        </p:nvSpPr>
        <p:spPr bwMode="auto">
          <a:xfrm>
            <a:off x="3527037" y="1947632"/>
            <a:ext cx="454515" cy="457200"/>
          </a:xfrm>
          <a:custGeom>
            <a:avLst/>
            <a:gdLst>
              <a:gd name="T0" fmla="*/ 2052 w 3385"/>
              <a:gd name="T1" fmla="*/ 1972 h 3404"/>
              <a:gd name="T2" fmla="*/ 2358 w 3385"/>
              <a:gd name="T3" fmla="*/ 2206 h 3404"/>
              <a:gd name="T4" fmla="*/ 2463 w 3385"/>
              <a:gd name="T5" fmla="*/ 2439 h 3404"/>
              <a:gd name="T6" fmla="*/ 2366 w 3385"/>
              <a:gd name="T7" fmla="*/ 2509 h 3404"/>
              <a:gd name="T8" fmla="*/ 2259 w 3385"/>
              <a:gd name="T9" fmla="*/ 2404 h 3404"/>
              <a:gd name="T10" fmla="*/ 2039 w 3385"/>
              <a:gd name="T11" fmla="*/ 2181 h 3404"/>
              <a:gd name="T12" fmla="*/ 1727 w 3385"/>
              <a:gd name="T13" fmla="*/ 2098 h 3404"/>
              <a:gd name="T14" fmla="*/ 1409 w 3385"/>
              <a:gd name="T15" fmla="*/ 2181 h 3404"/>
              <a:gd name="T16" fmla="*/ 1190 w 3385"/>
              <a:gd name="T17" fmla="*/ 2403 h 3404"/>
              <a:gd name="T18" fmla="*/ 1097 w 3385"/>
              <a:gd name="T19" fmla="*/ 2509 h 3404"/>
              <a:gd name="T20" fmla="*/ 995 w 3385"/>
              <a:gd name="T21" fmla="*/ 2460 h 3404"/>
              <a:gd name="T22" fmla="*/ 1051 w 3385"/>
              <a:gd name="T23" fmla="*/ 2260 h 3404"/>
              <a:gd name="T24" fmla="*/ 1336 w 3385"/>
              <a:gd name="T25" fmla="*/ 2001 h 3404"/>
              <a:gd name="T26" fmla="*/ 1727 w 3385"/>
              <a:gd name="T27" fmla="*/ 1905 h 3404"/>
              <a:gd name="T28" fmla="*/ 2308 w 3385"/>
              <a:gd name="T29" fmla="*/ 1113 h 3404"/>
              <a:gd name="T30" fmla="*/ 2342 w 3385"/>
              <a:gd name="T31" fmla="*/ 1311 h 3404"/>
              <a:gd name="T32" fmla="*/ 2191 w 3385"/>
              <a:gd name="T33" fmla="*/ 1437 h 3404"/>
              <a:gd name="T34" fmla="*/ 2004 w 3385"/>
              <a:gd name="T35" fmla="*/ 1370 h 3404"/>
              <a:gd name="T36" fmla="*/ 1971 w 3385"/>
              <a:gd name="T37" fmla="*/ 1172 h 3404"/>
              <a:gd name="T38" fmla="*/ 2121 w 3385"/>
              <a:gd name="T39" fmla="*/ 1046 h 3404"/>
              <a:gd name="T40" fmla="*/ 1387 w 3385"/>
              <a:gd name="T41" fmla="*/ 1090 h 3404"/>
              <a:gd name="T42" fmla="*/ 1453 w 3385"/>
              <a:gd name="T43" fmla="*/ 1277 h 3404"/>
              <a:gd name="T44" fmla="*/ 1328 w 3385"/>
              <a:gd name="T45" fmla="*/ 1428 h 3404"/>
              <a:gd name="T46" fmla="*/ 1131 w 3385"/>
              <a:gd name="T47" fmla="*/ 1394 h 3404"/>
              <a:gd name="T48" fmla="*/ 1065 w 3385"/>
              <a:gd name="T49" fmla="*/ 1206 h 3404"/>
              <a:gd name="T50" fmla="*/ 1189 w 3385"/>
              <a:gd name="T51" fmla="*/ 1055 h 3404"/>
              <a:gd name="T52" fmla="*/ 1440 w 3385"/>
              <a:gd name="T53" fmla="*/ 286 h 3404"/>
              <a:gd name="T54" fmla="*/ 960 w 3385"/>
              <a:gd name="T55" fmla="*/ 464 h 3404"/>
              <a:gd name="T56" fmla="*/ 561 w 3385"/>
              <a:gd name="T57" fmla="*/ 819 h 3404"/>
              <a:gd name="T58" fmla="*/ 323 w 3385"/>
              <a:gd name="T59" fmla="*/ 1282 h 3404"/>
              <a:gd name="T60" fmla="*/ 264 w 3385"/>
              <a:gd name="T61" fmla="*/ 1787 h 3404"/>
              <a:gd name="T62" fmla="*/ 383 w 3385"/>
              <a:gd name="T63" fmla="*/ 2285 h 3404"/>
              <a:gd name="T64" fmla="*/ 680 w 3385"/>
              <a:gd name="T65" fmla="*/ 2720 h 3404"/>
              <a:gd name="T66" fmla="*/ 1113 w 3385"/>
              <a:gd name="T67" fmla="*/ 3019 h 3404"/>
              <a:gd name="T68" fmla="*/ 1608 w 3385"/>
              <a:gd name="T69" fmla="*/ 3139 h 3404"/>
              <a:gd name="T70" fmla="*/ 2110 w 3385"/>
              <a:gd name="T71" fmla="*/ 3079 h 3404"/>
              <a:gd name="T72" fmla="*/ 2570 w 3385"/>
              <a:gd name="T73" fmla="*/ 2840 h 3404"/>
              <a:gd name="T74" fmla="*/ 2923 w 3385"/>
              <a:gd name="T75" fmla="*/ 2438 h 3404"/>
              <a:gd name="T76" fmla="*/ 3101 w 3385"/>
              <a:gd name="T77" fmla="*/ 1956 h 3404"/>
              <a:gd name="T78" fmla="*/ 3101 w 3385"/>
              <a:gd name="T79" fmla="*/ 1448 h 3404"/>
              <a:gd name="T80" fmla="*/ 2923 w 3385"/>
              <a:gd name="T81" fmla="*/ 965 h 3404"/>
              <a:gd name="T82" fmla="*/ 2570 w 3385"/>
              <a:gd name="T83" fmla="*/ 564 h 3404"/>
              <a:gd name="T84" fmla="*/ 2110 w 3385"/>
              <a:gd name="T85" fmla="*/ 325 h 3404"/>
              <a:gd name="T86" fmla="*/ 1692 w 3385"/>
              <a:gd name="T87" fmla="*/ 0 h 3404"/>
              <a:gd name="T88" fmla="*/ 2241 w 3385"/>
              <a:gd name="T89" fmla="*/ 91 h 3404"/>
              <a:gd name="T90" fmla="*/ 2742 w 3385"/>
              <a:gd name="T91" fmla="*/ 366 h 3404"/>
              <a:gd name="T92" fmla="*/ 3132 w 3385"/>
              <a:gd name="T93" fmla="*/ 805 h 3404"/>
              <a:gd name="T94" fmla="*/ 3344 w 3385"/>
              <a:gd name="T95" fmla="*/ 1331 h 3404"/>
              <a:gd name="T96" fmla="*/ 3374 w 3385"/>
              <a:gd name="T97" fmla="*/ 1888 h 3404"/>
              <a:gd name="T98" fmla="*/ 3223 w 3385"/>
              <a:gd name="T99" fmla="*/ 2430 h 3404"/>
              <a:gd name="T100" fmla="*/ 2890 w 3385"/>
              <a:gd name="T101" fmla="*/ 2906 h 3404"/>
              <a:gd name="T102" fmla="*/ 2416 w 3385"/>
              <a:gd name="T103" fmla="*/ 3241 h 3404"/>
              <a:gd name="T104" fmla="*/ 1877 w 3385"/>
              <a:gd name="T105" fmla="*/ 3394 h 3404"/>
              <a:gd name="T106" fmla="*/ 1323 w 3385"/>
              <a:gd name="T107" fmla="*/ 3363 h 3404"/>
              <a:gd name="T108" fmla="*/ 802 w 3385"/>
              <a:gd name="T109" fmla="*/ 3150 h 3404"/>
              <a:gd name="T110" fmla="*/ 364 w 3385"/>
              <a:gd name="T111" fmla="*/ 2758 h 3404"/>
              <a:gd name="T112" fmla="*/ 92 w 3385"/>
              <a:gd name="T113" fmla="*/ 2254 h 3404"/>
              <a:gd name="T114" fmla="*/ 0 w 3385"/>
              <a:gd name="T115" fmla="*/ 1702 h 3404"/>
              <a:gd name="T116" fmla="*/ 92 w 3385"/>
              <a:gd name="T117" fmla="*/ 1149 h 3404"/>
              <a:gd name="T118" fmla="*/ 364 w 3385"/>
              <a:gd name="T119" fmla="*/ 646 h 3404"/>
              <a:gd name="T120" fmla="*/ 802 w 3385"/>
              <a:gd name="T121" fmla="*/ 254 h 3404"/>
              <a:gd name="T122" fmla="*/ 1323 w 3385"/>
              <a:gd name="T123" fmla="*/ 41 h 3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85" h="3404">
                <a:moveTo>
                  <a:pt x="1727" y="1905"/>
                </a:moveTo>
                <a:lnTo>
                  <a:pt x="1794" y="1908"/>
                </a:lnTo>
                <a:lnTo>
                  <a:pt x="1862" y="1917"/>
                </a:lnTo>
                <a:lnTo>
                  <a:pt x="1927" y="1930"/>
                </a:lnTo>
                <a:lnTo>
                  <a:pt x="1991" y="1949"/>
                </a:lnTo>
                <a:lnTo>
                  <a:pt x="2052" y="1972"/>
                </a:lnTo>
                <a:lnTo>
                  <a:pt x="2110" y="2000"/>
                </a:lnTo>
                <a:lnTo>
                  <a:pt x="2166" y="2034"/>
                </a:lnTo>
                <a:lnTo>
                  <a:pt x="2219" y="2070"/>
                </a:lnTo>
                <a:lnTo>
                  <a:pt x="2269" y="2112"/>
                </a:lnTo>
                <a:lnTo>
                  <a:pt x="2315" y="2157"/>
                </a:lnTo>
                <a:lnTo>
                  <a:pt x="2358" y="2206"/>
                </a:lnTo>
                <a:lnTo>
                  <a:pt x="2395" y="2259"/>
                </a:lnTo>
                <a:lnTo>
                  <a:pt x="2429" y="2316"/>
                </a:lnTo>
                <a:lnTo>
                  <a:pt x="2458" y="2375"/>
                </a:lnTo>
                <a:lnTo>
                  <a:pt x="2465" y="2396"/>
                </a:lnTo>
                <a:lnTo>
                  <a:pt x="2466" y="2417"/>
                </a:lnTo>
                <a:lnTo>
                  <a:pt x="2463" y="2439"/>
                </a:lnTo>
                <a:lnTo>
                  <a:pt x="2454" y="2458"/>
                </a:lnTo>
                <a:lnTo>
                  <a:pt x="2443" y="2476"/>
                </a:lnTo>
                <a:lnTo>
                  <a:pt x="2427" y="2490"/>
                </a:lnTo>
                <a:lnTo>
                  <a:pt x="2408" y="2502"/>
                </a:lnTo>
                <a:lnTo>
                  <a:pt x="2387" y="2508"/>
                </a:lnTo>
                <a:lnTo>
                  <a:pt x="2366" y="2509"/>
                </a:lnTo>
                <a:lnTo>
                  <a:pt x="2345" y="2506"/>
                </a:lnTo>
                <a:lnTo>
                  <a:pt x="2326" y="2499"/>
                </a:lnTo>
                <a:lnTo>
                  <a:pt x="2308" y="2486"/>
                </a:lnTo>
                <a:lnTo>
                  <a:pt x="2293" y="2471"/>
                </a:lnTo>
                <a:lnTo>
                  <a:pt x="2282" y="2452"/>
                </a:lnTo>
                <a:lnTo>
                  <a:pt x="2259" y="2404"/>
                </a:lnTo>
                <a:lnTo>
                  <a:pt x="2231" y="2358"/>
                </a:lnTo>
                <a:lnTo>
                  <a:pt x="2200" y="2316"/>
                </a:lnTo>
                <a:lnTo>
                  <a:pt x="2164" y="2277"/>
                </a:lnTo>
                <a:lnTo>
                  <a:pt x="2126" y="2241"/>
                </a:lnTo>
                <a:lnTo>
                  <a:pt x="2083" y="2209"/>
                </a:lnTo>
                <a:lnTo>
                  <a:pt x="2039" y="2181"/>
                </a:lnTo>
                <a:lnTo>
                  <a:pt x="1992" y="2156"/>
                </a:lnTo>
                <a:lnTo>
                  <a:pt x="1942" y="2136"/>
                </a:lnTo>
                <a:lnTo>
                  <a:pt x="1891" y="2119"/>
                </a:lnTo>
                <a:lnTo>
                  <a:pt x="1837" y="2108"/>
                </a:lnTo>
                <a:lnTo>
                  <a:pt x="1783" y="2101"/>
                </a:lnTo>
                <a:lnTo>
                  <a:pt x="1727" y="2098"/>
                </a:lnTo>
                <a:lnTo>
                  <a:pt x="1669" y="2101"/>
                </a:lnTo>
                <a:lnTo>
                  <a:pt x="1613" y="2108"/>
                </a:lnTo>
                <a:lnTo>
                  <a:pt x="1558" y="2119"/>
                </a:lnTo>
                <a:lnTo>
                  <a:pt x="1506" y="2136"/>
                </a:lnTo>
                <a:lnTo>
                  <a:pt x="1456" y="2156"/>
                </a:lnTo>
                <a:lnTo>
                  <a:pt x="1409" y="2181"/>
                </a:lnTo>
                <a:lnTo>
                  <a:pt x="1364" y="2209"/>
                </a:lnTo>
                <a:lnTo>
                  <a:pt x="1321" y="2241"/>
                </a:lnTo>
                <a:lnTo>
                  <a:pt x="1283" y="2276"/>
                </a:lnTo>
                <a:lnTo>
                  <a:pt x="1249" y="2316"/>
                </a:lnTo>
                <a:lnTo>
                  <a:pt x="1217" y="2358"/>
                </a:lnTo>
                <a:lnTo>
                  <a:pt x="1190" y="2403"/>
                </a:lnTo>
                <a:lnTo>
                  <a:pt x="1167" y="2452"/>
                </a:lnTo>
                <a:lnTo>
                  <a:pt x="1158" y="2469"/>
                </a:lnTo>
                <a:lnTo>
                  <a:pt x="1146" y="2483"/>
                </a:lnTo>
                <a:lnTo>
                  <a:pt x="1131" y="2495"/>
                </a:lnTo>
                <a:lnTo>
                  <a:pt x="1114" y="2503"/>
                </a:lnTo>
                <a:lnTo>
                  <a:pt x="1097" y="2509"/>
                </a:lnTo>
                <a:lnTo>
                  <a:pt x="1079" y="2510"/>
                </a:lnTo>
                <a:lnTo>
                  <a:pt x="1060" y="2509"/>
                </a:lnTo>
                <a:lnTo>
                  <a:pt x="1042" y="2503"/>
                </a:lnTo>
                <a:lnTo>
                  <a:pt x="1023" y="2493"/>
                </a:lnTo>
                <a:lnTo>
                  <a:pt x="1006" y="2478"/>
                </a:lnTo>
                <a:lnTo>
                  <a:pt x="995" y="2460"/>
                </a:lnTo>
                <a:lnTo>
                  <a:pt x="987" y="2441"/>
                </a:lnTo>
                <a:lnTo>
                  <a:pt x="983" y="2420"/>
                </a:lnTo>
                <a:lnTo>
                  <a:pt x="985" y="2398"/>
                </a:lnTo>
                <a:lnTo>
                  <a:pt x="991" y="2378"/>
                </a:lnTo>
                <a:lnTo>
                  <a:pt x="1018" y="2318"/>
                </a:lnTo>
                <a:lnTo>
                  <a:pt x="1051" y="2260"/>
                </a:lnTo>
                <a:lnTo>
                  <a:pt x="1088" y="2208"/>
                </a:lnTo>
                <a:lnTo>
                  <a:pt x="1130" y="2158"/>
                </a:lnTo>
                <a:lnTo>
                  <a:pt x="1177" y="2113"/>
                </a:lnTo>
                <a:lnTo>
                  <a:pt x="1226" y="2071"/>
                </a:lnTo>
                <a:lnTo>
                  <a:pt x="1280" y="2034"/>
                </a:lnTo>
                <a:lnTo>
                  <a:pt x="1336" y="2001"/>
                </a:lnTo>
                <a:lnTo>
                  <a:pt x="1395" y="1973"/>
                </a:lnTo>
                <a:lnTo>
                  <a:pt x="1458" y="1949"/>
                </a:lnTo>
                <a:lnTo>
                  <a:pt x="1522" y="1930"/>
                </a:lnTo>
                <a:lnTo>
                  <a:pt x="1588" y="1917"/>
                </a:lnTo>
                <a:lnTo>
                  <a:pt x="1656" y="1908"/>
                </a:lnTo>
                <a:lnTo>
                  <a:pt x="1727" y="1905"/>
                </a:lnTo>
                <a:close/>
                <a:moveTo>
                  <a:pt x="2156" y="1043"/>
                </a:moveTo>
                <a:lnTo>
                  <a:pt x="2191" y="1046"/>
                </a:lnTo>
                <a:lnTo>
                  <a:pt x="2225" y="1055"/>
                </a:lnTo>
                <a:lnTo>
                  <a:pt x="2256" y="1070"/>
                </a:lnTo>
                <a:lnTo>
                  <a:pt x="2284" y="1090"/>
                </a:lnTo>
                <a:lnTo>
                  <a:pt x="2308" y="1113"/>
                </a:lnTo>
                <a:lnTo>
                  <a:pt x="2327" y="1141"/>
                </a:lnTo>
                <a:lnTo>
                  <a:pt x="2341" y="1172"/>
                </a:lnTo>
                <a:lnTo>
                  <a:pt x="2350" y="1206"/>
                </a:lnTo>
                <a:lnTo>
                  <a:pt x="2354" y="1241"/>
                </a:lnTo>
                <a:lnTo>
                  <a:pt x="2350" y="1277"/>
                </a:lnTo>
                <a:lnTo>
                  <a:pt x="2342" y="1311"/>
                </a:lnTo>
                <a:lnTo>
                  <a:pt x="2327" y="1342"/>
                </a:lnTo>
                <a:lnTo>
                  <a:pt x="2308" y="1370"/>
                </a:lnTo>
                <a:lnTo>
                  <a:pt x="2284" y="1394"/>
                </a:lnTo>
                <a:lnTo>
                  <a:pt x="2256" y="1413"/>
                </a:lnTo>
                <a:lnTo>
                  <a:pt x="2225" y="1428"/>
                </a:lnTo>
                <a:lnTo>
                  <a:pt x="2191" y="1437"/>
                </a:lnTo>
                <a:lnTo>
                  <a:pt x="2156" y="1440"/>
                </a:lnTo>
                <a:lnTo>
                  <a:pt x="2121" y="1437"/>
                </a:lnTo>
                <a:lnTo>
                  <a:pt x="2087" y="1428"/>
                </a:lnTo>
                <a:lnTo>
                  <a:pt x="2056" y="1413"/>
                </a:lnTo>
                <a:lnTo>
                  <a:pt x="2028" y="1394"/>
                </a:lnTo>
                <a:lnTo>
                  <a:pt x="2004" y="1370"/>
                </a:lnTo>
                <a:lnTo>
                  <a:pt x="1986" y="1342"/>
                </a:lnTo>
                <a:lnTo>
                  <a:pt x="1971" y="1311"/>
                </a:lnTo>
                <a:lnTo>
                  <a:pt x="1962" y="1277"/>
                </a:lnTo>
                <a:lnTo>
                  <a:pt x="1959" y="1241"/>
                </a:lnTo>
                <a:lnTo>
                  <a:pt x="1962" y="1206"/>
                </a:lnTo>
                <a:lnTo>
                  <a:pt x="1971" y="1172"/>
                </a:lnTo>
                <a:lnTo>
                  <a:pt x="1986" y="1141"/>
                </a:lnTo>
                <a:lnTo>
                  <a:pt x="2004" y="1113"/>
                </a:lnTo>
                <a:lnTo>
                  <a:pt x="2028" y="1090"/>
                </a:lnTo>
                <a:lnTo>
                  <a:pt x="2056" y="1070"/>
                </a:lnTo>
                <a:lnTo>
                  <a:pt x="2087" y="1055"/>
                </a:lnTo>
                <a:lnTo>
                  <a:pt x="2121" y="1046"/>
                </a:lnTo>
                <a:lnTo>
                  <a:pt x="2156" y="1043"/>
                </a:lnTo>
                <a:close/>
                <a:moveTo>
                  <a:pt x="1259" y="1043"/>
                </a:moveTo>
                <a:lnTo>
                  <a:pt x="1294" y="1046"/>
                </a:lnTo>
                <a:lnTo>
                  <a:pt x="1328" y="1055"/>
                </a:lnTo>
                <a:lnTo>
                  <a:pt x="1359" y="1070"/>
                </a:lnTo>
                <a:lnTo>
                  <a:pt x="1387" y="1090"/>
                </a:lnTo>
                <a:lnTo>
                  <a:pt x="1410" y="1113"/>
                </a:lnTo>
                <a:lnTo>
                  <a:pt x="1429" y="1141"/>
                </a:lnTo>
                <a:lnTo>
                  <a:pt x="1444" y="1172"/>
                </a:lnTo>
                <a:lnTo>
                  <a:pt x="1453" y="1206"/>
                </a:lnTo>
                <a:lnTo>
                  <a:pt x="1456" y="1241"/>
                </a:lnTo>
                <a:lnTo>
                  <a:pt x="1453" y="1277"/>
                </a:lnTo>
                <a:lnTo>
                  <a:pt x="1444" y="1311"/>
                </a:lnTo>
                <a:lnTo>
                  <a:pt x="1429" y="1342"/>
                </a:lnTo>
                <a:lnTo>
                  <a:pt x="1410" y="1370"/>
                </a:lnTo>
                <a:lnTo>
                  <a:pt x="1387" y="1394"/>
                </a:lnTo>
                <a:lnTo>
                  <a:pt x="1359" y="1413"/>
                </a:lnTo>
                <a:lnTo>
                  <a:pt x="1328" y="1428"/>
                </a:lnTo>
                <a:lnTo>
                  <a:pt x="1294" y="1437"/>
                </a:lnTo>
                <a:lnTo>
                  <a:pt x="1259" y="1440"/>
                </a:lnTo>
                <a:lnTo>
                  <a:pt x="1224" y="1437"/>
                </a:lnTo>
                <a:lnTo>
                  <a:pt x="1189" y="1428"/>
                </a:lnTo>
                <a:lnTo>
                  <a:pt x="1159" y="1413"/>
                </a:lnTo>
                <a:lnTo>
                  <a:pt x="1131" y="1394"/>
                </a:lnTo>
                <a:lnTo>
                  <a:pt x="1107" y="1370"/>
                </a:lnTo>
                <a:lnTo>
                  <a:pt x="1088" y="1342"/>
                </a:lnTo>
                <a:lnTo>
                  <a:pt x="1074" y="1311"/>
                </a:lnTo>
                <a:lnTo>
                  <a:pt x="1065" y="1277"/>
                </a:lnTo>
                <a:lnTo>
                  <a:pt x="1061" y="1241"/>
                </a:lnTo>
                <a:lnTo>
                  <a:pt x="1065" y="1206"/>
                </a:lnTo>
                <a:lnTo>
                  <a:pt x="1074" y="1172"/>
                </a:lnTo>
                <a:lnTo>
                  <a:pt x="1088" y="1141"/>
                </a:lnTo>
                <a:lnTo>
                  <a:pt x="1107" y="1113"/>
                </a:lnTo>
                <a:lnTo>
                  <a:pt x="1131" y="1090"/>
                </a:lnTo>
                <a:lnTo>
                  <a:pt x="1159" y="1070"/>
                </a:lnTo>
                <a:lnTo>
                  <a:pt x="1189" y="1055"/>
                </a:lnTo>
                <a:lnTo>
                  <a:pt x="1224" y="1046"/>
                </a:lnTo>
                <a:lnTo>
                  <a:pt x="1259" y="1043"/>
                </a:lnTo>
                <a:close/>
                <a:moveTo>
                  <a:pt x="1692" y="263"/>
                </a:moveTo>
                <a:lnTo>
                  <a:pt x="1608" y="265"/>
                </a:lnTo>
                <a:lnTo>
                  <a:pt x="1524" y="273"/>
                </a:lnTo>
                <a:lnTo>
                  <a:pt x="1440" y="286"/>
                </a:lnTo>
                <a:lnTo>
                  <a:pt x="1357" y="302"/>
                </a:lnTo>
                <a:lnTo>
                  <a:pt x="1275" y="325"/>
                </a:lnTo>
                <a:lnTo>
                  <a:pt x="1193" y="353"/>
                </a:lnTo>
                <a:lnTo>
                  <a:pt x="1113" y="385"/>
                </a:lnTo>
                <a:lnTo>
                  <a:pt x="1036" y="423"/>
                </a:lnTo>
                <a:lnTo>
                  <a:pt x="960" y="464"/>
                </a:lnTo>
                <a:lnTo>
                  <a:pt x="886" y="511"/>
                </a:lnTo>
                <a:lnTo>
                  <a:pt x="815" y="564"/>
                </a:lnTo>
                <a:lnTo>
                  <a:pt x="746" y="621"/>
                </a:lnTo>
                <a:lnTo>
                  <a:pt x="680" y="684"/>
                </a:lnTo>
                <a:lnTo>
                  <a:pt x="619" y="750"/>
                </a:lnTo>
                <a:lnTo>
                  <a:pt x="561" y="819"/>
                </a:lnTo>
                <a:lnTo>
                  <a:pt x="509" y="891"/>
                </a:lnTo>
                <a:lnTo>
                  <a:pt x="462" y="965"/>
                </a:lnTo>
                <a:lnTo>
                  <a:pt x="420" y="1041"/>
                </a:lnTo>
                <a:lnTo>
                  <a:pt x="383" y="1120"/>
                </a:lnTo>
                <a:lnTo>
                  <a:pt x="350" y="1200"/>
                </a:lnTo>
                <a:lnTo>
                  <a:pt x="323" y="1282"/>
                </a:lnTo>
                <a:lnTo>
                  <a:pt x="300" y="1365"/>
                </a:lnTo>
                <a:lnTo>
                  <a:pt x="284" y="1448"/>
                </a:lnTo>
                <a:lnTo>
                  <a:pt x="271" y="1532"/>
                </a:lnTo>
                <a:lnTo>
                  <a:pt x="264" y="1616"/>
                </a:lnTo>
                <a:lnTo>
                  <a:pt x="261" y="1702"/>
                </a:lnTo>
                <a:lnTo>
                  <a:pt x="264" y="1787"/>
                </a:lnTo>
                <a:lnTo>
                  <a:pt x="271" y="1872"/>
                </a:lnTo>
                <a:lnTo>
                  <a:pt x="284" y="1956"/>
                </a:lnTo>
                <a:lnTo>
                  <a:pt x="300" y="2040"/>
                </a:lnTo>
                <a:lnTo>
                  <a:pt x="323" y="2122"/>
                </a:lnTo>
                <a:lnTo>
                  <a:pt x="350" y="2204"/>
                </a:lnTo>
                <a:lnTo>
                  <a:pt x="383" y="2285"/>
                </a:lnTo>
                <a:lnTo>
                  <a:pt x="420" y="2362"/>
                </a:lnTo>
                <a:lnTo>
                  <a:pt x="462" y="2439"/>
                </a:lnTo>
                <a:lnTo>
                  <a:pt x="509" y="2513"/>
                </a:lnTo>
                <a:lnTo>
                  <a:pt x="561" y="2585"/>
                </a:lnTo>
                <a:lnTo>
                  <a:pt x="619" y="2654"/>
                </a:lnTo>
                <a:lnTo>
                  <a:pt x="680" y="2720"/>
                </a:lnTo>
                <a:lnTo>
                  <a:pt x="746" y="2782"/>
                </a:lnTo>
                <a:lnTo>
                  <a:pt x="815" y="2840"/>
                </a:lnTo>
                <a:lnTo>
                  <a:pt x="886" y="2892"/>
                </a:lnTo>
                <a:lnTo>
                  <a:pt x="960" y="2940"/>
                </a:lnTo>
                <a:lnTo>
                  <a:pt x="1036" y="2982"/>
                </a:lnTo>
                <a:lnTo>
                  <a:pt x="1113" y="3019"/>
                </a:lnTo>
                <a:lnTo>
                  <a:pt x="1193" y="3052"/>
                </a:lnTo>
                <a:lnTo>
                  <a:pt x="1275" y="3079"/>
                </a:lnTo>
                <a:lnTo>
                  <a:pt x="1357" y="3102"/>
                </a:lnTo>
                <a:lnTo>
                  <a:pt x="1440" y="3119"/>
                </a:lnTo>
                <a:lnTo>
                  <a:pt x="1524" y="3131"/>
                </a:lnTo>
                <a:lnTo>
                  <a:pt x="1608" y="3139"/>
                </a:lnTo>
                <a:lnTo>
                  <a:pt x="1692" y="3142"/>
                </a:lnTo>
                <a:lnTo>
                  <a:pt x="1777" y="3139"/>
                </a:lnTo>
                <a:lnTo>
                  <a:pt x="1862" y="3131"/>
                </a:lnTo>
                <a:lnTo>
                  <a:pt x="1945" y="3119"/>
                </a:lnTo>
                <a:lnTo>
                  <a:pt x="2028" y="3101"/>
                </a:lnTo>
                <a:lnTo>
                  <a:pt x="2110" y="3079"/>
                </a:lnTo>
                <a:lnTo>
                  <a:pt x="2191" y="3052"/>
                </a:lnTo>
                <a:lnTo>
                  <a:pt x="2271" y="3019"/>
                </a:lnTo>
                <a:lnTo>
                  <a:pt x="2349" y="2982"/>
                </a:lnTo>
                <a:lnTo>
                  <a:pt x="2425" y="2939"/>
                </a:lnTo>
                <a:lnTo>
                  <a:pt x="2499" y="2892"/>
                </a:lnTo>
                <a:lnTo>
                  <a:pt x="2570" y="2840"/>
                </a:lnTo>
                <a:lnTo>
                  <a:pt x="2639" y="2782"/>
                </a:lnTo>
                <a:lnTo>
                  <a:pt x="2705" y="2720"/>
                </a:lnTo>
                <a:lnTo>
                  <a:pt x="2767" y="2654"/>
                </a:lnTo>
                <a:lnTo>
                  <a:pt x="2823" y="2585"/>
                </a:lnTo>
                <a:lnTo>
                  <a:pt x="2875" y="2512"/>
                </a:lnTo>
                <a:lnTo>
                  <a:pt x="2923" y="2438"/>
                </a:lnTo>
                <a:lnTo>
                  <a:pt x="2965" y="2362"/>
                </a:lnTo>
                <a:lnTo>
                  <a:pt x="3002" y="2283"/>
                </a:lnTo>
                <a:lnTo>
                  <a:pt x="3035" y="2204"/>
                </a:lnTo>
                <a:lnTo>
                  <a:pt x="3062" y="2122"/>
                </a:lnTo>
                <a:lnTo>
                  <a:pt x="3084" y="2040"/>
                </a:lnTo>
                <a:lnTo>
                  <a:pt x="3101" y="1956"/>
                </a:lnTo>
                <a:lnTo>
                  <a:pt x="3114" y="1872"/>
                </a:lnTo>
                <a:lnTo>
                  <a:pt x="3121" y="1787"/>
                </a:lnTo>
                <a:lnTo>
                  <a:pt x="3124" y="1702"/>
                </a:lnTo>
                <a:lnTo>
                  <a:pt x="3121" y="1616"/>
                </a:lnTo>
                <a:lnTo>
                  <a:pt x="3114" y="1532"/>
                </a:lnTo>
                <a:lnTo>
                  <a:pt x="3101" y="1448"/>
                </a:lnTo>
                <a:lnTo>
                  <a:pt x="3084" y="1365"/>
                </a:lnTo>
                <a:lnTo>
                  <a:pt x="3062" y="1282"/>
                </a:lnTo>
                <a:lnTo>
                  <a:pt x="3035" y="1200"/>
                </a:lnTo>
                <a:lnTo>
                  <a:pt x="3002" y="1120"/>
                </a:lnTo>
                <a:lnTo>
                  <a:pt x="2965" y="1041"/>
                </a:lnTo>
                <a:lnTo>
                  <a:pt x="2923" y="965"/>
                </a:lnTo>
                <a:lnTo>
                  <a:pt x="2875" y="891"/>
                </a:lnTo>
                <a:lnTo>
                  <a:pt x="2823" y="820"/>
                </a:lnTo>
                <a:lnTo>
                  <a:pt x="2767" y="750"/>
                </a:lnTo>
                <a:lnTo>
                  <a:pt x="2705" y="684"/>
                </a:lnTo>
                <a:lnTo>
                  <a:pt x="2639" y="621"/>
                </a:lnTo>
                <a:lnTo>
                  <a:pt x="2570" y="564"/>
                </a:lnTo>
                <a:lnTo>
                  <a:pt x="2499" y="511"/>
                </a:lnTo>
                <a:lnTo>
                  <a:pt x="2425" y="464"/>
                </a:lnTo>
                <a:lnTo>
                  <a:pt x="2349" y="423"/>
                </a:lnTo>
                <a:lnTo>
                  <a:pt x="2271" y="385"/>
                </a:lnTo>
                <a:lnTo>
                  <a:pt x="2191" y="353"/>
                </a:lnTo>
                <a:lnTo>
                  <a:pt x="2110" y="325"/>
                </a:lnTo>
                <a:lnTo>
                  <a:pt x="2028" y="302"/>
                </a:lnTo>
                <a:lnTo>
                  <a:pt x="1945" y="286"/>
                </a:lnTo>
                <a:lnTo>
                  <a:pt x="1862" y="273"/>
                </a:lnTo>
                <a:lnTo>
                  <a:pt x="1777" y="265"/>
                </a:lnTo>
                <a:lnTo>
                  <a:pt x="1692" y="263"/>
                </a:lnTo>
                <a:close/>
                <a:moveTo>
                  <a:pt x="1692" y="0"/>
                </a:moveTo>
                <a:lnTo>
                  <a:pt x="1785" y="2"/>
                </a:lnTo>
                <a:lnTo>
                  <a:pt x="1879" y="11"/>
                </a:lnTo>
                <a:lnTo>
                  <a:pt x="1970" y="23"/>
                </a:lnTo>
                <a:lnTo>
                  <a:pt x="2061" y="41"/>
                </a:lnTo>
                <a:lnTo>
                  <a:pt x="2152" y="64"/>
                </a:lnTo>
                <a:lnTo>
                  <a:pt x="2241" y="91"/>
                </a:lnTo>
                <a:lnTo>
                  <a:pt x="2330" y="125"/>
                </a:lnTo>
                <a:lnTo>
                  <a:pt x="2416" y="163"/>
                </a:lnTo>
                <a:lnTo>
                  <a:pt x="2501" y="206"/>
                </a:lnTo>
                <a:lnTo>
                  <a:pt x="2583" y="254"/>
                </a:lnTo>
                <a:lnTo>
                  <a:pt x="2664" y="308"/>
                </a:lnTo>
                <a:lnTo>
                  <a:pt x="2742" y="366"/>
                </a:lnTo>
                <a:lnTo>
                  <a:pt x="2817" y="430"/>
                </a:lnTo>
                <a:lnTo>
                  <a:pt x="2890" y="498"/>
                </a:lnTo>
                <a:lnTo>
                  <a:pt x="2958" y="571"/>
                </a:lnTo>
                <a:lnTo>
                  <a:pt x="3021" y="646"/>
                </a:lnTo>
                <a:lnTo>
                  <a:pt x="3079" y="725"/>
                </a:lnTo>
                <a:lnTo>
                  <a:pt x="3132" y="805"/>
                </a:lnTo>
                <a:lnTo>
                  <a:pt x="3180" y="889"/>
                </a:lnTo>
                <a:lnTo>
                  <a:pt x="3223" y="975"/>
                </a:lnTo>
                <a:lnTo>
                  <a:pt x="3261" y="1061"/>
                </a:lnTo>
                <a:lnTo>
                  <a:pt x="3293" y="1149"/>
                </a:lnTo>
                <a:lnTo>
                  <a:pt x="3321" y="1240"/>
                </a:lnTo>
                <a:lnTo>
                  <a:pt x="3344" y="1331"/>
                </a:lnTo>
                <a:lnTo>
                  <a:pt x="3362" y="1423"/>
                </a:lnTo>
                <a:lnTo>
                  <a:pt x="3374" y="1515"/>
                </a:lnTo>
                <a:lnTo>
                  <a:pt x="3382" y="1609"/>
                </a:lnTo>
                <a:lnTo>
                  <a:pt x="3385" y="1702"/>
                </a:lnTo>
                <a:lnTo>
                  <a:pt x="3382" y="1795"/>
                </a:lnTo>
                <a:lnTo>
                  <a:pt x="3374" y="1888"/>
                </a:lnTo>
                <a:lnTo>
                  <a:pt x="3362" y="1981"/>
                </a:lnTo>
                <a:lnTo>
                  <a:pt x="3344" y="2073"/>
                </a:lnTo>
                <a:lnTo>
                  <a:pt x="3321" y="2164"/>
                </a:lnTo>
                <a:lnTo>
                  <a:pt x="3293" y="2254"/>
                </a:lnTo>
                <a:lnTo>
                  <a:pt x="3261" y="2343"/>
                </a:lnTo>
                <a:lnTo>
                  <a:pt x="3223" y="2430"/>
                </a:lnTo>
                <a:lnTo>
                  <a:pt x="3180" y="2516"/>
                </a:lnTo>
                <a:lnTo>
                  <a:pt x="3132" y="2598"/>
                </a:lnTo>
                <a:lnTo>
                  <a:pt x="3079" y="2680"/>
                </a:lnTo>
                <a:lnTo>
                  <a:pt x="3021" y="2757"/>
                </a:lnTo>
                <a:lnTo>
                  <a:pt x="2958" y="2833"/>
                </a:lnTo>
                <a:lnTo>
                  <a:pt x="2890" y="2906"/>
                </a:lnTo>
                <a:lnTo>
                  <a:pt x="2817" y="2975"/>
                </a:lnTo>
                <a:lnTo>
                  <a:pt x="2742" y="3038"/>
                </a:lnTo>
                <a:lnTo>
                  <a:pt x="2664" y="3097"/>
                </a:lnTo>
                <a:lnTo>
                  <a:pt x="2583" y="3150"/>
                </a:lnTo>
                <a:lnTo>
                  <a:pt x="2501" y="3198"/>
                </a:lnTo>
                <a:lnTo>
                  <a:pt x="2416" y="3241"/>
                </a:lnTo>
                <a:lnTo>
                  <a:pt x="2330" y="3280"/>
                </a:lnTo>
                <a:lnTo>
                  <a:pt x="2241" y="3312"/>
                </a:lnTo>
                <a:lnTo>
                  <a:pt x="2152" y="3340"/>
                </a:lnTo>
                <a:lnTo>
                  <a:pt x="2061" y="3363"/>
                </a:lnTo>
                <a:lnTo>
                  <a:pt x="1970" y="3381"/>
                </a:lnTo>
                <a:lnTo>
                  <a:pt x="1877" y="3394"/>
                </a:lnTo>
                <a:lnTo>
                  <a:pt x="1785" y="3401"/>
                </a:lnTo>
                <a:lnTo>
                  <a:pt x="1692" y="3404"/>
                </a:lnTo>
                <a:lnTo>
                  <a:pt x="1600" y="3401"/>
                </a:lnTo>
                <a:lnTo>
                  <a:pt x="1507" y="3394"/>
                </a:lnTo>
                <a:lnTo>
                  <a:pt x="1415" y="3381"/>
                </a:lnTo>
                <a:lnTo>
                  <a:pt x="1323" y="3363"/>
                </a:lnTo>
                <a:lnTo>
                  <a:pt x="1233" y="3340"/>
                </a:lnTo>
                <a:lnTo>
                  <a:pt x="1144" y="3312"/>
                </a:lnTo>
                <a:lnTo>
                  <a:pt x="1055" y="3280"/>
                </a:lnTo>
                <a:lnTo>
                  <a:pt x="969" y="3241"/>
                </a:lnTo>
                <a:lnTo>
                  <a:pt x="884" y="3198"/>
                </a:lnTo>
                <a:lnTo>
                  <a:pt x="802" y="3150"/>
                </a:lnTo>
                <a:lnTo>
                  <a:pt x="720" y="3097"/>
                </a:lnTo>
                <a:lnTo>
                  <a:pt x="642" y="3038"/>
                </a:lnTo>
                <a:lnTo>
                  <a:pt x="568" y="2975"/>
                </a:lnTo>
                <a:lnTo>
                  <a:pt x="495" y="2907"/>
                </a:lnTo>
                <a:lnTo>
                  <a:pt x="427" y="2833"/>
                </a:lnTo>
                <a:lnTo>
                  <a:pt x="364" y="2758"/>
                </a:lnTo>
                <a:lnTo>
                  <a:pt x="306" y="2680"/>
                </a:lnTo>
                <a:lnTo>
                  <a:pt x="253" y="2598"/>
                </a:lnTo>
                <a:lnTo>
                  <a:pt x="205" y="2516"/>
                </a:lnTo>
                <a:lnTo>
                  <a:pt x="162" y="2430"/>
                </a:lnTo>
                <a:lnTo>
                  <a:pt x="124" y="2343"/>
                </a:lnTo>
                <a:lnTo>
                  <a:pt x="92" y="2254"/>
                </a:lnTo>
                <a:lnTo>
                  <a:pt x="63" y="2164"/>
                </a:lnTo>
                <a:lnTo>
                  <a:pt x="41" y="2073"/>
                </a:lnTo>
                <a:lnTo>
                  <a:pt x="23" y="1981"/>
                </a:lnTo>
                <a:lnTo>
                  <a:pt x="10" y="1888"/>
                </a:lnTo>
                <a:lnTo>
                  <a:pt x="3" y="1795"/>
                </a:lnTo>
                <a:lnTo>
                  <a:pt x="0" y="1702"/>
                </a:lnTo>
                <a:lnTo>
                  <a:pt x="3" y="1608"/>
                </a:lnTo>
                <a:lnTo>
                  <a:pt x="10" y="1515"/>
                </a:lnTo>
                <a:lnTo>
                  <a:pt x="23" y="1423"/>
                </a:lnTo>
                <a:lnTo>
                  <a:pt x="41" y="1331"/>
                </a:lnTo>
                <a:lnTo>
                  <a:pt x="63" y="1240"/>
                </a:lnTo>
                <a:lnTo>
                  <a:pt x="92" y="1149"/>
                </a:lnTo>
                <a:lnTo>
                  <a:pt x="124" y="1061"/>
                </a:lnTo>
                <a:lnTo>
                  <a:pt x="162" y="974"/>
                </a:lnTo>
                <a:lnTo>
                  <a:pt x="205" y="889"/>
                </a:lnTo>
                <a:lnTo>
                  <a:pt x="253" y="805"/>
                </a:lnTo>
                <a:lnTo>
                  <a:pt x="306" y="725"/>
                </a:lnTo>
                <a:lnTo>
                  <a:pt x="364" y="646"/>
                </a:lnTo>
                <a:lnTo>
                  <a:pt x="427" y="571"/>
                </a:lnTo>
                <a:lnTo>
                  <a:pt x="495" y="498"/>
                </a:lnTo>
                <a:lnTo>
                  <a:pt x="568" y="430"/>
                </a:lnTo>
                <a:lnTo>
                  <a:pt x="642" y="366"/>
                </a:lnTo>
                <a:lnTo>
                  <a:pt x="720" y="308"/>
                </a:lnTo>
                <a:lnTo>
                  <a:pt x="802" y="254"/>
                </a:lnTo>
                <a:lnTo>
                  <a:pt x="884" y="206"/>
                </a:lnTo>
                <a:lnTo>
                  <a:pt x="969" y="162"/>
                </a:lnTo>
                <a:lnTo>
                  <a:pt x="1055" y="125"/>
                </a:lnTo>
                <a:lnTo>
                  <a:pt x="1144" y="91"/>
                </a:lnTo>
                <a:lnTo>
                  <a:pt x="1233" y="64"/>
                </a:lnTo>
                <a:lnTo>
                  <a:pt x="1323" y="41"/>
                </a:lnTo>
                <a:lnTo>
                  <a:pt x="1415" y="23"/>
                </a:lnTo>
                <a:lnTo>
                  <a:pt x="1507" y="11"/>
                </a:lnTo>
                <a:lnTo>
                  <a:pt x="1600" y="2"/>
                </a:lnTo>
                <a:lnTo>
                  <a:pt x="169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69"/>
          <a:stretch/>
        </p:blipFill>
        <p:spPr>
          <a:xfrm>
            <a:off x="8162795" y="1947632"/>
            <a:ext cx="417623" cy="457200"/>
          </a:xfrm>
          <a:prstGeom prst="ellipse">
            <a:avLst/>
          </a:prstGeom>
        </p:spPr>
      </p:pic>
      <p:cxnSp>
        <p:nvCxnSpPr>
          <p:cNvPr id="4" name="Straight Connector 3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481253" y="34056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50476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Real World Natural Language Interac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081124" y="2556150"/>
            <a:ext cx="2717998" cy="4114800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2800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pPr algn="ctr"/>
            <a:endParaRPr lang="en-US" sz="700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pPr>
              <a:spcAft>
                <a:spcPts val="1200"/>
              </a:spcAft>
              <a:buClr>
                <a:srgbClr val="0084CB"/>
              </a:buClr>
            </a:pPr>
            <a:r>
              <a:rPr lang="en-US" sz="2000" dirty="0">
                <a:solidFill>
                  <a:srgbClr val="0084CB"/>
                </a:solidFill>
                <a:latin typeface="Raleway" panose="020B0003030101060003" pitchFamily="34" charset="0"/>
              </a:rPr>
              <a:t>True NLP</a:t>
            </a:r>
          </a:p>
          <a:p>
            <a:pPr>
              <a:spcAft>
                <a:spcPts val="1200"/>
              </a:spcAft>
              <a:buClr>
                <a:srgbClr val="0084CB"/>
              </a:buClr>
            </a:pPr>
            <a:r>
              <a:rPr lang="en-US" sz="2000" dirty="0">
                <a:solidFill>
                  <a:srgbClr val="0084CB"/>
                </a:solidFill>
                <a:latin typeface="Raleway" panose="020B0003030101060003" pitchFamily="34" charset="0"/>
              </a:rPr>
              <a:t>Trained on-the-job from real conversations</a:t>
            </a:r>
          </a:p>
        </p:txBody>
      </p:sp>
      <p:sp>
        <p:nvSpPr>
          <p:cNvPr id="23" name="Freeform 6"/>
          <p:cNvSpPr>
            <a:spLocks noChangeAspect="1" noEditPoints="1"/>
          </p:cNvSpPr>
          <p:nvPr/>
        </p:nvSpPr>
        <p:spPr bwMode="auto">
          <a:xfrm>
            <a:off x="6945250" y="3345794"/>
            <a:ext cx="184664" cy="182880"/>
          </a:xfrm>
          <a:custGeom>
            <a:avLst/>
            <a:gdLst>
              <a:gd name="T0" fmla="*/ 2188 w 3309"/>
              <a:gd name="T1" fmla="*/ 922 h 3277"/>
              <a:gd name="T2" fmla="*/ 2136 w 3309"/>
              <a:gd name="T3" fmla="*/ 966 h 3277"/>
              <a:gd name="T4" fmla="*/ 1087 w 3309"/>
              <a:gd name="T5" fmla="*/ 1747 h 3277"/>
              <a:gd name="T6" fmla="*/ 1022 w 3309"/>
              <a:gd name="T7" fmla="*/ 1730 h 3277"/>
              <a:gd name="T8" fmla="*/ 959 w 3309"/>
              <a:gd name="T9" fmla="*/ 1758 h 3277"/>
              <a:gd name="T10" fmla="*/ 927 w 3309"/>
              <a:gd name="T11" fmla="*/ 1818 h 3277"/>
              <a:gd name="T12" fmla="*/ 940 w 3309"/>
              <a:gd name="T13" fmla="*/ 1883 h 3277"/>
              <a:gd name="T14" fmla="*/ 1445 w 3309"/>
              <a:gd name="T15" fmla="*/ 2349 h 3277"/>
              <a:gd name="T16" fmla="*/ 1510 w 3309"/>
              <a:gd name="T17" fmla="*/ 2366 h 3277"/>
              <a:gd name="T18" fmla="*/ 1574 w 3309"/>
              <a:gd name="T19" fmla="*/ 2339 h 3277"/>
              <a:gd name="T20" fmla="*/ 1590 w 3309"/>
              <a:gd name="T21" fmla="*/ 2314 h 3277"/>
              <a:gd name="T22" fmla="*/ 1628 w 3309"/>
              <a:gd name="T23" fmla="*/ 2250 h 3277"/>
              <a:gd name="T24" fmla="*/ 1684 w 3309"/>
              <a:gd name="T25" fmla="*/ 2155 h 3277"/>
              <a:gd name="T26" fmla="*/ 1755 w 3309"/>
              <a:gd name="T27" fmla="*/ 2034 h 3277"/>
              <a:gd name="T28" fmla="*/ 1835 w 3309"/>
              <a:gd name="T29" fmla="*/ 1897 h 3277"/>
              <a:gd name="T30" fmla="*/ 1921 w 3309"/>
              <a:gd name="T31" fmla="*/ 1749 h 3277"/>
              <a:gd name="T32" fmla="*/ 2007 w 3309"/>
              <a:gd name="T33" fmla="*/ 1601 h 3277"/>
              <a:gd name="T34" fmla="*/ 2091 w 3309"/>
              <a:gd name="T35" fmla="*/ 1456 h 3277"/>
              <a:gd name="T36" fmla="*/ 2167 w 3309"/>
              <a:gd name="T37" fmla="*/ 1324 h 3277"/>
              <a:gd name="T38" fmla="*/ 2233 w 3309"/>
              <a:gd name="T39" fmla="*/ 1213 h 3277"/>
              <a:gd name="T40" fmla="*/ 2281 w 3309"/>
              <a:gd name="T41" fmla="*/ 1128 h 3277"/>
              <a:gd name="T42" fmla="*/ 2310 w 3309"/>
              <a:gd name="T43" fmla="*/ 1079 h 3277"/>
              <a:gd name="T44" fmla="*/ 2326 w 3309"/>
              <a:gd name="T45" fmla="*/ 1047 h 3277"/>
              <a:gd name="T46" fmla="*/ 2322 w 3309"/>
              <a:gd name="T47" fmla="*/ 981 h 3277"/>
              <a:gd name="T48" fmla="*/ 2278 w 3309"/>
              <a:gd name="T49" fmla="*/ 928 h 3277"/>
              <a:gd name="T50" fmla="*/ 1655 w 3309"/>
              <a:gd name="T51" fmla="*/ 0 h 3277"/>
              <a:gd name="T52" fmla="*/ 1963 w 3309"/>
              <a:gd name="T53" fmla="*/ 29 h 3277"/>
              <a:gd name="T54" fmla="*/ 2253 w 3309"/>
              <a:gd name="T55" fmla="*/ 110 h 3277"/>
              <a:gd name="T56" fmla="*/ 2518 w 3309"/>
              <a:gd name="T57" fmla="*/ 240 h 3277"/>
              <a:gd name="T58" fmla="*/ 2754 w 3309"/>
              <a:gd name="T59" fmla="*/ 414 h 3277"/>
              <a:gd name="T60" fmla="*/ 2955 w 3309"/>
              <a:gd name="T61" fmla="*/ 624 h 3277"/>
              <a:gd name="T62" fmla="*/ 3116 w 3309"/>
              <a:gd name="T63" fmla="*/ 869 h 3277"/>
              <a:gd name="T64" fmla="*/ 3231 w 3309"/>
              <a:gd name="T65" fmla="*/ 1140 h 3277"/>
              <a:gd name="T66" fmla="*/ 3296 w 3309"/>
              <a:gd name="T67" fmla="*/ 1433 h 3277"/>
              <a:gd name="T68" fmla="*/ 3306 w 3309"/>
              <a:gd name="T69" fmla="*/ 1742 h 3277"/>
              <a:gd name="T70" fmla="*/ 3258 w 3309"/>
              <a:gd name="T71" fmla="*/ 2042 h 3277"/>
              <a:gd name="T72" fmla="*/ 3159 w 3309"/>
              <a:gd name="T73" fmla="*/ 2321 h 3277"/>
              <a:gd name="T74" fmla="*/ 3013 w 3309"/>
              <a:gd name="T75" fmla="*/ 2575 h 3277"/>
              <a:gd name="T76" fmla="*/ 2825 w 3309"/>
              <a:gd name="T77" fmla="*/ 2798 h 3277"/>
              <a:gd name="T78" fmla="*/ 2601 w 3309"/>
              <a:gd name="T79" fmla="*/ 2984 h 3277"/>
              <a:gd name="T80" fmla="*/ 2345 w 3309"/>
              <a:gd name="T81" fmla="*/ 3129 h 3277"/>
              <a:gd name="T82" fmla="*/ 2062 w 3309"/>
              <a:gd name="T83" fmla="*/ 3227 h 3277"/>
              <a:gd name="T84" fmla="*/ 1760 w 3309"/>
              <a:gd name="T85" fmla="*/ 3274 h 3277"/>
              <a:gd name="T86" fmla="*/ 1447 w 3309"/>
              <a:gd name="T87" fmla="*/ 3265 h 3277"/>
              <a:gd name="T88" fmla="*/ 1151 w 3309"/>
              <a:gd name="T89" fmla="*/ 3200 h 3277"/>
              <a:gd name="T90" fmla="*/ 877 w 3309"/>
              <a:gd name="T91" fmla="*/ 3086 h 3277"/>
              <a:gd name="T92" fmla="*/ 630 w 3309"/>
              <a:gd name="T93" fmla="*/ 2926 h 3277"/>
              <a:gd name="T94" fmla="*/ 418 w 3309"/>
              <a:gd name="T95" fmla="*/ 2727 h 3277"/>
              <a:gd name="T96" fmla="*/ 243 w 3309"/>
              <a:gd name="T97" fmla="*/ 2494 h 3277"/>
              <a:gd name="T98" fmla="*/ 111 w 3309"/>
              <a:gd name="T99" fmla="*/ 2231 h 3277"/>
              <a:gd name="T100" fmla="*/ 28 w 3309"/>
              <a:gd name="T101" fmla="*/ 1944 h 3277"/>
              <a:gd name="T102" fmla="*/ 0 w 3309"/>
              <a:gd name="T103" fmla="*/ 1638 h 3277"/>
              <a:gd name="T104" fmla="*/ 28 w 3309"/>
              <a:gd name="T105" fmla="*/ 1333 h 3277"/>
              <a:gd name="T106" fmla="*/ 111 w 3309"/>
              <a:gd name="T107" fmla="*/ 1047 h 3277"/>
              <a:gd name="T108" fmla="*/ 243 w 3309"/>
              <a:gd name="T109" fmla="*/ 784 h 3277"/>
              <a:gd name="T110" fmla="*/ 418 w 3309"/>
              <a:gd name="T111" fmla="*/ 550 h 3277"/>
              <a:gd name="T112" fmla="*/ 630 w 3309"/>
              <a:gd name="T113" fmla="*/ 351 h 3277"/>
              <a:gd name="T114" fmla="*/ 877 w 3309"/>
              <a:gd name="T115" fmla="*/ 192 h 3277"/>
              <a:gd name="T116" fmla="*/ 1151 w 3309"/>
              <a:gd name="T117" fmla="*/ 78 h 3277"/>
              <a:gd name="T118" fmla="*/ 1447 w 3309"/>
              <a:gd name="T119" fmla="*/ 13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09" h="3277">
                <a:moveTo>
                  <a:pt x="2234" y="915"/>
                </a:moveTo>
                <a:lnTo>
                  <a:pt x="2210" y="916"/>
                </a:lnTo>
                <a:lnTo>
                  <a:pt x="2188" y="922"/>
                </a:lnTo>
                <a:lnTo>
                  <a:pt x="2168" y="932"/>
                </a:lnTo>
                <a:lnTo>
                  <a:pt x="2151" y="947"/>
                </a:lnTo>
                <a:lnTo>
                  <a:pt x="2136" y="966"/>
                </a:lnTo>
                <a:lnTo>
                  <a:pt x="1475" y="2100"/>
                </a:lnTo>
                <a:lnTo>
                  <a:pt x="1105" y="1763"/>
                </a:lnTo>
                <a:lnTo>
                  <a:pt x="1087" y="1747"/>
                </a:lnTo>
                <a:lnTo>
                  <a:pt x="1066" y="1737"/>
                </a:lnTo>
                <a:lnTo>
                  <a:pt x="1045" y="1731"/>
                </a:lnTo>
                <a:lnTo>
                  <a:pt x="1022" y="1730"/>
                </a:lnTo>
                <a:lnTo>
                  <a:pt x="999" y="1735"/>
                </a:lnTo>
                <a:lnTo>
                  <a:pt x="978" y="1744"/>
                </a:lnTo>
                <a:lnTo>
                  <a:pt x="959" y="1758"/>
                </a:lnTo>
                <a:lnTo>
                  <a:pt x="943" y="1775"/>
                </a:lnTo>
                <a:lnTo>
                  <a:pt x="933" y="1796"/>
                </a:lnTo>
                <a:lnTo>
                  <a:pt x="927" y="1818"/>
                </a:lnTo>
                <a:lnTo>
                  <a:pt x="926" y="1840"/>
                </a:lnTo>
                <a:lnTo>
                  <a:pt x="931" y="1862"/>
                </a:lnTo>
                <a:lnTo>
                  <a:pt x="940" y="1883"/>
                </a:lnTo>
                <a:lnTo>
                  <a:pt x="954" y="1902"/>
                </a:lnTo>
                <a:lnTo>
                  <a:pt x="1427" y="2334"/>
                </a:lnTo>
                <a:lnTo>
                  <a:pt x="1445" y="2349"/>
                </a:lnTo>
                <a:lnTo>
                  <a:pt x="1466" y="2360"/>
                </a:lnTo>
                <a:lnTo>
                  <a:pt x="1488" y="2366"/>
                </a:lnTo>
                <a:lnTo>
                  <a:pt x="1510" y="2366"/>
                </a:lnTo>
                <a:lnTo>
                  <a:pt x="1532" y="2362"/>
                </a:lnTo>
                <a:lnTo>
                  <a:pt x="1555" y="2354"/>
                </a:lnTo>
                <a:lnTo>
                  <a:pt x="1574" y="2339"/>
                </a:lnTo>
                <a:lnTo>
                  <a:pt x="1576" y="2336"/>
                </a:lnTo>
                <a:lnTo>
                  <a:pt x="1581" y="2327"/>
                </a:lnTo>
                <a:lnTo>
                  <a:pt x="1590" y="2314"/>
                </a:lnTo>
                <a:lnTo>
                  <a:pt x="1600" y="2297"/>
                </a:lnTo>
                <a:lnTo>
                  <a:pt x="1613" y="2275"/>
                </a:lnTo>
                <a:lnTo>
                  <a:pt x="1628" y="2250"/>
                </a:lnTo>
                <a:lnTo>
                  <a:pt x="1645" y="2222"/>
                </a:lnTo>
                <a:lnTo>
                  <a:pt x="1664" y="2189"/>
                </a:lnTo>
                <a:lnTo>
                  <a:pt x="1684" y="2155"/>
                </a:lnTo>
                <a:lnTo>
                  <a:pt x="1706" y="2117"/>
                </a:lnTo>
                <a:lnTo>
                  <a:pt x="1729" y="2076"/>
                </a:lnTo>
                <a:lnTo>
                  <a:pt x="1755" y="2034"/>
                </a:lnTo>
                <a:lnTo>
                  <a:pt x="1780" y="1989"/>
                </a:lnTo>
                <a:lnTo>
                  <a:pt x="1807" y="1944"/>
                </a:lnTo>
                <a:lnTo>
                  <a:pt x="1835" y="1897"/>
                </a:lnTo>
                <a:lnTo>
                  <a:pt x="1862" y="1848"/>
                </a:lnTo>
                <a:lnTo>
                  <a:pt x="1891" y="1798"/>
                </a:lnTo>
                <a:lnTo>
                  <a:pt x="1921" y="1749"/>
                </a:lnTo>
                <a:lnTo>
                  <a:pt x="1949" y="1699"/>
                </a:lnTo>
                <a:lnTo>
                  <a:pt x="1979" y="1650"/>
                </a:lnTo>
                <a:lnTo>
                  <a:pt x="2007" y="1601"/>
                </a:lnTo>
                <a:lnTo>
                  <a:pt x="2036" y="1551"/>
                </a:lnTo>
                <a:lnTo>
                  <a:pt x="2063" y="1503"/>
                </a:lnTo>
                <a:lnTo>
                  <a:pt x="2091" y="1456"/>
                </a:lnTo>
                <a:lnTo>
                  <a:pt x="2117" y="1410"/>
                </a:lnTo>
                <a:lnTo>
                  <a:pt x="2143" y="1366"/>
                </a:lnTo>
                <a:lnTo>
                  <a:pt x="2167" y="1324"/>
                </a:lnTo>
                <a:lnTo>
                  <a:pt x="2190" y="1284"/>
                </a:lnTo>
                <a:lnTo>
                  <a:pt x="2212" y="1248"/>
                </a:lnTo>
                <a:lnTo>
                  <a:pt x="2233" y="1213"/>
                </a:lnTo>
                <a:lnTo>
                  <a:pt x="2251" y="1182"/>
                </a:lnTo>
                <a:lnTo>
                  <a:pt x="2266" y="1153"/>
                </a:lnTo>
                <a:lnTo>
                  <a:pt x="2281" y="1128"/>
                </a:lnTo>
                <a:lnTo>
                  <a:pt x="2293" y="1107"/>
                </a:lnTo>
                <a:lnTo>
                  <a:pt x="2302" y="1091"/>
                </a:lnTo>
                <a:lnTo>
                  <a:pt x="2310" y="1079"/>
                </a:lnTo>
                <a:lnTo>
                  <a:pt x="2314" y="1072"/>
                </a:lnTo>
                <a:lnTo>
                  <a:pt x="2316" y="1069"/>
                </a:lnTo>
                <a:lnTo>
                  <a:pt x="2326" y="1047"/>
                </a:lnTo>
                <a:lnTo>
                  <a:pt x="2330" y="1025"/>
                </a:lnTo>
                <a:lnTo>
                  <a:pt x="2329" y="1003"/>
                </a:lnTo>
                <a:lnTo>
                  <a:pt x="2322" y="981"/>
                </a:lnTo>
                <a:lnTo>
                  <a:pt x="2312" y="961"/>
                </a:lnTo>
                <a:lnTo>
                  <a:pt x="2297" y="943"/>
                </a:lnTo>
                <a:lnTo>
                  <a:pt x="2278" y="928"/>
                </a:lnTo>
                <a:lnTo>
                  <a:pt x="2256" y="919"/>
                </a:lnTo>
                <a:lnTo>
                  <a:pt x="2234" y="915"/>
                </a:lnTo>
                <a:close/>
                <a:moveTo>
                  <a:pt x="1655" y="0"/>
                </a:moveTo>
                <a:lnTo>
                  <a:pt x="1760" y="3"/>
                </a:lnTo>
                <a:lnTo>
                  <a:pt x="1862" y="13"/>
                </a:lnTo>
                <a:lnTo>
                  <a:pt x="1963" y="29"/>
                </a:lnTo>
                <a:lnTo>
                  <a:pt x="2062" y="51"/>
                </a:lnTo>
                <a:lnTo>
                  <a:pt x="2159" y="78"/>
                </a:lnTo>
                <a:lnTo>
                  <a:pt x="2253" y="110"/>
                </a:lnTo>
                <a:lnTo>
                  <a:pt x="2345" y="149"/>
                </a:lnTo>
                <a:lnTo>
                  <a:pt x="2432" y="192"/>
                </a:lnTo>
                <a:lnTo>
                  <a:pt x="2518" y="240"/>
                </a:lnTo>
                <a:lnTo>
                  <a:pt x="2601" y="294"/>
                </a:lnTo>
                <a:lnTo>
                  <a:pt x="2679" y="351"/>
                </a:lnTo>
                <a:lnTo>
                  <a:pt x="2754" y="414"/>
                </a:lnTo>
                <a:lnTo>
                  <a:pt x="2825" y="480"/>
                </a:lnTo>
                <a:lnTo>
                  <a:pt x="2891" y="550"/>
                </a:lnTo>
                <a:lnTo>
                  <a:pt x="2955" y="624"/>
                </a:lnTo>
                <a:lnTo>
                  <a:pt x="3013" y="703"/>
                </a:lnTo>
                <a:lnTo>
                  <a:pt x="3067" y="784"/>
                </a:lnTo>
                <a:lnTo>
                  <a:pt x="3116" y="869"/>
                </a:lnTo>
                <a:lnTo>
                  <a:pt x="3159" y="956"/>
                </a:lnTo>
                <a:lnTo>
                  <a:pt x="3198" y="1047"/>
                </a:lnTo>
                <a:lnTo>
                  <a:pt x="3231" y="1140"/>
                </a:lnTo>
                <a:lnTo>
                  <a:pt x="3258" y="1235"/>
                </a:lnTo>
                <a:lnTo>
                  <a:pt x="3281" y="1333"/>
                </a:lnTo>
                <a:lnTo>
                  <a:pt x="3296" y="1433"/>
                </a:lnTo>
                <a:lnTo>
                  <a:pt x="3306" y="1535"/>
                </a:lnTo>
                <a:lnTo>
                  <a:pt x="3309" y="1638"/>
                </a:lnTo>
                <a:lnTo>
                  <a:pt x="3306" y="1742"/>
                </a:lnTo>
                <a:lnTo>
                  <a:pt x="3296" y="1845"/>
                </a:lnTo>
                <a:lnTo>
                  <a:pt x="3281" y="1944"/>
                </a:lnTo>
                <a:lnTo>
                  <a:pt x="3258" y="2042"/>
                </a:lnTo>
                <a:lnTo>
                  <a:pt x="3231" y="2138"/>
                </a:lnTo>
                <a:lnTo>
                  <a:pt x="3198" y="2231"/>
                </a:lnTo>
                <a:lnTo>
                  <a:pt x="3159" y="2321"/>
                </a:lnTo>
                <a:lnTo>
                  <a:pt x="3116" y="2409"/>
                </a:lnTo>
                <a:lnTo>
                  <a:pt x="3067" y="2494"/>
                </a:lnTo>
                <a:lnTo>
                  <a:pt x="3013" y="2575"/>
                </a:lnTo>
                <a:lnTo>
                  <a:pt x="2955" y="2653"/>
                </a:lnTo>
                <a:lnTo>
                  <a:pt x="2891" y="2727"/>
                </a:lnTo>
                <a:lnTo>
                  <a:pt x="2825" y="2798"/>
                </a:lnTo>
                <a:lnTo>
                  <a:pt x="2754" y="2864"/>
                </a:lnTo>
                <a:lnTo>
                  <a:pt x="2679" y="2926"/>
                </a:lnTo>
                <a:lnTo>
                  <a:pt x="2601" y="2984"/>
                </a:lnTo>
                <a:lnTo>
                  <a:pt x="2518" y="3036"/>
                </a:lnTo>
                <a:lnTo>
                  <a:pt x="2432" y="3086"/>
                </a:lnTo>
                <a:lnTo>
                  <a:pt x="2345" y="3129"/>
                </a:lnTo>
                <a:lnTo>
                  <a:pt x="2253" y="3167"/>
                </a:lnTo>
                <a:lnTo>
                  <a:pt x="2159" y="3200"/>
                </a:lnTo>
                <a:lnTo>
                  <a:pt x="2062" y="3227"/>
                </a:lnTo>
                <a:lnTo>
                  <a:pt x="1963" y="3249"/>
                </a:lnTo>
                <a:lnTo>
                  <a:pt x="1862" y="3265"/>
                </a:lnTo>
                <a:lnTo>
                  <a:pt x="1760" y="3274"/>
                </a:lnTo>
                <a:lnTo>
                  <a:pt x="1655" y="3277"/>
                </a:lnTo>
                <a:lnTo>
                  <a:pt x="1550" y="3274"/>
                </a:lnTo>
                <a:lnTo>
                  <a:pt x="1447" y="3265"/>
                </a:lnTo>
                <a:lnTo>
                  <a:pt x="1346" y="3249"/>
                </a:lnTo>
                <a:lnTo>
                  <a:pt x="1247" y="3227"/>
                </a:lnTo>
                <a:lnTo>
                  <a:pt x="1151" y="3200"/>
                </a:lnTo>
                <a:lnTo>
                  <a:pt x="1056" y="3167"/>
                </a:lnTo>
                <a:lnTo>
                  <a:pt x="966" y="3129"/>
                </a:lnTo>
                <a:lnTo>
                  <a:pt x="877" y="3086"/>
                </a:lnTo>
                <a:lnTo>
                  <a:pt x="791" y="3036"/>
                </a:lnTo>
                <a:lnTo>
                  <a:pt x="710" y="2984"/>
                </a:lnTo>
                <a:lnTo>
                  <a:pt x="630" y="2926"/>
                </a:lnTo>
                <a:lnTo>
                  <a:pt x="556" y="2864"/>
                </a:lnTo>
                <a:lnTo>
                  <a:pt x="484" y="2798"/>
                </a:lnTo>
                <a:lnTo>
                  <a:pt x="418" y="2727"/>
                </a:lnTo>
                <a:lnTo>
                  <a:pt x="355" y="2653"/>
                </a:lnTo>
                <a:lnTo>
                  <a:pt x="296" y="2575"/>
                </a:lnTo>
                <a:lnTo>
                  <a:pt x="243" y="2494"/>
                </a:lnTo>
                <a:lnTo>
                  <a:pt x="193" y="2409"/>
                </a:lnTo>
                <a:lnTo>
                  <a:pt x="150" y="2321"/>
                </a:lnTo>
                <a:lnTo>
                  <a:pt x="111" y="2231"/>
                </a:lnTo>
                <a:lnTo>
                  <a:pt x="78" y="2138"/>
                </a:lnTo>
                <a:lnTo>
                  <a:pt x="51" y="2042"/>
                </a:lnTo>
                <a:lnTo>
                  <a:pt x="28" y="1944"/>
                </a:lnTo>
                <a:lnTo>
                  <a:pt x="13" y="1845"/>
                </a:lnTo>
                <a:lnTo>
                  <a:pt x="3" y="1742"/>
                </a:lnTo>
                <a:lnTo>
                  <a:pt x="0" y="1638"/>
                </a:lnTo>
                <a:lnTo>
                  <a:pt x="3" y="1535"/>
                </a:lnTo>
                <a:lnTo>
                  <a:pt x="13" y="1433"/>
                </a:lnTo>
                <a:lnTo>
                  <a:pt x="28" y="1333"/>
                </a:lnTo>
                <a:lnTo>
                  <a:pt x="51" y="1235"/>
                </a:lnTo>
                <a:lnTo>
                  <a:pt x="78" y="1140"/>
                </a:lnTo>
                <a:lnTo>
                  <a:pt x="111" y="1047"/>
                </a:lnTo>
                <a:lnTo>
                  <a:pt x="150" y="956"/>
                </a:lnTo>
                <a:lnTo>
                  <a:pt x="193" y="869"/>
                </a:lnTo>
                <a:lnTo>
                  <a:pt x="243" y="784"/>
                </a:lnTo>
                <a:lnTo>
                  <a:pt x="296" y="703"/>
                </a:lnTo>
                <a:lnTo>
                  <a:pt x="355" y="624"/>
                </a:lnTo>
                <a:lnTo>
                  <a:pt x="418" y="550"/>
                </a:lnTo>
                <a:lnTo>
                  <a:pt x="484" y="480"/>
                </a:lnTo>
                <a:lnTo>
                  <a:pt x="556" y="414"/>
                </a:lnTo>
                <a:lnTo>
                  <a:pt x="630" y="351"/>
                </a:lnTo>
                <a:lnTo>
                  <a:pt x="710" y="294"/>
                </a:lnTo>
                <a:lnTo>
                  <a:pt x="791" y="240"/>
                </a:lnTo>
                <a:lnTo>
                  <a:pt x="877" y="192"/>
                </a:lnTo>
                <a:lnTo>
                  <a:pt x="966" y="149"/>
                </a:lnTo>
                <a:lnTo>
                  <a:pt x="1056" y="110"/>
                </a:lnTo>
                <a:lnTo>
                  <a:pt x="1151" y="78"/>
                </a:lnTo>
                <a:lnTo>
                  <a:pt x="1247" y="51"/>
                </a:lnTo>
                <a:lnTo>
                  <a:pt x="1346" y="29"/>
                </a:lnTo>
                <a:lnTo>
                  <a:pt x="1447" y="13"/>
                </a:lnTo>
                <a:lnTo>
                  <a:pt x="1550" y="3"/>
                </a:lnTo>
                <a:lnTo>
                  <a:pt x="1655" y="0"/>
                </a:lnTo>
                <a:close/>
              </a:path>
            </a:pathLst>
          </a:cu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6"/>
          <p:cNvSpPr>
            <a:spLocks noChangeAspect="1" noEditPoints="1"/>
          </p:cNvSpPr>
          <p:nvPr/>
        </p:nvSpPr>
        <p:spPr bwMode="auto">
          <a:xfrm>
            <a:off x="6945250" y="3817195"/>
            <a:ext cx="184664" cy="182880"/>
          </a:xfrm>
          <a:custGeom>
            <a:avLst/>
            <a:gdLst>
              <a:gd name="T0" fmla="*/ 2188 w 3309"/>
              <a:gd name="T1" fmla="*/ 922 h 3277"/>
              <a:gd name="T2" fmla="*/ 2136 w 3309"/>
              <a:gd name="T3" fmla="*/ 966 h 3277"/>
              <a:gd name="T4" fmla="*/ 1087 w 3309"/>
              <a:gd name="T5" fmla="*/ 1747 h 3277"/>
              <a:gd name="T6" fmla="*/ 1022 w 3309"/>
              <a:gd name="T7" fmla="*/ 1730 h 3277"/>
              <a:gd name="T8" fmla="*/ 959 w 3309"/>
              <a:gd name="T9" fmla="*/ 1758 h 3277"/>
              <a:gd name="T10" fmla="*/ 927 w 3309"/>
              <a:gd name="T11" fmla="*/ 1818 h 3277"/>
              <a:gd name="T12" fmla="*/ 940 w 3309"/>
              <a:gd name="T13" fmla="*/ 1883 h 3277"/>
              <a:gd name="T14" fmla="*/ 1445 w 3309"/>
              <a:gd name="T15" fmla="*/ 2349 h 3277"/>
              <a:gd name="T16" fmla="*/ 1510 w 3309"/>
              <a:gd name="T17" fmla="*/ 2366 h 3277"/>
              <a:gd name="T18" fmla="*/ 1574 w 3309"/>
              <a:gd name="T19" fmla="*/ 2339 h 3277"/>
              <a:gd name="T20" fmla="*/ 1590 w 3309"/>
              <a:gd name="T21" fmla="*/ 2314 h 3277"/>
              <a:gd name="T22" fmla="*/ 1628 w 3309"/>
              <a:gd name="T23" fmla="*/ 2250 h 3277"/>
              <a:gd name="T24" fmla="*/ 1684 w 3309"/>
              <a:gd name="T25" fmla="*/ 2155 h 3277"/>
              <a:gd name="T26" fmla="*/ 1755 w 3309"/>
              <a:gd name="T27" fmla="*/ 2034 h 3277"/>
              <a:gd name="T28" fmla="*/ 1835 w 3309"/>
              <a:gd name="T29" fmla="*/ 1897 h 3277"/>
              <a:gd name="T30" fmla="*/ 1921 w 3309"/>
              <a:gd name="T31" fmla="*/ 1749 h 3277"/>
              <a:gd name="T32" fmla="*/ 2007 w 3309"/>
              <a:gd name="T33" fmla="*/ 1601 h 3277"/>
              <a:gd name="T34" fmla="*/ 2091 w 3309"/>
              <a:gd name="T35" fmla="*/ 1456 h 3277"/>
              <a:gd name="T36" fmla="*/ 2167 w 3309"/>
              <a:gd name="T37" fmla="*/ 1324 h 3277"/>
              <a:gd name="T38" fmla="*/ 2233 w 3309"/>
              <a:gd name="T39" fmla="*/ 1213 h 3277"/>
              <a:gd name="T40" fmla="*/ 2281 w 3309"/>
              <a:gd name="T41" fmla="*/ 1128 h 3277"/>
              <a:gd name="T42" fmla="*/ 2310 w 3309"/>
              <a:gd name="T43" fmla="*/ 1079 h 3277"/>
              <a:gd name="T44" fmla="*/ 2326 w 3309"/>
              <a:gd name="T45" fmla="*/ 1047 h 3277"/>
              <a:gd name="T46" fmla="*/ 2322 w 3309"/>
              <a:gd name="T47" fmla="*/ 981 h 3277"/>
              <a:gd name="T48" fmla="*/ 2278 w 3309"/>
              <a:gd name="T49" fmla="*/ 928 h 3277"/>
              <a:gd name="T50" fmla="*/ 1655 w 3309"/>
              <a:gd name="T51" fmla="*/ 0 h 3277"/>
              <a:gd name="T52" fmla="*/ 1963 w 3309"/>
              <a:gd name="T53" fmla="*/ 29 h 3277"/>
              <a:gd name="T54" fmla="*/ 2253 w 3309"/>
              <a:gd name="T55" fmla="*/ 110 h 3277"/>
              <a:gd name="T56" fmla="*/ 2518 w 3309"/>
              <a:gd name="T57" fmla="*/ 240 h 3277"/>
              <a:gd name="T58" fmla="*/ 2754 w 3309"/>
              <a:gd name="T59" fmla="*/ 414 h 3277"/>
              <a:gd name="T60" fmla="*/ 2955 w 3309"/>
              <a:gd name="T61" fmla="*/ 624 h 3277"/>
              <a:gd name="T62" fmla="*/ 3116 w 3309"/>
              <a:gd name="T63" fmla="*/ 869 h 3277"/>
              <a:gd name="T64" fmla="*/ 3231 w 3309"/>
              <a:gd name="T65" fmla="*/ 1140 h 3277"/>
              <a:gd name="T66" fmla="*/ 3296 w 3309"/>
              <a:gd name="T67" fmla="*/ 1433 h 3277"/>
              <a:gd name="T68" fmla="*/ 3306 w 3309"/>
              <a:gd name="T69" fmla="*/ 1742 h 3277"/>
              <a:gd name="T70" fmla="*/ 3258 w 3309"/>
              <a:gd name="T71" fmla="*/ 2042 h 3277"/>
              <a:gd name="T72" fmla="*/ 3159 w 3309"/>
              <a:gd name="T73" fmla="*/ 2321 h 3277"/>
              <a:gd name="T74" fmla="*/ 3013 w 3309"/>
              <a:gd name="T75" fmla="*/ 2575 h 3277"/>
              <a:gd name="T76" fmla="*/ 2825 w 3309"/>
              <a:gd name="T77" fmla="*/ 2798 h 3277"/>
              <a:gd name="T78" fmla="*/ 2601 w 3309"/>
              <a:gd name="T79" fmla="*/ 2984 h 3277"/>
              <a:gd name="T80" fmla="*/ 2345 w 3309"/>
              <a:gd name="T81" fmla="*/ 3129 h 3277"/>
              <a:gd name="T82" fmla="*/ 2062 w 3309"/>
              <a:gd name="T83" fmla="*/ 3227 h 3277"/>
              <a:gd name="T84" fmla="*/ 1760 w 3309"/>
              <a:gd name="T85" fmla="*/ 3274 h 3277"/>
              <a:gd name="T86" fmla="*/ 1447 w 3309"/>
              <a:gd name="T87" fmla="*/ 3265 h 3277"/>
              <a:gd name="T88" fmla="*/ 1151 w 3309"/>
              <a:gd name="T89" fmla="*/ 3200 h 3277"/>
              <a:gd name="T90" fmla="*/ 877 w 3309"/>
              <a:gd name="T91" fmla="*/ 3086 h 3277"/>
              <a:gd name="T92" fmla="*/ 630 w 3309"/>
              <a:gd name="T93" fmla="*/ 2926 h 3277"/>
              <a:gd name="T94" fmla="*/ 418 w 3309"/>
              <a:gd name="T95" fmla="*/ 2727 h 3277"/>
              <a:gd name="T96" fmla="*/ 243 w 3309"/>
              <a:gd name="T97" fmla="*/ 2494 h 3277"/>
              <a:gd name="T98" fmla="*/ 111 w 3309"/>
              <a:gd name="T99" fmla="*/ 2231 h 3277"/>
              <a:gd name="T100" fmla="*/ 28 w 3309"/>
              <a:gd name="T101" fmla="*/ 1944 h 3277"/>
              <a:gd name="T102" fmla="*/ 0 w 3309"/>
              <a:gd name="T103" fmla="*/ 1638 h 3277"/>
              <a:gd name="T104" fmla="*/ 28 w 3309"/>
              <a:gd name="T105" fmla="*/ 1333 h 3277"/>
              <a:gd name="T106" fmla="*/ 111 w 3309"/>
              <a:gd name="T107" fmla="*/ 1047 h 3277"/>
              <a:gd name="T108" fmla="*/ 243 w 3309"/>
              <a:gd name="T109" fmla="*/ 784 h 3277"/>
              <a:gd name="T110" fmla="*/ 418 w 3309"/>
              <a:gd name="T111" fmla="*/ 550 h 3277"/>
              <a:gd name="T112" fmla="*/ 630 w 3309"/>
              <a:gd name="T113" fmla="*/ 351 h 3277"/>
              <a:gd name="T114" fmla="*/ 877 w 3309"/>
              <a:gd name="T115" fmla="*/ 192 h 3277"/>
              <a:gd name="T116" fmla="*/ 1151 w 3309"/>
              <a:gd name="T117" fmla="*/ 78 h 3277"/>
              <a:gd name="T118" fmla="*/ 1447 w 3309"/>
              <a:gd name="T119" fmla="*/ 13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09" h="3277">
                <a:moveTo>
                  <a:pt x="2234" y="915"/>
                </a:moveTo>
                <a:lnTo>
                  <a:pt x="2210" y="916"/>
                </a:lnTo>
                <a:lnTo>
                  <a:pt x="2188" y="922"/>
                </a:lnTo>
                <a:lnTo>
                  <a:pt x="2168" y="932"/>
                </a:lnTo>
                <a:lnTo>
                  <a:pt x="2151" y="947"/>
                </a:lnTo>
                <a:lnTo>
                  <a:pt x="2136" y="966"/>
                </a:lnTo>
                <a:lnTo>
                  <a:pt x="1475" y="2100"/>
                </a:lnTo>
                <a:lnTo>
                  <a:pt x="1105" y="1763"/>
                </a:lnTo>
                <a:lnTo>
                  <a:pt x="1087" y="1747"/>
                </a:lnTo>
                <a:lnTo>
                  <a:pt x="1066" y="1737"/>
                </a:lnTo>
                <a:lnTo>
                  <a:pt x="1045" y="1731"/>
                </a:lnTo>
                <a:lnTo>
                  <a:pt x="1022" y="1730"/>
                </a:lnTo>
                <a:lnTo>
                  <a:pt x="999" y="1735"/>
                </a:lnTo>
                <a:lnTo>
                  <a:pt x="978" y="1744"/>
                </a:lnTo>
                <a:lnTo>
                  <a:pt x="959" y="1758"/>
                </a:lnTo>
                <a:lnTo>
                  <a:pt x="943" y="1775"/>
                </a:lnTo>
                <a:lnTo>
                  <a:pt x="933" y="1796"/>
                </a:lnTo>
                <a:lnTo>
                  <a:pt x="927" y="1818"/>
                </a:lnTo>
                <a:lnTo>
                  <a:pt x="926" y="1840"/>
                </a:lnTo>
                <a:lnTo>
                  <a:pt x="931" y="1862"/>
                </a:lnTo>
                <a:lnTo>
                  <a:pt x="940" y="1883"/>
                </a:lnTo>
                <a:lnTo>
                  <a:pt x="954" y="1902"/>
                </a:lnTo>
                <a:lnTo>
                  <a:pt x="1427" y="2334"/>
                </a:lnTo>
                <a:lnTo>
                  <a:pt x="1445" y="2349"/>
                </a:lnTo>
                <a:lnTo>
                  <a:pt x="1466" y="2360"/>
                </a:lnTo>
                <a:lnTo>
                  <a:pt x="1488" y="2366"/>
                </a:lnTo>
                <a:lnTo>
                  <a:pt x="1510" y="2366"/>
                </a:lnTo>
                <a:lnTo>
                  <a:pt x="1532" y="2362"/>
                </a:lnTo>
                <a:lnTo>
                  <a:pt x="1555" y="2354"/>
                </a:lnTo>
                <a:lnTo>
                  <a:pt x="1574" y="2339"/>
                </a:lnTo>
                <a:lnTo>
                  <a:pt x="1576" y="2336"/>
                </a:lnTo>
                <a:lnTo>
                  <a:pt x="1581" y="2327"/>
                </a:lnTo>
                <a:lnTo>
                  <a:pt x="1590" y="2314"/>
                </a:lnTo>
                <a:lnTo>
                  <a:pt x="1600" y="2297"/>
                </a:lnTo>
                <a:lnTo>
                  <a:pt x="1613" y="2275"/>
                </a:lnTo>
                <a:lnTo>
                  <a:pt x="1628" y="2250"/>
                </a:lnTo>
                <a:lnTo>
                  <a:pt x="1645" y="2222"/>
                </a:lnTo>
                <a:lnTo>
                  <a:pt x="1664" y="2189"/>
                </a:lnTo>
                <a:lnTo>
                  <a:pt x="1684" y="2155"/>
                </a:lnTo>
                <a:lnTo>
                  <a:pt x="1706" y="2117"/>
                </a:lnTo>
                <a:lnTo>
                  <a:pt x="1729" y="2076"/>
                </a:lnTo>
                <a:lnTo>
                  <a:pt x="1755" y="2034"/>
                </a:lnTo>
                <a:lnTo>
                  <a:pt x="1780" y="1989"/>
                </a:lnTo>
                <a:lnTo>
                  <a:pt x="1807" y="1944"/>
                </a:lnTo>
                <a:lnTo>
                  <a:pt x="1835" y="1897"/>
                </a:lnTo>
                <a:lnTo>
                  <a:pt x="1862" y="1848"/>
                </a:lnTo>
                <a:lnTo>
                  <a:pt x="1891" y="1798"/>
                </a:lnTo>
                <a:lnTo>
                  <a:pt x="1921" y="1749"/>
                </a:lnTo>
                <a:lnTo>
                  <a:pt x="1949" y="1699"/>
                </a:lnTo>
                <a:lnTo>
                  <a:pt x="1979" y="1650"/>
                </a:lnTo>
                <a:lnTo>
                  <a:pt x="2007" y="1601"/>
                </a:lnTo>
                <a:lnTo>
                  <a:pt x="2036" y="1551"/>
                </a:lnTo>
                <a:lnTo>
                  <a:pt x="2063" y="1503"/>
                </a:lnTo>
                <a:lnTo>
                  <a:pt x="2091" y="1456"/>
                </a:lnTo>
                <a:lnTo>
                  <a:pt x="2117" y="1410"/>
                </a:lnTo>
                <a:lnTo>
                  <a:pt x="2143" y="1366"/>
                </a:lnTo>
                <a:lnTo>
                  <a:pt x="2167" y="1324"/>
                </a:lnTo>
                <a:lnTo>
                  <a:pt x="2190" y="1284"/>
                </a:lnTo>
                <a:lnTo>
                  <a:pt x="2212" y="1248"/>
                </a:lnTo>
                <a:lnTo>
                  <a:pt x="2233" y="1213"/>
                </a:lnTo>
                <a:lnTo>
                  <a:pt x="2251" y="1182"/>
                </a:lnTo>
                <a:lnTo>
                  <a:pt x="2266" y="1153"/>
                </a:lnTo>
                <a:lnTo>
                  <a:pt x="2281" y="1128"/>
                </a:lnTo>
                <a:lnTo>
                  <a:pt x="2293" y="1107"/>
                </a:lnTo>
                <a:lnTo>
                  <a:pt x="2302" y="1091"/>
                </a:lnTo>
                <a:lnTo>
                  <a:pt x="2310" y="1079"/>
                </a:lnTo>
                <a:lnTo>
                  <a:pt x="2314" y="1072"/>
                </a:lnTo>
                <a:lnTo>
                  <a:pt x="2316" y="1069"/>
                </a:lnTo>
                <a:lnTo>
                  <a:pt x="2326" y="1047"/>
                </a:lnTo>
                <a:lnTo>
                  <a:pt x="2330" y="1025"/>
                </a:lnTo>
                <a:lnTo>
                  <a:pt x="2329" y="1003"/>
                </a:lnTo>
                <a:lnTo>
                  <a:pt x="2322" y="981"/>
                </a:lnTo>
                <a:lnTo>
                  <a:pt x="2312" y="961"/>
                </a:lnTo>
                <a:lnTo>
                  <a:pt x="2297" y="943"/>
                </a:lnTo>
                <a:lnTo>
                  <a:pt x="2278" y="928"/>
                </a:lnTo>
                <a:lnTo>
                  <a:pt x="2256" y="919"/>
                </a:lnTo>
                <a:lnTo>
                  <a:pt x="2234" y="915"/>
                </a:lnTo>
                <a:close/>
                <a:moveTo>
                  <a:pt x="1655" y="0"/>
                </a:moveTo>
                <a:lnTo>
                  <a:pt x="1760" y="3"/>
                </a:lnTo>
                <a:lnTo>
                  <a:pt x="1862" y="13"/>
                </a:lnTo>
                <a:lnTo>
                  <a:pt x="1963" y="29"/>
                </a:lnTo>
                <a:lnTo>
                  <a:pt x="2062" y="51"/>
                </a:lnTo>
                <a:lnTo>
                  <a:pt x="2159" y="78"/>
                </a:lnTo>
                <a:lnTo>
                  <a:pt x="2253" y="110"/>
                </a:lnTo>
                <a:lnTo>
                  <a:pt x="2345" y="149"/>
                </a:lnTo>
                <a:lnTo>
                  <a:pt x="2432" y="192"/>
                </a:lnTo>
                <a:lnTo>
                  <a:pt x="2518" y="240"/>
                </a:lnTo>
                <a:lnTo>
                  <a:pt x="2601" y="294"/>
                </a:lnTo>
                <a:lnTo>
                  <a:pt x="2679" y="351"/>
                </a:lnTo>
                <a:lnTo>
                  <a:pt x="2754" y="414"/>
                </a:lnTo>
                <a:lnTo>
                  <a:pt x="2825" y="480"/>
                </a:lnTo>
                <a:lnTo>
                  <a:pt x="2891" y="550"/>
                </a:lnTo>
                <a:lnTo>
                  <a:pt x="2955" y="624"/>
                </a:lnTo>
                <a:lnTo>
                  <a:pt x="3013" y="703"/>
                </a:lnTo>
                <a:lnTo>
                  <a:pt x="3067" y="784"/>
                </a:lnTo>
                <a:lnTo>
                  <a:pt x="3116" y="869"/>
                </a:lnTo>
                <a:lnTo>
                  <a:pt x="3159" y="956"/>
                </a:lnTo>
                <a:lnTo>
                  <a:pt x="3198" y="1047"/>
                </a:lnTo>
                <a:lnTo>
                  <a:pt x="3231" y="1140"/>
                </a:lnTo>
                <a:lnTo>
                  <a:pt x="3258" y="1235"/>
                </a:lnTo>
                <a:lnTo>
                  <a:pt x="3281" y="1333"/>
                </a:lnTo>
                <a:lnTo>
                  <a:pt x="3296" y="1433"/>
                </a:lnTo>
                <a:lnTo>
                  <a:pt x="3306" y="1535"/>
                </a:lnTo>
                <a:lnTo>
                  <a:pt x="3309" y="1638"/>
                </a:lnTo>
                <a:lnTo>
                  <a:pt x="3306" y="1742"/>
                </a:lnTo>
                <a:lnTo>
                  <a:pt x="3296" y="1845"/>
                </a:lnTo>
                <a:lnTo>
                  <a:pt x="3281" y="1944"/>
                </a:lnTo>
                <a:lnTo>
                  <a:pt x="3258" y="2042"/>
                </a:lnTo>
                <a:lnTo>
                  <a:pt x="3231" y="2138"/>
                </a:lnTo>
                <a:lnTo>
                  <a:pt x="3198" y="2231"/>
                </a:lnTo>
                <a:lnTo>
                  <a:pt x="3159" y="2321"/>
                </a:lnTo>
                <a:lnTo>
                  <a:pt x="3116" y="2409"/>
                </a:lnTo>
                <a:lnTo>
                  <a:pt x="3067" y="2494"/>
                </a:lnTo>
                <a:lnTo>
                  <a:pt x="3013" y="2575"/>
                </a:lnTo>
                <a:lnTo>
                  <a:pt x="2955" y="2653"/>
                </a:lnTo>
                <a:lnTo>
                  <a:pt x="2891" y="2727"/>
                </a:lnTo>
                <a:lnTo>
                  <a:pt x="2825" y="2798"/>
                </a:lnTo>
                <a:lnTo>
                  <a:pt x="2754" y="2864"/>
                </a:lnTo>
                <a:lnTo>
                  <a:pt x="2679" y="2926"/>
                </a:lnTo>
                <a:lnTo>
                  <a:pt x="2601" y="2984"/>
                </a:lnTo>
                <a:lnTo>
                  <a:pt x="2518" y="3036"/>
                </a:lnTo>
                <a:lnTo>
                  <a:pt x="2432" y="3086"/>
                </a:lnTo>
                <a:lnTo>
                  <a:pt x="2345" y="3129"/>
                </a:lnTo>
                <a:lnTo>
                  <a:pt x="2253" y="3167"/>
                </a:lnTo>
                <a:lnTo>
                  <a:pt x="2159" y="3200"/>
                </a:lnTo>
                <a:lnTo>
                  <a:pt x="2062" y="3227"/>
                </a:lnTo>
                <a:lnTo>
                  <a:pt x="1963" y="3249"/>
                </a:lnTo>
                <a:lnTo>
                  <a:pt x="1862" y="3265"/>
                </a:lnTo>
                <a:lnTo>
                  <a:pt x="1760" y="3274"/>
                </a:lnTo>
                <a:lnTo>
                  <a:pt x="1655" y="3277"/>
                </a:lnTo>
                <a:lnTo>
                  <a:pt x="1550" y="3274"/>
                </a:lnTo>
                <a:lnTo>
                  <a:pt x="1447" y="3265"/>
                </a:lnTo>
                <a:lnTo>
                  <a:pt x="1346" y="3249"/>
                </a:lnTo>
                <a:lnTo>
                  <a:pt x="1247" y="3227"/>
                </a:lnTo>
                <a:lnTo>
                  <a:pt x="1151" y="3200"/>
                </a:lnTo>
                <a:lnTo>
                  <a:pt x="1056" y="3167"/>
                </a:lnTo>
                <a:lnTo>
                  <a:pt x="966" y="3129"/>
                </a:lnTo>
                <a:lnTo>
                  <a:pt x="877" y="3086"/>
                </a:lnTo>
                <a:lnTo>
                  <a:pt x="791" y="3036"/>
                </a:lnTo>
                <a:lnTo>
                  <a:pt x="710" y="2984"/>
                </a:lnTo>
                <a:lnTo>
                  <a:pt x="630" y="2926"/>
                </a:lnTo>
                <a:lnTo>
                  <a:pt x="556" y="2864"/>
                </a:lnTo>
                <a:lnTo>
                  <a:pt x="484" y="2798"/>
                </a:lnTo>
                <a:lnTo>
                  <a:pt x="418" y="2727"/>
                </a:lnTo>
                <a:lnTo>
                  <a:pt x="355" y="2653"/>
                </a:lnTo>
                <a:lnTo>
                  <a:pt x="296" y="2575"/>
                </a:lnTo>
                <a:lnTo>
                  <a:pt x="243" y="2494"/>
                </a:lnTo>
                <a:lnTo>
                  <a:pt x="193" y="2409"/>
                </a:lnTo>
                <a:lnTo>
                  <a:pt x="150" y="2321"/>
                </a:lnTo>
                <a:lnTo>
                  <a:pt x="111" y="2231"/>
                </a:lnTo>
                <a:lnTo>
                  <a:pt x="78" y="2138"/>
                </a:lnTo>
                <a:lnTo>
                  <a:pt x="51" y="2042"/>
                </a:lnTo>
                <a:lnTo>
                  <a:pt x="28" y="1944"/>
                </a:lnTo>
                <a:lnTo>
                  <a:pt x="13" y="1845"/>
                </a:lnTo>
                <a:lnTo>
                  <a:pt x="3" y="1742"/>
                </a:lnTo>
                <a:lnTo>
                  <a:pt x="0" y="1638"/>
                </a:lnTo>
                <a:lnTo>
                  <a:pt x="3" y="1535"/>
                </a:lnTo>
                <a:lnTo>
                  <a:pt x="13" y="1433"/>
                </a:lnTo>
                <a:lnTo>
                  <a:pt x="28" y="1333"/>
                </a:lnTo>
                <a:lnTo>
                  <a:pt x="51" y="1235"/>
                </a:lnTo>
                <a:lnTo>
                  <a:pt x="78" y="1140"/>
                </a:lnTo>
                <a:lnTo>
                  <a:pt x="111" y="1047"/>
                </a:lnTo>
                <a:lnTo>
                  <a:pt x="150" y="956"/>
                </a:lnTo>
                <a:lnTo>
                  <a:pt x="193" y="869"/>
                </a:lnTo>
                <a:lnTo>
                  <a:pt x="243" y="784"/>
                </a:lnTo>
                <a:lnTo>
                  <a:pt x="296" y="703"/>
                </a:lnTo>
                <a:lnTo>
                  <a:pt x="355" y="624"/>
                </a:lnTo>
                <a:lnTo>
                  <a:pt x="418" y="550"/>
                </a:lnTo>
                <a:lnTo>
                  <a:pt x="484" y="480"/>
                </a:lnTo>
                <a:lnTo>
                  <a:pt x="556" y="414"/>
                </a:lnTo>
                <a:lnTo>
                  <a:pt x="630" y="351"/>
                </a:lnTo>
                <a:lnTo>
                  <a:pt x="710" y="294"/>
                </a:lnTo>
                <a:lnTo>
                  <a:pt x="791" y="240"/>
                </a:lnTo>
                <a:lnTo>
                  <a:pt x="877" y="192"/>
                </a:lnTo>
                <a:lnTo>
                  <a:pt x="966" y="149"/>
                </a:lnTo>
                <a:lnTo>
                  <a:pt x="1056" y="110"/>
                </a:lnTo>
                <a:lnTo>
                  <a:pt x="1151" y="78"/>
                </a:lnTo>
                <a:lnTo>
                  <a:pt x="1247" y="51"/>
                </a:lnTo>
                <a:lnTo>
                  <a:pt x="1346" y="29"/>
                </a:lnTo>
                <a:lnTo>
                  <a:pt x="1447" y="13"/>
                </a:lnTo>
                <a:lnTo>
                  <a:pt x="1550" y="3"/>
                </a:lnTo>
                <a:lnTo>
                  <a:pt x="1655" y="0"/>
                </a:lnTo>
                <a:close/>
              </a:path>
            </a:pathLst>
          </a:cu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1958580" y="2544555"/>
            <a:ext cx="3655876" cy="3844636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Traditional AI/NLP</a:t>
            </a:r>
          </a:p>
          <a:p>
            <a:pPr algn="ctr"/>
            <a:endParaRPr lang="en-US" sz="700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pPr marL="342900" indent="-342900" defTabSz="3444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Voice commands</a:t>
            </a:r>
          </a:p>
          <a:p>
            <a:pPr marL="342900" indent="-342900" defTabSz="3444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Keyword matching</a:t>
            </a:r>
          </a:p>
          <a:p>
            <a:pPr marL="342900" indent="-342900" defTabSz="3444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Programmed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in isolation</a:t>
            </a:r>
          </a:p>
        </p:txBody>
      </p:sp>
      <p:grpSp>
        <p:nvGrpSpPr>
          <p:cNvPr id="21" name="Group 35"/>
          <p:cNvGrpSpPr>
            <a:grpSpLocks noChangeAspect="1"/>
          </p:cNvGrpSpPr>
          <p:nvPr/>
        </p:nvGrpSpPr>
        <p:grpSpPr bwMode="auto">
          <a:xfrm>
            <a:off x="508325" y="770952"/>
            <a:ext cx="442151" cy="347472"/>
            <a:chOff x="-1483" y="697"/>
            <a:chExt cx="934" cy="734"/>
          </a:xfr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</p:grpSpPr>
        <p:sp>
          <p:nvSpPr>
            <p:cNvPr id="22" name="Freeform 37"/>
            <p:cNvSpPr>
              <a:spLocks/>
            </p:cNvSpPr>
            <p:nvPr/>
          </p:nvSpPr>
          <p:spPr bwMode="auto">
            <a:xfrm>
              <a:off x="-1483" y="697"/>
              <a:ext cx="734" cy="600"/>
            </a:xfrm>
            <a:custGeom>
              <a:avLst/>
              <a:gdLst>
                <a:gd name="T0" fmla="*/ 1582 w 2936"/>
                <a:gd name="T1" fmla="*/ 2 h 2402"/>
                <a:gd name="T2" fmla="*/ 1904 w 2936"/>
                <a:gd name="T3" fmla="*/ 46 h 2402"/>
                <a:gd name="T4" fmla="*/ 2206 w 2936"/>
                <a:gd name="T5" fmla="*/ 143 h 2402"/>
                <a:gd name="T6" fmla="*/ 2439 w 2936"/>
                <a:gd name="T7" fmla="*/ 264 h 2402"/>
                <a:gd name="T8" fmla="*/ 2633 w 2936"/>
                <a:gd name="T9" fmla="*/ 415 h 2402"/>
                <a:gd name="T10" fmla="*/ 2786 w 2936"/>
                <a:gd name="T11" fmla="*/ 593 h 2402"/>
                <a:gd name="T12" fmla="*/ 2887 w 2936"/>
                <a:gd name="T13" fmla="*/ 788 h 2402"/>
                <a:gd name="T14" fmla="*/ 2934 w 2936"/>
                <a:gd name="T15" fmla="*/ 996 h 2402"/>
                <a:gd name="T16" fmla="*/ 2925 w 2936"/>
                <a:gd name="T17" fmla="*/ 1209 h 2402"/>
                <a:gd name="T18" fmla="*/ 2860 w 2936"/>
                <a:gd name="T19" fmla="*/ 1412 h 2402"/>
                <a:gd name="T20" fmla="*/ 2741 w 2936"/>
                <a:gd name="T21" fmla="*/ 1603 h 2402"/>
                <a:gd name="T22" fmla="*/ 2573 w 2936"/>
                <a:gd name="T23" fmla="*/ 1773 h 2402"/>
                <a:gd name="T24" fmla="*/ 2367 w 2936"/>
                <a:gd name="T25" fmla="*/ 1915 h 2402"/>
                <a:gd name="T26" fmla="*/ 2108 w 2936"/>
                <a:gd name="T27" fmla="*/ 2031 h 2402"/>
                <a:gd name="T28" fmla="*/ 1799 w 2936"/>
                <a:gd name="T29" fmla="*/ 2109 h 2402"/>
                <a:gd name="T30" fmla="*/ 1468 w 2936"/>
                <a:gd name="T31" fmla="*/ 2135 h 2402"/>
                <a:gd name="T32" fmla="*/ 1195 w 2936"/>
                <a:gd name="T33" fmla="*/ 2117 h 2402"/>
                <a:gd name="T34" fmla="*/ 922 w 2936"/>
                <a:gd name="T35" fmla="*/ 2213 h 2402"/>
                <a:gd name="T36" fmla="*/ 626 w 2936"/>
                <a:gd name="T37" fmla="*/ 2338 h 2402"/>
                <a:gd name="T38" fmla="*/ 408 w 2936"/>
                <a:gd name="T39" fmla="*/ 2391 h 2402"/>
                <a:gd name="T40" fmla="*/ 321 w 2936"/>
                <a:gd name="T41" fmla="*/ 2401 h 2402"/>
                <a:gd name="T42" fmla="*/ 281 w 2936"/>
                <a:gd name="T43" fmla="*/ 2373 h 2402"/>
                <a:gd name="T44" fmla="*/ 268 w 2936"/>
                <a:gd name="T45" fmla="*/ 2335 h 2402"/>
                <a:gd name="T46" fmla="*/ 268 w 2936"/>
                <a:gd name="T47" fmla="*/ 2314 h 2402"/>
                <a:gd name="T48" fmla="*/ 277 w 2936"/>
                <a:gd name="T49" fmla="*/ 2292 h 2402"/>
                <a:gd name="T50" fmla="*/ 280 w 2936"/>
                <a:gd name="T51" fmla="*/ 2288 h 2402"/>
                <a:gd name="T52" fmla="*/ 287 w 2936"/>
                <a:gd name="T53" fmla="*/ 2276 h 2402"/>
                <a:gd name="T54" fmla="*/ 293 w 2936"/>
                <a:gd name="T55" fmla="*/ 2270 h 2402"/>
                <a:gd name="T56" fmla="*/ 295 w 2936"/>
                <a:gd name="T57" fmla="*/ 2269 h 2402"/>
                <a:gd name="T58" fmla="*/ 303 w 2936"/>
                <a:gd name="T59" fmla="*/ 2260 h 2402"/>
                <a:gd name="T60" fmla="*/ 310 w 2936"/>
                <a:gd name="T61" fmla="*/ 2251 h 2402"/>
                <a:gd name="T62" fmla="*/ 318 w 2936"/>
                <a:gd name="T63" fmla="*/ 2242 h 2402"/>
                <a:gd name="T64" fmla="*/ 359 w 2936"/>
                <a:gd name="T65" fmla="*/ 2197 h 2402"/>
                <a:gd name="T66" fmla="*/ 413 w 2936"/>
                <a:gd name="T67" fmla="*/ 2136 h 2402"/>
                <a:gd name="T68" fmla="*/ 459 w 2936"/>
                <a:gd name="T69" fmla="*/ 2076 h 2402"/>
                <a:gd name="T70" fmla="*/ 533 w 2936"/>
                <a:gd name="T71" fmla="*/ 1952 h 2402"/>
                <a:gd name="T72" fmla="*/ 416 w 2936"/>
                <a:gd name="T73" fmla="*/ 1813 h 2402"/>
                <a:gd name="T74" fmla="*/ 242 w 2936"/>
                <a:gd name="T75" fmla="*/ 1654 h 2402"/>
                <a:gd name="T76" fmla="*/ 109 w 2936"/>
                <a:gd name="T77" fmla="*/ 1471 h 2402"/>
                <a:gd name="T78" fmla="*/ 27 w 2936"/>
                <a:gd name="T79" fmla="*/ 1275 h 2402"/>
                <a:gd name="T80" fmla="*/ 0 w 2936"/>
                <a:gd name="T81" fmla="*/ 1067 h 2402"/>
                <a:gd name="T82" fmla="*/ 27 w 2936"/>
                <a:gd name="T83" fmla="*/ 856 h 2402"/>
                <a:gd name="T84" fmla="*/ 110 w 2936"/>
                <a:gd name="T85" fmla="*/ 657 h 2402"/>
                <a:gd name="T86" fmla="*/ 247 w 2936"/>
                <a:gd name="T87" fmla="*/ 472 h 2402"/>
                <a:gd name="T88" fmla="*/ 428 w 2936"/>
                <a:gd name="T89" fmla="*/ 311 h 2402"/>
                <a:gd name="T90" fmla="*/ 649 w 2936"/>
                <a:gd name="T91" fmla="*/ 180 h 2402"/>
                <a:gd name="T92" fmla="*/ 929 w 2936"/>
                <a:gd name="T93" fmla="*/ 72 h 2402"/>
                <a:gd name="T94" fmla="*/ 1246 w 2936"/>
                <a:gd name="T95" fmla="*/ 11 h 2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36" h="2402">
                  <a:moveTo>
                    <a:pt x="1468" y="0"/>
                  </a:moveTo>
                  <a:lnTo>
                    <a:pt x="1468" y="0"/>
                  </a:lnTo>
                  <a:lnTo>
                    <a:pt x="1582" y="2"/>
                  </a:lnTo>
                  <a:lnTo>
                    <a:pt x="1692" y="11"/>
                  </a:lnTo>
                  <a:lnTo>
                    <a:pt x="1799" y="26"/>
                  </a:lnTo>
                  <a:lnTo>
                    <a:pt x="1904" y="46"/>
                  </a:lnTo>
                  <a:lnTo>
                    <a:pt x="2007" y="72"/>
                  </a:lnTo>
                  <a:lnTo>
                    <a:pt x="2108" y="104"/>
                  </a:lnTo>
                  <a:lnTo>
                    <a:pt x="2206" y="143"/>
                  </a:lnTo>
                  <a:lnTo>
                    <a:pt x="2288" y="180"/>
                  </a:lnTo>
                  <a:lnTo>
                    <a:pt x="2367" y="220"/>
                  </a:lnTo>
                  <a:lnTo>
                    <a:pt x="2439" y="264"/>
                  </a:lnTo>
                  <a:lnTo>
                    <a:pt x="2508" y="311"/>
                  </a:lnTo>
                  <a:lnTo>
                    <a:pt x="2573" y="362"/>
                  </a:lnTo>
                  <a:lnTo>
                    <a:pt x="2633" y="415"/>
                  </a:lnTo>
                  <a:lnTo>
                    <a:pt x="2689" y="472"/>
                  </a:lnTo>
                  <a:lnTo>
                    <a:pt x="2741" y="532"/>
                  </a:lnTo>
                  <a:lnTo>
                    <a:pt x="2786" y="593"/>
                  </a:lnTo>
                  <a:lnTo>
                    <a:pt x="2826" y="657"/>
                  </a:lnTo>
                  <a:lnTo>
                    <a:pt x="2860" y="723"/>
                  </a:lnTo>
                  <a:lnTo>
                    <a:pt x="2887" y="788"/>
                  </a:lnTo>
                  <a:lnTo>
                    <a:pt x="2909" y="856"/>
                  </a:lnTo>
                  <a:lnTo>
                    <a:pt x="2925" y="926"/>
                  </a:lnTo>
                  <a:lnTo>
                    <a:pt x="2934" y="996"/>
                  </a:lnTo>
                  <a:lnTo>
                    <a:pt x="2936" y="1067"/>
                  </a:lnTo>
                  <a:lnTo>
                    <a:pt x="2934" y="1139"/>
                  </a:lnTo>
                  <a:lnTo>
                    <a:pt x="2925" y="1209"/>
                  </a:lnTo>
                  <a:lnTo>
                    <a:pt x="2909" y="1278"/>
                  </a:lnTo>
                  <a:lnTo>
                    <a:pt x="2887" y="1347"/>
                  </a:lnTo>
                  <a:lnTo>
                    <a:pt x="2860" y="1412"/>
                  </a:lnTo>
                  <a:lnTo>
                    <a:pt x="2826" y="1478"/>
                  </a:lnTo>
                  <a:lnTo>
                    <a:pt x="2786" y="1542"/>
                  </a:lnTo>
                  <a:lnTo>
                    <a:pt x="2741" y="1603"/>
                  </a:lnTo>
                  <a:lnTo>
                    <a:pt x="2689" y="1663"/>
                  </a:lnTo>
                  <a:lnTo>
                    <a:pt x="2633" y="1720"/>
                  </a:lnTo>
                  <a:lnTo>
                    <a:pt x="2573" y="1773"/>
                  </a:lnTo>
                  <a:lnTo>
                    <a:pt x="2508" y="1824"/>
                  </a:lnTo>
                  <a:lnTo>
                    <a:pt x="2439" y="1871"/>
                  </a:lnTo>
                  <a:lnTo>
                    <a:pt x="2367" y="1915"/>
                  </a:lnTo>
                  <a:lnTo>
                    <a:pt x="2288" y="1955"/>
                  </a:lnTo>
                  <a:lnTo>
                    <a:pt x="2206" y="1992"/>
                  </a:lnTo>
                  <a:lnTo>
                    <a:pt x="2108" y="2031"/>
                  </a:lnTo>
                  <a:lnTo>
                    <a:pt x="2007" y="2062"/>
                  </a:lnTo>
                  <a:lnTo>
                    <a:pt x="1904" y="2089"/>
                  </a:lnTo>
                  <a:lnTo>
                    <a:pt x="1799" y="2109"/>
                  </a:lnTo>
                  <a:lnTo>
                    <a:pt x="1692" y="2124"/>
                  </a:lnTo>
                  <a:lnTo>
                    <a:pt x="1582" y="2133"/>
                  </a:lnTo>
                  <a:lnTo>
                    <a:pt x="1468" y="2135"/>
                  </a:lnTo>
                  <a:lnTo>
                    <a:pt x="1378" y="2133"/>
                  </a:lnTo>
                  <a:lnTo>
                    <a:pt x="1287" y="2127"/>
                  </a:lnTo>
                  <a:lnTo>
                    <a:pt x="1195" y="2117"/>
                  </a:lnTo>
                  <a:lnTo>
                    <a:pt x="1102" y="2102"/>
                  </a:lnTo>
                  <a:lnTo>
                    <a:pt x="1013" y="2160"/>
                  </a:lnTo>
                  <a:lnTo>
                    <a:pt x="922" y="2213"/>
                  </a:lnTo>
                  <a:lnTo>
                    <a:pt x="827" y="2260"/>
                  </a:lnTo>
                  <a:lnTo>
                    <a:pt x="728" y="2302"/>
                  </a:lnTo>
                  <a:lnTo>
                    <a:pt x="626" y="2338"/>
                  </a:lnTo>
                  <a:lnTo>
                    <a:pt x="522" y="2369"/>
                  </a:lnTo>
                  <a:lnTo>
                    <a:pt x="469" y="2381"/>
                  </a:lnTo>
                  <a:lnTo>
                    <a:pt x="408" y="2391"/>
                  </a:lnTo>
                  <a:lnTo>
                    <a:pt x="343" y="2402"/>
                  </a:lnTo>
                  <a:lnTo>
                    <a:pt x="336" y="2402"/>
                  </a:lnTo>
                  <a:lnTo>
                    <a:pt x="321" y="2401"/>
                  </a:lnTo>
                  <a:lnTo>
                    <a:pt x="306" y="2395"/>
                  </a:lnTo>
                  <a:lnTo>
                    <a:pt x="293" y="2386"/>
                  </a:lnTo>
                  <a:lnTo>
                    <a:pt x="281" y="2373"/>
                  </a:lnTo>
                  <a:lnTo>
                    <a:pt x="273" y="2359"/>
                  </a:lnTo>
                  <a:lnTo>
                    <a:pt x="269" y="2342"/>
                  </a:lnTo>
                  <a:lnTo>
                    <a:pt x="268" y="2335"/>
                  </a:lnTo>
                  <a:lnTo>
                    <a:pt x="267" y="2328"/>
                  </a:lnTo>
                  <a:lnTo>
                    <a:pt x="268" y="2321"/>
                  </a:lnTo>
                  <a:lnTo>
                    <a:pt x="268" y="2314"/>
                  </a:lnTo>
                  <a:lnTo>
                    <a:pt x="270" y="2309"/>
                  </a:lnTo>
                  <a:lnTo>
                    <a:pt x="272" y="2302"/>
                  </a:lnTo>
                  <a:lnTo>
                    <a:pt x="277" y="2292"/>
                  </a:lnTo>
                  <a:lnTo>
                    <a:pt x="278" y="2292"/>
                  </a:lnTo>
                  <a:lnTo>
                    <a:pt x="279" y="2291"/>
                  </a:lnTo>
                  <a:lnTo>
                    <a:pt x="280" y="2288"/>
                  </a:lnTo>
                  <a:lnTo>
                    <a:pt x="283" y="2285"/>
                  </a:lnTo>
                  <a:lnTo>
                    <a:pt x="285" y="2280"/>
                  </a:lnTo>
                  <a:lnTo>
                    <a:pt x="287" y="2276"/>
                  </a:lnTo>
                  <a:lnTo>
                    <a:pt x="289" y="2274"/>
                  </a:lnTo>
                  <a:lnTo>
                    <a:pt x="292" y="2271"/>
                  </a:lnTo>
                  <a:lnTo>
                    <a:pt x="293" y="2270"/>
                  </a:lnTo>
                  <a:lnTo>
                    <a:pt x="293" y="2270"/>
                  </a:lnTo>
                  <a:lnTo>
                    <a:pt x="294" y="2270"/>
                  </a:lnTo>
                  <a:lnTo>
                    <a:pt x="295" y="2269"/>
                  </a:lnTo>
                  <a:lnTo>
                    <a:pt x="297" y="2267"/>
                  </a:lnTo>
                  <a:lnTo>
                    <a:pt x="300" y="2263"/>
                  </a:lnTo>
                  <a:lnTo>
                    <a:pt x="303" y="2260"/>
                  </a:lnTo>
                  <a:lnTo>
                    <a:pt x="305" y="2255"/>
                  </a:lnTo>
                  <a:lnTo>
                    <a:pt x="307" y="2252"/>
                  </a:lnTo>
                  <a:lnTo>
                    <a:pt x="310" y="2251"/>
                  </a:lnTo>
                  <a:lnTo>
                    <a:pt x="311" y="2250"/>
                  </a:lnTo>
                  <a:lnTo>
                    <a:pt x="311" y="2250"/>
                  </a:lnTo>
                  <a:lnTo>
                    <a:pt x="318" y="2242"/>
                  </a:lnTo>
                  <a:lnTo>
                    <a:pt x="328" y="2230"/>
                  </a:lnTo>
                  <a:lnTo>
                    <a:pt x="341" y="2216"/>
                  </a:lnTo>
                  <a:lnTo>
                    <a:pt x="359" y="2197"/>
                  </a:lnTo>
                  <a:lnTo>
                    <a:pt x="381" y="2174"/>
                  </a:lnTo>
                  <a:lnTo>
                    <a:pt x="399" y="2153"/>
                  </a:lnTo>
                  <a:lnTo>
                    <a:pt x="413" y="2136"/>
                  </a:lnTo>
                  <a:lnTo>
                    <a:pt x="425" y="2120"/>
                  </a:lnTo>
                  <a:lnTo>
                    <a:pt x="441" y="2100"/>
                  </a:lnTo>
                  <a:lnTo>
                    <a:pt x="459" y="2076"/>
                  </a:lnTo>
                  <a:lnTo>
                    <a:pt x="488" y="2036"/>
                  </a:lnTo>
                  <a:lnTo>
                    <a:pt x="512" y="1996"/>
                  </a:lnTo>
                  <a:lnTo>
                    <a:pt x="533" y="1952"/>
                  </a:lnTo>
                  <a:lnTo>
                    <a:pt x="555" y="1904"/>
                  </a:lnTo>
                  <a:lnTo>
                    <a:pt x="483" y="1859"/>
                  </a:lnTo>
                  <a:lnTo>
                    <a:pt x="416" y="1813"/>
                  </a:lnTo>
                  <a:lnTo>
                    <a:pt x="354" y="1763"/>
                  </a:lnTo>
                  <a:lnTo>
                    <a:pt x="295" y="1710"/>
                  </a:lnTo>
                  <a:lnTo>
                    <a:pt x="242" y="1654"/>
                  </a:lnTo>
                  <a:lnTo>
                    <a:pt x="193" y="1596"/>
                  </a:lnTo>
                  <a:lnTo>
                    <a:pt x="149" y="1535"/>
                  </a:lnTo>
                  <a:lnTo>
                    <a:pt x="109" y="1471"/>
                  </a:lnTo>
                  <a:lnTo>
                    <a:pt x="76" y="1407"/>
                  </a:lnTo>
                  <a:lnTo>
                    <a:pt x="49" y="1342"/>
                  </a:lnTo>
                  <a:lnTo>
                    <a:pt x="27" y="1275"/>
                  </a:lnTo>
                  <a:lnTo>
                    <a:pt x="12" y="1207"/>
                  </a:lnTo>
                  <a:lnTo>
                    <a:pt x="3" y="1138"/>
                  </a:lnTo>
                  <a:lnTo>
                    <a:pt x="0" y="1067"/>
                  </a:lnTo>
                  <a:lnTo>
                    <a:pt x="3" y="996"/>
                  </a:lnTo>
                  <a:lnTo>
                    <a:pt x="12" y="926"/>
                  </a:lnTo>
                  <a:lnTo>
                    <a:pt x="27" y="856"/>
                  </a:lnTo>
                  <a:lnTo>
                    <a:pt x="49" y="788"/>
                  </a:lnTo>
                  <a:lnTo>
                    <a:pt x="77" y="723"/>
                  </a:lnTo>
                  <a:lnTo>
                    <a:pt x="110" y="657"/>
                  </a:lnTo>
                  <a:lnTo>
                    <a:pt x="150" y="593"/>
                  </a:lnTo>
                  <a:lnTo>
                    <a:pt x="196" y="532"/>
                  </a:lnTo>
                  <a:lnTo>
                    <a:pt x="247" y="472"/>
                  </a:lnTo>
                  <a:lnTo>
                    <a:pt x="303" y="415"/>
                  </a:lnTo>
                  <a:lnTo>
                    <a:pt x="363" y="362"/>
                  </a:lnTo>
                  <a:lnTo>
                    <a:pt x="428" y="311"/>
                  </a:lnTo>
                  <a:lnTo>
                    <a:pt x="497" y="264"/>
                  </a:lnTo>
                  <a:lnTo>
                    <a:pt x="571" y="220"/>
                  </a:lnTo>
                  <a:lnTo>
                    <a:pt x="649" y="180"/>
                  </a:lnTo>
                  <a:lnTo>
                    <a:pt x="731" y="143"/>
                  </a:lnTo>
                  <a:lnTo>
                    <a:pt x="829" y="104"/>
                  </a:lnTo>
                  <a:lnTo>
                    <a:pt x="929" y="72"/>
                  </a:lnTo>
                  <a:lnTo>
                    <a:pt x="1032" y="46"/>
                  </a:lnTo>
                  <a:lnTo>
                    <a:pt x="1138" y="26"/>
                  </a:lnTo>
                  <a:lnTo>
                    <a:pt x="1246" y="11"/>
                  </a:lnTo>
                  <a:lnTo>
                    <a:pt x="1356" y="2"/>
                  </a:lnTo>
                  <a:lnTo>
                    <a:pt x="1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8"/>
            <p:cNvSpPr>
              <a:spLocks/>
            </p:cNvSpPr>
            <p:nvPr/>
          </p:nvSpPr>
          <p:spPr bwMode="auto">
            <a:xfrm>
              <a:off x="-1162" y="884"/>
              <a:ext cx="613" cy="547"/>
            </a:xfrm>
            <a:custGeom>
              <a:avLst/>
              <a:gdLst>
                <a:gd name="T0" fmla="*/ 2016 w 2453"/>
                <a:gd name="T1" fmla="*/ 91 h 2186"/>
                <a:gd name="T2" fmla="*/ 2199 w 2453"/>
                <a:gd name="T3" fmla="*/ 251 h 2186"/>
                <a:gd name="T4" fmla="*/ 2339 w 2453"/>
                <a:gd name="T5" fmla="*/ 435 h 2186"/>
                <a:gd name="T6" fmla="*/ 2425 w 2453"/>
                <a:gd name="T7" fmla="*/ 637 h 2186"/>
                <a:gd name="T8" fmla="*/ 2453 w 2453"/>
                <a:gd name="T9" fmla="*/ 852 h 2186"/>
                <a:gd name="T10" fmla="*/ 2426 w 2453"/>
                <a:gd name="T11" fmla="*/ 1059 h 2186"/>
                <a:gd name="T12" fmla="*/ 2344 w 2453"/>
                <a:gd name="T13" fmla="*/ 1257 h 2186"/>
                <a:gd name="T14" fmla="*/ 2212 w 2453"/>
                <a:gd name="T15" fmla="*/ 1438 h 2186"/>
                <a:gd name="T16" fmla="*/ 2038 w 2453"/>
                <a:gd name="T17" fmla="*/ 1596 h 2186"/>
                <a:gd name="T18" fmla="*/ 1920 w 2453"/>
                <a:gd name="T19" fmla="*/ 1736 h 2186"/>
                <a:gd name="T20" fmla="*/ 1994 w 2453"/>
                <a:gd name="T21" fmla="*/ 1860 h 2186"/>
                <a:gd name="T22" fmla="*/ 2040 w 2453"/>
                <a:gd name="T23" fmla="*/ 1921 h 2186"/>
                <a:gd name="T24" fmla="*/ 2095 w 2453"/>
                <a:gd name="T25" fmla="*/ 1982 h 2186"/>
                <a:gd name="T26" fmla="*/ 2136 w 2453"/>
                <a:gd name="T27" fmla="*/ 2026 h 2186"/>
                <a:gd name="T28" fmla="*/ 2148 w 2453"/>
                <a:gd name="T29" fmla="*/ 2040 h 2186"/>
                <a:gd name="T30" fmla="*/ 2158 w 2453"/>
                <a:gd name="T31" fmla="*/ 2051 h 2186"/>
                <a:gd name="T32" fmla="*/ 2166 w 2453"/>
                <a:gd name="T33" fmla="*/ 2060 h 2186"/>
                <a:gd name="T34" fmla="*/ 2174 w 2453"/>
                <a:gd name="T35" fmla="*/ 2073 h 2186"/>
                <a:gd name="T36" fmla="*/ 2182 w 2453"/>
                <a:gd name="T37" fmla="*/ 2087 h 2186"/>
                <a:gd name="T38" fmla="*/ 2185 w 2453"/>
                <a:gd name="T39" fmla="*/ 2099 h 2186"/>
                <a:gd name="T40" fmla="*/ 2188 w 2453"/>
                <a:gd name="T41" fmla="*/ 2110 h 2186"/>
                <a:gd name="T42" fmla="*/ 2185 w 2453"/>
                <a:gd name="T43" fmla="*/ 2113 h 2186"/>
                <a:gd name="T44" fmla="*/ 2184 w 2453"/>
                <a:gd name="T45" fmla="*/ 2126 h 2186"/>
                <a:gd name="T46" fmla="*/ 2157 w 2453"/>
                <a:gd name="T47" fmla="*/ 2171 h 2186"/>
                <a:gd name="T48" fmla="*/ 2112 w 2453"/>
                <a:gd name="T49" fmla="*/ 2186 h 2186"/>
                <a:gd name="T50" fmla="*/ 1932 w 2453"/>
                <a:gd name="T51" fmla="*/ 2153 h 2186"/>
                <a:gd name="T52" fmla="*/ 1626 w 2453"/>
                <a:gd name="T53" fmla="*/ 2044 h 2186"/>
                <a:gd name="T54" fmla="*/ 1353 w 2453"/>
                <a:gd name="T55" fmla="*/ 1885 h 2186"/>
                <a:gd name="T56" fmla="*/ 1076 w 2453"/>
                <a:gd name="T57" fmla="*/ 1917 h 2186"/>
                <a:gd name="T58" fmla="*/ 765 w 2453"/>
                <a:gd name="T59" fmla="*/ 1908 h 2186"/>
                <a:gd name="T60" fmla="*/ 456 w 2453"/>
                <a:gd name="T61" fmla="*/ 1850 h 2186"/>
                <a:gd name="T62" fmla="*/ 174 w 2453"/>
                <a:gd name="T63" fmla="*/ 1744 h 2186"/>
                <a:gd name="T64" fmla="*/ 57 w 2453"/>
                <a:gd name="T65" fmla="*/ 1647 h 2186"/>
                <a:gd name="T66" fmla="*/ 184 w 2453"/>
                <a:gd name="T67" fmla="*/ 1652 h 2186"/>
                <a:gd name="T68" fmla="*/ 513 w 2453"/>
                <a:gd name="T69" fmla="*/ 1629 h 2186"/>
                <a:gd name="T70" fmla="*/ 829 w 2453"/>
                <a:gd name="T71" fmla="*/ 1559 h 2186"/>
                <a:gd name="T72" fmla="*/ 1121 w 2453"/>
                <a:gd name="T73" fmla="*/ 1444 h 2186"/>
                <a:gd name="T74" fmla="*/ 1380 w 2453"/>
                <a:gd name="T75" fmla="*/ 1290 h 2186"/>
                <a:gd name="T76" fmla="*/ 1581 w 2453"/>
                <a:gd name="T77" fmla="*/ 1114 h 2186"/>
                <a:gd name="T78" fmla="*/ 1737 w 2453"/>
                <a:gd name="T79" fmla="*/ 918 h 2186"/>
                <a:gd name="T80" fmla="*/ 1848 w 2453"/>
                <a:gd name="T81" fmla="*/ 702 h 2186"/>
                <a:gd name="T82" fmla="*/ 1909 w 2453"/>
                <a:gd name="T83" fmla="*/ 475 h 2186"/>
                <a:gd name="T84" fmla="*/ 1917 w 2453"/>
                <a:gd name="T85" fmla="*/ 237 h 2186"/>
                <a:gd name="T86" fmla="*/ 1871 w 2453"/>
                <a:gd name="T87" fmla="*/ 0 h 2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53" h="2186">
                  <a:moveTo>
                    <a:pt x="1871" y="0"/>
                  </a:moveTo>
                  <a:lnTo>
                    <a:pt x="1946" y="44"/>
                  </a:lnTo>
                  <a:lnTo>
                    <a:pt x="2016" y="91"/>
                  </a:lnTo>
                  <a:lnTo>
                    <a:pt x="2081" y="142"/>
                  </a:lnTo>
                  <a:lnTo>
                    <a:pt x="2142" y="194"/>
                  </a:lnTo>
                  <a:lnTo>
                    <a:pt x="2199" y="251"/>
                  </a:lnTo>
                  <a:lnTo>
                    <a:pt x="2250" y="310"/>
                  </a:lnTo>
                  <a:lnTo>
                    <a:pt x="2297" y="372"/>
                  </a:lnTo>
                  <a:lnTo>
                    <a:pt x="2339" y="435"/>
                  </a:lnTo>
                  <a:lnTo>
                    <a:pt x="2374" y="501"/>
                  </a:lnTo>
                  <a:lnTo>
                    <a:pt x="2402" y="569"/>
                  </a:lnTo>
                  <a:lnTo>
                    <a:pt x="2425" y="637"/>
                  </a:lnTo>
                  <a:lnTo>
                    <a:pt x="2441" y="708"/>
                  </a:lnTo>
                  <a:lnTo>
                    <a:pt x="2451" y="779"/>
                  </a:lnTo>
                  <a:lnTo>
                    <a:pt x="2453" y="852"/>
                  </a:lnTo>
                  <a:lnTo>
                    <a:pt x="2451" y="922"/>
                  </a:lnTo>
                  <a:lnTo>
                    <a:pt x="2442" y="991"/>
                  </a:lnTo>
                  <a:lnTo>
                    <a:pt x="2426" y="1059"/>
                  </a:lnTo>
                  <a:lnTo>
                    <a:pt x="2406" y="1126"/>
                  </a:lnTo>
                  <a:lnTo>
                    <a:pt x="2378" y="1192"/>
                  </a:lnTo>
                  <a:lnTo>
                    <a:pt x="2344" y="1257"/>
                  </a:lnTo>
                  <a:lnTo>
                    <a:pt x="2306" y="1319"/>
                  </a:lnTo>
                  <a:lnTo>
                    <a:pt x="2261" y="1381"/>
                  </a:lnTo>
                  <a:lnTo>
                    <a:pt x="2212" y="1438"/>
                  </a:lnTo>
                  <a:lnTo>
                    <a:pt x="2158" y="1494"/>
                  </a:lnTo>
                  <a:lnTo>
                    <a:pt x="2100" y="1546"/>
                  </a:lnTo>
                  <a:lnTo>
                    <a:pt x="2038" y="1596"/>
                  </a:lnTo>
                  <a:lnTo>
                    <a:pt x="1971" y="1644"/>
                  </a:lnTo>
                  <a:lnTo>
                    <a:pt x="1898" y="1688"/>
                  </a:lnTo>
                  <a:lnTo>
                    <a:pt x="1920" y="1736"/>
                  </a:lnTo>
                  <a:lnTo>
                    <a:pt x="1942" y="1780"/>
                  </a:lnTo>
                  <a:lnTo>
                    <a:pt x="1965" y="1821"/>
                  </a:lnTo>
                  <a:lnTo>
                    <a:pt x="1994" y="1860"/>
                  </a:lnTo>
                  <a:lnTo>
                    <a:pt x="2012" y="1884"/>
                  </a:lnTo>
                  <a:lnTo>
                    <a:pt x="2028" y="1904"/>
                  </a:lnTo>
                  <a:lnTo>
                    <a:pt x="2040" y="1921"/>
                  </a:lnTo>
                  <a:lnTo>
                    <a:pt x="2054" y="1938"/>
                  </a:lnTo>
                  <a:lnTo>
                    <a:pt x="2072" y="1958"/>
                  </a:lnTo>
                  <a:lnTo>
                    <a:pt x="2095" y="1982"/>
                  </a:lnTo>
                  <a:lnTo>
                    <a:pt x="2112" y="2000"/>
                  </a:lnTo>
                  <a:lnTo>
                    <a:pt x="2125" y="2015"/>
                  </a:lnTo>
                  <a:lnTo>
                    <a:pt x="2136" y="2026"/>
                  </a:lnTo>
                  <a:lnTo>
                    <a:pt x="2142" y="2034"/>
                  </a:lnTo>
                  <a:lnTo>
                    <a:pt x="2145" y="2036"/>
                  </a:lnTo>
                  <a:lnTo>
                    <a:pt x="2148" y="2040"/>
                  </a:lnTo>
                  <a:lnTo>
                    <a:pt x="2151" y="2043"/>
                  </a:lnTo>
                  <a:lnTo>
                    <a:pt x="2155" y="2048"/>
                  </a:lnTo>
                  <a:lnTo>
                    <a:pt x="2158" y="2051"/>
                  </a:lnTo>
                  <a:lnTo>
                    <a:pt x="2160" y="2053"/>
                  </a:lnTo>
                  <a:lnTo>
                    <a:pt x="2163" y="2057"/>
                  </a:lnTo>
                  <a:lnTo>
                    <a:pt x="2166" y="2060"/>
                  </a:lnTo>
                  <a:lnTo>
                    <a:pt x="2168" y="2065"/>
                  </a:lnTo>
                  <a:lnTo>
                    <a:pt x="2172" y="2069"/>
                  </a:lnTo>
                  <a:lnTo>
                    <a:pt x="2174" y="2073"/>
                  </a:lnTo>
                  <a:lnTo>
                    <a:pt x="2176" y="2076"/>
                  </a:lnTo>
                  <a:lnTo>
                    <a:pt x="2181" y="2086"/>
                  </a:lnTo>
                  <a:lnTo>
                    <a:pt x="2182" y="2087"/>
                  </a:lnTo>
                  <a:lnTo>
                    <a:pt x="2182" y="2090"/>
                  </a:lnTo>
                  <a:lnTo>
                    <a:pt x="2184" y="2093"/>
                  </a:lnTo>
                  <a:lnTo>
                    <a:pt x="2185" y="2099"/>
                  </a:lnTo>
                  <a:lnTo>
                    <a:pt x="2187" y="2103"/>
                  </a:lnTo>
                  <a:lnTo>
                    <a:pt x="2188" y="2107"/>
                  </a:lnTo>
                  <a:lnTo>
                    <a:pt x="2188" y="2110"/>
                  </a:lnTo>
                  <a:lnTo>
                    <a:pt x="2188" y="2111"/>
                  </a:lnTo>
                  <a:lnTo>
                    <a:pt x="2187" y="2112"/>
                  </a:lnTo>
                  <a:lnTo>
                    <a:pt x="2185" y="2113"/>
                  </a:lnTo>
                  <a:lnTo>
                    <a:pt x="2184" y="2116"/>
                  </a:lnTo>
                  <a:lnTo>
                    <a:pt x="2184" y="2120"/>
                  </a:lnTo>
                  <a:lnTo>
                    <a:pt x="2184" y="2126"/>
                  </a:lnTo>
                  <a:lnTo>
                    <a:pt x="2179" y="2144"/>
                  </a:lnTo>
                  <a:lnTo>
                    <a:pt x="2170" y="2159"/>
                  </a:lnTo>
                  <a:lnTo>
                    <a:pt x="2157" y="2171"/>
                  </a:lnTo>
                  <a:lnTo>
                    <a:pt x="2143" y="2180"/>
                  </a:lnTo>
                  <a:lnTo>
                    <a:pt x="2128" y="2185"/>
                  </a:lnTo>
                  <a:lnTo>
                    <a:pt x="2112" y="2186"/>
                  </a:lnTo>
                  <a:lnTo>
                    <a:pt x="2045" y="2176"/>
                  </a:lnTo>
                  <a:lnTo>
                    <a:pt x="1986" y="2165"/>
                  </a:lnTo>
                  <a:lnTo>
                    <a:pt x="1932" y="2153"/>
                  </a:lnTo>
                  <a:lnTo>
                    <a:pt x="1827" y="2123"/>
                  </a:lnTo>
                  <a:lnTo>
                    <a:pt x="1725" y="2086"/>
                  </a:lnTo>
                  <a:lnTo>
                    <a:pt x="1626" y="2044"/>
                  </a:lnTo>
                  <a:lnTo>
                    <a:pt x="1532" y="1997"/>
                  </a:lnTo>
                  <a:lnTo>
                    <a:pt x="1440" y="1944"/>
                  </a:lnTo>
                  <a:lnTo>
                    <a:pt x="1353" y="1885"/>
                  </a:lnTo>
                  <a:lnTo>
                    <a:pt x="1259" y="1900"/>
                  </a:lnTo>
                  <a:lnTo>
                    <a:pt x="1167" y="1910"/>
                  </a:lnTo>
                  <a:lnTo>
                    <a:pt x="1076" y="1917"/>
                  </a:lnTo>
                  <a:lnTo>
                    <a:pt x="985" y="1919"/>
                  </a:lnTo>
                  <a:lnTo>
                    <a:pt x="874" y="1916"/>
                  </a:lnTo>
                  <a:lnTo>
                    <a:pt x="765" y="1908"/>
                  </a:lnTo>
                  <a:lnTo>
                    <a:pt x="659" y="1895"/>
                  </a:lnTo>
                  <a:lnTo>
                    <a:pt x="556" y="1875"/>
                  </a:lnTo>
                  <a:lnTo>
                    <a:pt x="456" y="1850"/>
                  </a:lnTo>
                  <a:lnTo>
                    <a:pt x="360" y="1820"/>
                  </a:lnTo>
                  <a:lnTo>
                    <a:pt x="266" y="1784"/>
                  </a:lnTo>
                  <a:lnTo>
                    <a:pt x="174" y="1744"/>
                  </a:lnTo>
                  <a:lnTo>
                    <a:pt x="87" y="1696"/>
                  </a:lnTo>
                  <a:lnTo>
                    <a:pt x="0" y="1644"/>
                  </a:lnTo>
                  <a:lnTo>
                    <a:pt x="57" y="1647"/>
                  </a:lnTo>
                  <a:lnTo>
                    <a:pt x="107" y="1651"/>
                  </a:lnTo>
                  <a:lnTo>
                    <a:pt x="149" y="1652"/>
                  </a:lnTo>
                  <a:lnTo>
                    <a:pt x="184" y="1652"/>
                  </a:lnTo>
                  <a:lnTo>
                    <a:pt x="295" y="1649"/>
                  </a:lnTo>
                  <a:lnTo>
                    <a:pt x="405" y="1641"/>
                  </a:lnTo>
                  <a:lnTo>
                    <a:pt x="513" y="1629"/>
                  </a:lnTo>
                  <a:lnTo>
                    <a:pt x="620" y="1611"/>
                  </a:lnTo>
                  <a:lnTo>
                    <a:pt x="725" y="1587"/>
                  </a:lnTo>
                  <a:lnTo>
                    <a:pt x="829" y="1559"/>
                  </a:lnTo>
                  <a:lnTo>
                    <a:pt x="929" y="1525"/>
                  </a:lnTo>
                  <a:lnTo>
                    <a:pt x="1027" y="1487"/>
                  </a:lnTo>
                  <a:lnTo>
                    <a:pt x="1121" y="1444"/>
                  </a:lnTo>
                  <a:lnTo>
                    <a:pt x="1211" y="1398"/>
                  </a:lnTo>
                  <a:lnTo>
                    <a:pt x="1297" y="1345"/>
                  </a:lnTo>
                  <a:lnTo>
                    <a:pt x="1380" y="1290"/>
                  </a:lnTo>
                  <a:lnTo>
                    <a:pt x="1451" y="1233"/>
                  </a:lnTo>
                  <a:lnTo>
                    <a:pt x="1518" y="1175"/>
                  </a:lnTo>
                  <a:lnTo>
                    <a:pt x="1581" y="1114"/>
                  </a:lnTo>
                  <a:lnTo>
                    <a:pt x="1637" y="1050"/>
                  </a:lnTo>
                  <a:lnTo>
                    <a:pt x="1690" y="986"/>
                  </a:lnTo>
                  <a:lnTo>
                    <a:pt x="1737" y="918"/>
                  </a:lnTo>
                  <a:lnTo>
                    <a:pt x="1780" y="847"/>
                  </a:lnTo>
                  <a:lnTo>
                    <a:pt x="1817" y="775"/>
                  </a:lnTo>
                  <a:lnTo>
                    <a:pt x="1848" y="702"/>
                  </a:lnTo>
                  <a:lnTo>
                    <a:pt x="1875" y="627"/>
                  </a:lnTo>
                  <a:lnTo>
                    <a:pt x="1894" y="551"/>
                  </a:lnTo>
                  <a:lnTo>
                    <a:pt x="1909" y="475"/>
                  </a:lnTo>
                  <a:lnTo>
                    <a:pt x="1917" y="397"/>
                  </a:lnTo>
                  <a:lnTo>
                    <a:pt x="1920" y="317"/>
                  </a:lnTo>
                  <a:lnTo>
                    <a:pt x="1917" y="237"/>
                  </a:lnTo>
                  <a:lnTo>
                    <a:pt x="1907" y="157"/>
                  </a:lnTo>
                  <a:lnTo>
                    <a:pt x="1893" y="79"/>
                  </a:lnTo>
                  <a:lnTo>
                    <a:pt x="18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5646420" y="3573851"/>
            <a:ext cx="899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gradFill>
                  <a:gsLst>
                    <a:gs pos="13000">
                      <a:srgbClr val="0084CB"/>
                    </a:gs>
                    <a:gs pos="100000">
                      <a:srgbClr val="00C2F3"/>
                    </a:gs>
                  </a:gsLst>
                  <a:lin ang="2700000" scaled="1"/>
                </a:gradFill>
                <a:latin typeface="Raleway" panose="020B0003030101060003" pitchFamily="34" charset="0"/>
              </a:rPr>
              <a:t>vs.</a:t>
            </a:r>
            <a:endParaRPr lang="en-CA" sz="3200" b="1" dirty="0">
              <a:gradFill>
                <a:gsLst>
                  <a:gs pos="13000">
                    <a:srgbClr val="0084CB"/>
                  </a:gs>
                  <a:gs pos="100000">
                    <a:srgbClr val="00C2F3"/>
                  </a:gs>
                </a:gsLst>
                <a:lin ang="2700000" scaled="1"/>
              </a:gradFill>
              <a:latin typeface="Raleway" panose="020B0003030101060003" pitchFamily="34" charset="0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6096000" y="2475459"/>
            <a:ext cx="0" cy="9144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6096000" y="4353977"/>
            <a:ext cx="0" cy="9144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4571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/>
          <p:cNvSpPr txBox="1"/>
          <p:nvPr/>
        </p:nvSpPr>
        <p:spPr>
          <a:xfrm>
            <a:off x="1958580" y="694170"/>
            <a:ext cx="78113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800" b="1" dirty="0" smtClean="0">
                <a:solidFill>
                  <a:schemeClr val="bg1">
                    <a:lumMod val="75000"/>
                    <a:alpha val="41000"/>
                  </a:schemeClr>
                </a:solidFill>
                <a:latin typeface="Raleway" panose="020B0003030101060003" pitchFamily="34" charset="0"/>
              </a:rPr>
              <a:t>1</a:t>
            </a:r>
            <a:endParaRPr lang="en-US" sz="13800" b="1" dirty="0">
              <a:solidFill>
                <a:schemeClr val="bg1">
                  <a:lumMod val="75000"/>
                  <a:alpha val="41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672089" y="694170"/>
            <a:ext cx="78113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800" b="1" dirty="0" smtClean="0">
                <a:solidFill>
                  <a:schemeClr val="bg1">
                    <a:lumMod val="75000"/>
                    <a:alpha val="41000"/>
                  </a:schemeClr>
                </a:solidFill>
                <a:latin typeface="Raleway" panose="020B0003030101060003" pitchFamily="34" charset="0"/>
              </a:rPr>
              <a:t>2</a:t>
            </a:r>
            <a:endParaRPr lang="en-US" sz="13800" b="1" dirty="0">
              <a:solidFill>
                <a:schemeClr val="bg1">
                  <a:lumMod val="75000"/>
                  <a:alpha val="41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340290" y="694170"/>
            <a:ext cx="78113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800" b="1" dirty="0" smtClean="0">
                <a:solidFill>
                  <a:schemeClr val="bg1">
                    <a:lumMod val="75000"/>
                    <a:alpha val="41000"/>
                  </a:schemeClr>
                </a:solidFill>
                <a:latin typeface="Raleway" panose="020B0003030101060003" pitchFamily="34" charset="0"/>
              </a:rPr>
              <a:t>3</a:t>
            </a:r>
            <a:endParaRPr lang="en-US" sz="13800" b="1" dirty="0">
              <a:solidFill>
                <a:schemeClr val="bg1">
                  <a:lumMod val="75000"/>
                  <a:alpha val="41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646764" y="4837099"/>
            <a:ext cx="2831786" cy="1114873"/>
          </a:xfrm>
          <a:prstGeom prst="rect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altLang="zh-CN" sz="2000" dirty="0" err="1">
                <a:solidFill>
                  <a:schemeClr val="bg1"/>
                </a:solidFill>
                <a:latin typeface="Raleway" panose="020B0003030101060003" pitchFamily="34" charset="0"/>
              </a:rPr>
              <a:t>ccRobot</a:t>
            </a:r>
            <a:r>
              <a:rPr lang="en-US" altLang="zh-CN" sz="2000" dirty="0">
                <a:solidFill>
                  <a:schemeClr val="bg1"/>
                </a:solidFill>
                <a:latin typeface="Raleway" panose="020B0003030101060003" pitchFamily="34" charset="0"/>
              </a:rPr>
              <a:t> works</a:t>
            </a:r>
            <a:endParaRPr lang="en-CA" sz="2000" dirty="0">
              <a:solidFill>
                <a:schemeClr val="bg1"/>
              </a:solidFill>
              <a:latin typeface="Raleway" panose="020B0003030101060003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altLang="zh-CN" sz="2000" dirty="0">
                <a:solidFill>
                  <a:schemeClr val="bg1"/>
                </a:solidFill>
                <a:latin typeface="Raleway" panose="020B0003030101060003" pitchFamily="34" charset="0"/>
              </a:rPr>
              <a:t>Live agent </a:t>
            </a:r>
            <a:r>
              <a:rPr lang="en-US" altLang="zh-CN" sz="2000" dirty="0" smtClean="0">
                <a:solidFill>
                  <a:schemeClr val="bg1"/>
                </a:solidFill>
                <a:latin typeface="Raleway" panose="020B0003030101060003" pitchFamily="34" charset="0"/>
              </a:rPr>
              <a:t>verifies</a:t>
            </a:r>
            <a:endParaRPr lang="en-US" altLang="zh-CN" sz="2000" dirty="0">
              <a:solidFill>
                <a:schemeClr val="bg1"/>
              </a:solidFill>
              <a:latin typeface="Raleway" panose="020B0003030101060003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8314965" y="4837099"/>
            <a:ext cx="2831786" cy="1114873"/>
          </a:xfrm>
          <a:prstGeom prst="rect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altLang="zh-CN" sz="2000" dirty="0" err="1">
                <a:solidFill>
                  <a:schemeClr val="bg1"/>
                </a:solidFill>
                <a:latin typeface="Raleway" panose="020B0003030101060003" pitchFamily="34" charset="0"/>
              </a:rPr>
              <a:t>ccRobot</a:t>
            </a:r>
            <a:r>
              <a:rPr lang="en-US" altLang="zh-CN" sz="2000" dirty="0">
                <a:solidFill>
                  <a:schemeClr val="bg1"/>
                </a:solidFill>
                <a:latin typeface="Raleway" panose="020B0003030101060003" pitchFamily="34" charset="0"/>
              </a:rPr>
              <a:t> works</a:t>
            </a:r>
          </a:p>
          <a:p>
            <a:pPr algn="ctr">
              <a:lnSpc>
                <a:spcPct val="150000"/>
              </a:lnSpc>
            </a:pPr>
            <a:r>
              <a:rPr lang="en-US" altLang="zh-CN" sz="2000" dirty="0" smtClean="0">
                <a:solidFill>
                  <a:schemeClr val="bg1"/>
                </a:solidFill>
                <a:latin typeface="Raleway" panose="020B0003030101060003" pitchFamily="34" charset="0"/>
              </a:rPr>
              <a:t>independently</a:t>
            </a:r>
            <a:endParaRPr lang="en-CA" sz="2000" dirty="0">
              <a:solidFill>
                <a:schemeClr val="bg1"/>
              </a:solidFill>
              <a:latin typeface="Raleway" panose="020B0003030101060003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46764" y="5984479"/>
            <a:ext cx="2831786" cy="488966"/>
          </a:xfrm>
          <a:prstGeom prst="rect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8314965" y="5984479"/>
            <a:ext cx="2831786" cy="488966"/>
          </a:xfrm>
          <a:prstGeom prst="rect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cxnSp>
        <p:nvCxnSpPr>
          <p:cNvPr id="4" name="Straight Connector 3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481253" y="34056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50476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Real World Natural Language Interaction</a:t>
            </a:r>
          </a:p>
        </p:txBody>
      </p:sp>
      <p:grpSp>
        <p:nvGrpSpPr>
          <p:cNvPr id="7" name="Group 35"/>
          <p:cNvGrpSpPr>
            <a:grpSpLocks noChangeAspect="1"/>
          </p:cNvGrpSpPr>
          <p:nvPr/>
        </p:nvGrpSpPr>
        <p:grpSpPr bwMode="auto">
          <a:xfrm>
            <a:off x="508325" y="770952"/>
            <a:ext cx="442151" cy="347472"/>
            <a:chOff x="-1483" y="697"/>
            <a:chExt cx="934" cy="734"/>
          </a:xfr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</p:grpSpPr>
        <p:sp>
          <p:nvSpPr>
            <p:cNvPr id="8" name="Freeform 37"/>
            <p:cNvSpPr>
              <a:spLocks/>
            </p:cNvSpPr>
            <p:nvPr/>
          </p:nvSpPr>
          <p:spPr bwMode="auto">
            <a:xfrm>
              <a:off x="-1483" y="697"/>
              <a:ext cx="734" cy="600"/>
            </a:xfrm>
            <a:custGeom>
              <a:avLst/>
              <a:gdLst>
                <a:gd name="T0" fmla="*/ 1582 w 2936"/>
                <a:gd name="T1" fmla="*/ 2 h 2402"/>
                <a:gd name="T2" fmla="*/ 1904 w 2936"/>
                <a:gd name="T3" fmla="*/ 46 h 2402"/>
                <a:gd name="T4" fmla="*/ 2206 w 2936"/>
                <a:gd name="T5" fmla="*/ 143 h 2402"/>
                <a:gd name="T6" fmla="*/ 2439 w 2936"/>
                <a:gd name="T7" fmla="*/ 264 h 2402"/>
                <a:gd name="T8" fmla="*/ 2633 w 2936"/>
                <a:gd name="T9" fmla="*/ 415 h 2402"/>
                <a:gd name="T10" fmla="*/ 2786 w 2936"/>
                <a:gd name="T11" fmla="*/ 593 h 2402"/>
                <a:gd name="T12" fmla="*/ 2887 w 2936"/>
                <a:gd name="T13" fmla="*/ 788 h 2402"/>
                <a:gd name="T14" fmla="*/ 2934 w 2936"/>
                <a:gd name="T15" fmla="*/ 996 h 2402"/>
                <a:gd name="T16" fmla="*/ 2925 w 2936"/>
                <a:gd name="T17" fmla="*/ 1209 h 2402"/>
                <a:gd name="T18" fmla="*/ 2860 w 2936"/>
                <a:gd name="T19" fmla="*/ 1412 h 2402"/>
                <a:gd name="T20" fmla="*/ 2741 w 2936"/>
                <a:gd name="T21" fmla="*/ 1603 h 2402"/>
                <a:gd name="T22" fmla="*/ 2573 w 2936"/>
                <a:gd name="T23" fmla="*/ 1773 h 2402"/>
                <a:gd name="T24" fmla="*/ 2367 w 2936"/>
                <a:gd name="T25" fmla="*/ 1915 h 2402"/>
                <a:gd name="T26" fmla="*/ 2108 w 2936"/>
                <a:gd name="T27" fmla="*/ 2031 h 2402"/>
                <a:gd name="T28" fmla="*/ 1799 w 2936"/>
                <a:gd name="T29" fmla="*/ 2109 h 2402"/>
                <a:gd name="T30" fmla="*/ 1468 w 2936"/>
                <a:gd name="T31" fmla="*/ 2135 h 2402"/>
                <a:gd name="T32" fmla="*/ 1195 w 2936"/>
                <a:gd name="T33" fmla="*/ 2117 h 2402"/>
                <a:gd name="T34" fmla="*/ 922 w 2936"/>
                <a:gd name="T35" fmla="*/ 2213 h 2402"/>
                <a:gd name="T36" fmla="*/ 626 w 2936"/>
                <a:gd name="T37" fmla="*/ 2338 h 2402"/>
                <a:gd name="T38" fmla="*/ 408 w 2936"/>
                <a:gd name="T39" fmla="*/ 2391 h 2402"/>
                <a:gd name="T40" fmla="*/ 321 w 2936"/>
                <a:gd name="T41" fmla="*/ 2401 h 2402"/>
                <a:gd name="T42" fmla="*/ 281 w 2936"/>
                <a:gd name="T43" fmla="*/ 2373 h 2402"/>
                <a:gd name="T44" fmla="*/ 268 w 2936"/>
                <a:gd name="T45" fmla="*/ 2335 h 2402"/>
                <a:gd name="T46" fmla="*/ 268 w 2936"/>
                <a:gd name="T47" fmla="*/ 2314 h 2402"/>
                <a:gd name="T48" fmla="*/ 277 w 2936"/>
                <a:gd name="T49" fmla="*/ 2292 h 2402"/>
                <a:gd name="T50" fmla="*/ 280 w 2936"/>
                <a:gd name="T51" fmla="*/ 2288 h 2402"/>
                <a:gd name="T52" fmla="*/ 287 w 2936"/>
                <a:gd name="T53" fmla="*/ 2276 h 2402"/>
                <a:gd name="T54" fmla="*/ 293 w 2936"/>
                <a:gd name="T55" fmla="*/ 2270 h 2402"/>
                <a:gd name="T56" fmla="*/ 295 w 2936"/>
                <a:gd name="T57" fmla="*/ 2269 h 2402"/>
                <a:gd name="T58" fmla="*/ 303 w 2936"/>
                <a:gd name="T59" fmla="*/ 2260 h 2402"/>
                <a:gd name="T60" fmla="*/ 310 w 2936"/>
                <a:gd name="T61" fmla="*/ 2251 h 2402"/>
                <a:gd name="T62" fmla="*/ 318 w 2936"/>
                <a:gd name="T63" fmla="*/ 2242 h 2402"/>
                <a:gd name="T64" fmla="*/ 359 w 2936"/>
                <a:gd name="T65" fmla="*/ 2197 h 2402"/>
                <a:gd name="T66" fmla="*/ 413 w 2936"/>
                <a:gd name="T67" fmla="*/ 2136 h 2402"/>
                <a:gd name="T68" fmla="*/ 459 w 2936"/>
                <a:gd name="T69" fmla="*/ 2076 h 2402"/>
                <a:gd name="T70" fmla="*/ 533 w 2936"/>
                <a:gd name="T71" fmla="*/ 1952 h 2402"/>
                <a:gd name="T72" fmla="*/ 416 w 2936"/>
                <a:gd name="T73" fmla="*/ 1813 h 2402"/>
                <a:gd name="T74" fmla="*/ 242 w 2936"/>
                <a:gd name="T75" fmla="*/ 1654 h 2402"/>
                <a:gd name="T76" fmla="*/ 109 w 2936"/>
                <a:gd name="T77" fmla="*/ 1471 h 2402"/>
                <a:gd name="T78" fmla="*/ 27 w 2936"/>
                <a:gd name="T79" fmla="*/ 1275 h 2402"/>
                <a:gd name="T80" fmla="*/ 0 w 2936"/>
                <a:gd name="T81" fmla="*/ 1067 h 2402"/>
                <a:gd name="T82" fmla="*/ 27 w 2936"/>
                <a:gd name="T83" fmla="*/ 856 h 2402"/>
                <a:gd name="T84" fmla="*/ 110 w 2936"/>
                <a:gd name="T85" fmla="*/ 657 h 2402"/>
                <a:gd name="T86" fmla="*/ 247 w 2936"/>
                <a:gd name="T87" fmla="*/ 472 h 2402"/>
                <a:gd name="T88" fmla="*/ 428 w 2936"/>
                <a:gd name="T89" fmla="*/ 311 h 2402"/>
                <a:gd name="T90" fmla="*/ 649 w 2936"/>
                <a:gd name="T91" fmla="*/ 180 h 2402"/>
                <a:gd name="T92" fmla="*/ 929 w 2936"/>
                <a:gd name="T93" fmla="*/ 72 h 2402"/>
                <a:gd name="T94" fmla="*/ 1246 w 2936"/>
                <a:gd name="T95" fmla="*/ 11 h 2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36" h="2402">
                  <a:moveTo>
                    <a:pt x="1468" y="0"/>
                  </a:moveTo>
                  <a:lnTo>
                    <a:pt x="1468" y="0"/>
                  </a:lnTo>
                  <a:lnTo>
                    <a:pt x="1582" y="2"/>
                  </a:lnTo>
                  <a:lnTo>
                    <a:pt x="1692" y="11"/>
                  </a:lnTo>
                  <a:lnTo>
                    <a:pt x="1799" y="26"/>
                  </a:lnTo>
                  <a:lnTo>
                    <a:pt x="1904" y="46"/>
                  </a:lnTo>
                  <a:lnTo>
                    <a:pt x="2007" y="72"/>
                  </a:lnTo>
                  <a:lnTo>
                    <a:pt x="2108" y="104"/>
                  </a:lnTo>
                  <a:lnTo>
                    <a:pt x="2206" y="143"/>
                  </a:lnTo>
                  <a:lnTo>
                    <a:pt x="2288" y="180"/>
                  </a:lnTo>
                  <a:lnTo>
                    <a:pt x="2367" y="220"/>
                  </a:lnTo>
                  <a:lnTo>
                    <a:pt x="2439" y="264"/>
                  </a:lnTo>
                  <a:lnTo>
                    <a:pt x="2508" y="311"/>
                  </a:lnTo>
                  <a:lnTo>
                    <a:pt x="2573" y="362"/>
                  </a:lnTo>
                  <a:lnTo>
                    <a:pt x="2633" y="415"/>
                  </a:lnTo>
                  <a:lnTo>
                    <a:pt x="2689" y="472"/>
                  </a:lnTo>
                  <a:lnTo>
                    <a:pt x="2741" y="532"/>
                  </a:lnTo>
                  <a:lnTo>
                    <a:pt x="2786" y="593"/>
                  </a:lnTo>
                  <a:lnTo>
                    <a:pt x="2826" y="657"/>
                  </a:lnTo>
                  <a:lnTo>
                    <a:pt x="2860" y="723"/>
                  </a:lnTo>
                  <a:lnTo>
                    <a:pt x="2887" y="788"/>
                  </a:lnTo>
                  <a:lnTo>
                    <a:pt x="2909" y="856"/>
                  </a:lnTo>
                  <a:lnTo>
                    <a:pt x="2925" y="926"/>
                  </a:lnTo>
                  <a:lnTo>
                    <a:pt x="2934" y="996"/>
                  </a:lnTo>
                  <a:lnTo>
                    <a:pt x="2936" y="1067"/>
                  </a:lnTo>
                  <a:lnTo>
                    <a:pt x="2934" y="1139"/>
                  </a:lnTo>
                  <a:lnTo>
                    <a:pt x="2925" y="1209"/>
                  </a:lnTo>
                  <a:lnTo>
                    <a:pt x="2909" y="1278"/>
                  </a:lnTo>
                  <a:lnTo>
                    <a:pt x="2887" y="1347"/>
                  </a:lnTo>
                  <a:lnTo>
                    <a:pt x="2860" y="1412"/>
                  </a:lnTo>
                  <a:lnTo>
                    <a:pt x="2826" y="1478"/>
                  </a:lnTo>
                  <a:lnTo>
                    <a:pt x="2786" y="1542"/>
                  </a:lnTo>
                  <a:lnTo>
                    <a:pt x="2741" y="1603"/>
                  </a:lnTo>
                  <a:lnTo>
                    <a:pt x="2689" y="1663"/>
                  </a:lnTo>
                  <a:lnTo>
                    <a:pt x="2633" y="1720"/>
                  </a:lnTo>
                  <a:lnTo>
                    <a:pt x="2573" y="1773"/>
                  </a:lnTo>
                  <a:lnTo>
                    <a:pt x="2508" y="1824"/>
                  </a:lnTo>
                  <a:lnTo>
                    <a:pt x="2439" y="1871"/>
                  </a:lnTo>
                  <a:lnTo>
                    <a:pt x="2367" y="1915"/>
                  </a:lnTo>
                  <a:lnTo>
                    <a:pt x="2288" y="1955"/>
                  </a:lnTo>
                  <a:lnTo>
                    <a:pt x="2206" y="1992"/>
                  </a:lnTo>
                  <a:lnTo>
                    <a:pt x="2108" y="2031"/>
                  </a:lnTo>
                  <a:lnTo>
                    <a:pt x="2007" y="2062"/>
                  </a:lnTo>
                  <a:lnTo>
                    <a:pt x="1904" y="2089"/>
                  </a:lnTo>
                  <a:lnTo>
                    <a:pt x="1799" y="2109"/>
                  </a:lnTo>
                  <a:lnTo>
                    <a:pt x="1692" y="2124"/>
                  </a:lnTo>
                  <a:lnTo>
                    <a:pt x="1582" y="2133"/>
                  </a:lnTo>
                  <a:lnTo>
                    <a:pt x="1468" y="2135"/>
                  </a:lnTo>
                  <a:lnTo>
                    <a:pt x="1378" y="2133"/>
                  </a:lnTo>
                  <a:lnTo>
                    <a:pt x="1287" y="2127"/>
                  </a:lnTo>
                  <a:lnTo>
                    <a:pt x="1195" y="2117"/>
                  </a:lnTo>
                  <a:lnTo>
                    <a:pt x="1102" y="2102"/>
                  </a:lnTo>
                  <a:lnTo>
                    <a:pt x="1013" y="2160"/>
                  </a:lnTo>
                  <a:lnTo>
                    <a:pt x="922" y="2213"/>
                  </a:lnTo>
                  <a:lnTo>
                    <a:pt x="827" y="2260"/>
                  </a:lnTo>
                  <a:lnTo>
                    <a:pt x="728" y="2302"/>
                  </a:lnTo>
                  <a:lnTo>
                    <a:pt x="626" y="2338"/>
                  </a:lnTo>
                  <a:lnTo>
                    <a:pt x="522" y="2369"/>
                  </a:lnTo>
                  <a:lnTo>
                    <a:pt x="469" y="2381"/>
                  </a:lnTo>
                  <a:lnTo>
                    <a:pt x="408" y="2391"/>
                  </a:lnTo>
                  <a:lnTo>
                    <a:pt x="343" y="2402"/>
                  </a:lnTo>
                  <a:lnTo>
                    <a:pt x="336" y="2402"/>
                  </a:lnTo>
                  <a:lnTo>
                    <a:pt x="321" y="2401"/>
                  </a:lnTo>
                  <a:lnTo>
                    <a:pt x="306" y="2395"/>
                  </a:lnTo>
                  <a:lnTo>
                    <a:pt x="293" y="2386"/>
                  </a:lnTo>
                  <a:lnTo>
                    <a:pt x="281" y="2373"/>
                  </a:lnTo>
                  <a:lnTo>
                    <a:pt x="273" y="2359"/>
                  </a:lnTo>
                  <a:lnTo>
                    <a:pt x="269" y="2342"/>
                  </a:lnTo>
                  <a:lnTo>
                    <a:pt x="268" y="2335"/>
                  </a:lnTo>
                  <a:lnTo>
                    <a:pt x="267" y="2328"/>
                  </a:lnTo>
                  <a:lnTo>
                    <a:pt x="268" y="2321"/>
                  </a:lnTo>
                  <a:lnTo>
                    <a:pt x="268" y="2314"/>
                  </a:lnTo>
                  <a:lnTo>
                    <a:pt x="270" y="2309"/>
                  </a:lnTo>
                  <a:lnTo>
                    <a:pt x="272" y="2302"/>
                  </a:lnTo>
                  <a:lnTo>
                    <a:pt x="277" y="2292"/>
                  </a:lnTo>
                  <a:lnTo>
                    <a:pt x="278" y="2292"/>
                  </a:lnTo>
                  <a:lnTo>
                    <a:pt x="279" y="2291"/>
                  </a:lnTo>
                  <a:lnTo>
                    <a:pt x="280" y="2288"/>
                  </a:lnTo>
                  <a:lnTo>
                    <a:pt x="283" y="2285"/>
                  </a:lnTo>
                  <a:lnTo>
                    <a:pt x="285" y="2280"/>
                  </a:lnTo>
                  <a:lnTo>
                    <a:pt x="287" y="2276"/>
                  </a:lnTo>
                  <a:lnTo>
                    <a:pt x="289" y="2274"/>
                  </a:lnTo>
                  <a:lnTo>
                    <a:pt x="292" y="2271"/>
                  </a:lnTo>
                  <a:lnTo>
                    <a:pt x="293" y="2270"/>
                  </a:lnTo>
                  <a:lnTo>
                    <a:pt x="293" y="2270"/>
                  </a:lnTo>
                  <a:lnTo>
                    <a:pt x="294" y="2270"/>
                  </a:lnTo>
                  <a:lnTo>
                    <a:pt x="295" y="2269"/>
                  </a:lnTo>
                  <a:lnTo>
                    <a:pt x="297" y="2267"/>
                  </a:lnTo>
                  <a:lnTo>
                    <a:pt x="300" y="2263"/>
                  </a:lnTo>
                  <a:lnTo>
                    <a:pt x="303" y="2260"/>
                  </a:lnTo>
                  <a:lnTo>
                    <a:pt x="305" y="2255"/>
                  </a:lnTo>
                  <a:lnTo>
                    <a:pt x="307" y="2252"/>
                  </a:lnTo>
                  <a:lnTo>
                    <a:pt x="310" y="2251"/>
                  </a:lnTo>
                  <a:lnTo>
                    <a:pt x="311" y="2250"/>
                  </a:lnTo>
                  <a:lnTo>
                    <a:pt x="311" y="2250"/>
                  </a:lnTo>
                  <a:lnTo>
                    <a:pt x="318" y="2242"/>
                  </a:lnTo>
                  <a:lnTo>
                    <a:pt x="328" y="2230"/>
                  </a:lnTo>
                  <a:lnTo>
                    <a:pt x="341" y="2216"/>
                  </a:lnTo>
                  <a:lnTo>
                    <a:pt x="359" y="2197"/>
                  </a:lnTo>
                  <a:lnTo>
                    <a:pt x="381" y="2174"/>
                  </a:lnTo>
                  <a:lnTo>
                    <a:pt x="399" y="2153"/>
                  </a:lnTo>
                  <a:lnTo>
                    <a:pt x="413" y="2136"/>
                  </a:lnTo>
                  <a:lnTo>
                    <a:pt x="425" y="2120"/>
                  </a:lnTo>
                  <a:lnTo>
                    <a:pt x="441" y="2100"/>
                  </a:lnTo>
                  <a:lnTo>
                    <a:pt x="459" y="2076"/>
                  </a:lnTo>
                  <a:lnTo>
                    <a:pt x="488" y="2036"/>
                  </a:lnTo>
                  <a:lnTo>
                    <a:pt x="512" y="1996"/>
                  </a:lnTo>
                  <a:lnTo>
                    <a:pt x="533" y="1952"/>
                  </a:lnTo>
                  <a:lnTo>
                    <a:pt x="555" y="1904"/>
                  </a:lnTo>
                  <a:lnTo>
                    <a:pt x="483" y="1859"/>
                  </a:lnTo>
                  <a:lnTo>
                    <a:pt x="416" y="1813"/>
                  </a:lnTo>
                  <a:lnTo>
                    <a:pt x="354" y="1763"/>
                  </a:lnTo>
                  <a:lnTo>
                    <a:pt x="295" y="1710"/>
                  </a:lnTo>
                  <a:lnTo>
                    <a:pt x="242" y="1654"/>
                  </a:lnTo>
                  <a:lnTo>
                    <a:pt x="193" y="1596"/>
                  </a:lnTo>
                  <a:lnTo>
                    <a:pt x="149" y="1535"/>
                  </a:lnTo>
                  <a:lnTo>
                    <a:pt x="109" y="1471"/>
                  </a:lnTo>
                  <a:lnTo>
                    <a:pt x="76" y="1407"/>
                  </a:lnTo>
                  <a:lnTo>
                    <a:pt x="49" y="1342"/>
                  </a:lnTo>
                  <a:lnTo>
                    <a:pt x="27" y="1275"/>
                  </a:lnTo>
                  <a:lnTo>
                    <a:pt x="12" y="1207"/>
                  </a:lnTo>
                  <a:lnTo>
                    <a:pt x="3" y="1138"/>
                  </a:lnTo>
                  <a:lnTo>
                    <a:pt x="0" y="1067"/>
                  </a:lnTo>
                  <a:lnTo>
                    <a:pt x="3" y="996"/>
                  </a:lnTo>
                  <a:lnTo>
                    <a:pt x="12" y="926"/>
                  </a:lnTo>
                  <a:lnTo>
                    <a:pt x="27" y="856"/>
                  </a:lnTo>
                  <a:lnTo>
                    <a:pt x="49" y="788"/>
                  </a:lnTo>
                  <a:lnTo>
                    <a:pt x="77" y="723"/>
                  </a:lnTo>
                  <a:lnTo>
                    <a:pt x="110" y="657"/>
                  </a:lnTo>
                  <a:lnTo>
                    <a:pt x="150" y="593"/>
                  </a:lnTo>
                  <a:lnTo>
                    <a:pt x="196" y="532"/>
                  </a:lnTo>
                  <a:lnTo>
                    <a:pt x="247" y="472"/>
                  </a:lnTo>
                  <a:lnTo>
                    <a:pt x="303" y="415"/>
                  </a:lnTo>
                  <a:lnTo>
                    <a:pt x="363" y="362"/>
                  </a:lnTo>
                  <a:lnTo>
                    <a:pt x="428" y="311"/>
                  </a:lnTo>
                  <a:lnTo>
                    <a:pt x="497" y="264"/>
                  </a:lnTo>
                  <a:lnTo>
                    <a:pt x="571" y="220"/>
                  </a:lnTo>
                  <a:lnTo>
                    <a:pt x="649" y="180"/>
                  </a:lnTo>
                  <a:lnTo>
                    <a:pt x="731" y="143"/>
                  </a:lnTo>
                  <a:lnTo>
                    <a:pt x="829" y="104"/>
                  </a:lnTo>
                  <a:lnTo>
                    <a:pt x="929" y="72"/>
                  </a:lnTo>
                  <a:lnTo>
                    <a:pt x="1032" y="46"/>
                  </a:lnTo>
                  <a:lnTo>
                    <a:pt x="1138" y="26"/>
                  </a:lnTo>
                  <a:lnTo>
                    <a:pt x="1246" y="11"/>
                  </a:lnTo>
                  <a:lnTo>
                    <a:pt x="1356" y="2"/>
                  </a:lnTo>
                  <a:lnTo>
                    <a:pt x="1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38"/>
            <p:cNvSpPr>
              <a:spLocks/>
            </p:cNvSpPr>
            <p:nvPr/>
          </p:nvSpPr>
          <p:spPr bwMode="auto">
            <a:xfrm>
              <a:off x="-1162" y="884"/>
              <a:ext cx="613" cy="547"/>
            </a:xfrm>
            <a:custGeom>
              <a:avLst/>
              <a:gdLst>
                <a:gd name="T0" fmla="*/ 2016 w 2453"/>
                <a:gd name="T1" fmla="*/ 91 h 2186"/>
                <a:gd name="T2" fmla="*/ 2199 w 2453"/>
                <a:gd name="T3" fmla="*/ 251 h 2186"/>
                <a:gd name="T4" fmla="*/ 2339 w 2453"/>
                <a:gd name="T5" fmla="*/ 435 h 2186"/>
                <a:gd name="T6" fmla="*/ 2425 w 2453"/>
                <a:gd name="T7" fmla="*/ 637 h 2186"/>
                <a:gd name="T8" fmla="*/ 2453 w 2453"/>
                <a:gd name="T9" fmla="*/ 852 h 2186"/>
                <a:gd name="T10" fmla="*/ 2426 w 2453"/>
                <a:gd name="T11" fmla="*/ 1059 h 2186"/>
                <a:gd name="T12" fmla="*/ 2344 w 2453"/>
                <a:gd name="T13" fmla="*/ 1257 h 2186"/>
                <a:gd name="T14" fmla="*/ 2212 w 2453"/>
                <a:gd name="T15" fmla="*/ 1438 h 2186"/>
                <a:gd name="T16" fmla="*/ 2038 w 2453"/>
                <a:gd name="T17" fmla="*/ 1596 h 2186"/>
                <a:gd name="T18" fmla="*/ 1920 w 2453"/>
                <a:gd name="T19" fmla="*/ 1736 h 2186"/>
                <a:gd name="T20" fmla="*/ 1994 w 2453"/>
                <a:gd name="T21" fmla="*/ 1860 h 2186"/>
                <a:gd name="T22" fmla="*/ 2040 w 2453"/>
                <a:gd name="T23" fmla="*/ 1921 h 2186"/>
                <a:gd name="T24" fmla="*/ 2095 w 2453"/>
                <a:gd name="T25" fmla="*/ 1982 h 2186"/>
                <a:gd name="T26" fmla="*/ 2136 w 2453"/>
                <a:gd name="T27" fmla="*/ 2026 h 2186"/>
                <a:gd name="T28" fmla="*/ 2148 w 2453"/>
                <a:gd name="T29" fmla="*/ 2040 h 2186"/>
                <a:gd name="T30" fmla="*/ 2158 w 2453"/>
                <a:gd name="T31" fmla="*/ 2051 h 2186"/>
                <a:gd name="T32" fmla="*/ 2166 w 2453"/>
                <a:gd name="T33" fmla="*/ 2060 h 2186"/>
                <a:gd name="T34" fmla="*/ 2174 w 2453"/>
                <a:gd name="T35" fmla="*/ 2073 h 2186"/>
                <a:gd name="T36" fmla="*/ 2182 w 2453"/>
                <a:gd name="T37" fmla="*/ 2087 h 2186"/>
                <a:gd name="T38" fmla="*/ 2185 w 2453"/>
                <a:gd name="T39" fmla="*/ 2099 h 2186"/>
                <a:gd name="T40" fmla="*/ 2188 w 2453"/>
                <a:gd name="T41" fmla="*/ 2110 h 2186"/>
                <a:gd name="T42" fmla="*/ 2185 w 2453"/>
                <a:gd name="T43" fmla="*/ 2113 h 2186"/>
                <a:gd name="T44" fmla="*/ 2184 w 2453"/>
                <a:gd name="T45" fmla="*/ 2126 h 2186"/>
                <a:gd name="T46" fmla="*/ 2157 w 2453"/>
                <a:gd name="T47" fmla="*/ 2171 h 2186"/>
                <a:gd name="T48" fmla="*/ 2112 w 2453"/>
                <a:gd name="T49" fmla="*/ 2186 h 2186"/>
                <a:gd name="T50" fmla="*/ 1932 w 2453"/>
                <a:gd name="T51" fmla="*/ 2153 h 2186"/>
                <a:gd name="T52" fmla="*/ 1626 w 2453"/>
                <a:gd name="T53" fmla="*/ 2044 h 2186"/>
                <a:gd name="T54" fmla="*/ 1353 w 2453"/>
                <a:gd name="T55" fmla="*/ 1885 h 2186"/>
                <a:gd name="T56" fmla="*/ 1076 w 2453"/>
                <a:gd name="T57" fmla="*/ 1917 h 2186"/>
                <a:gd name="T58" fmla="*/ 765 w 2453"/>
                <a:gd name="T59" fmla="*/ 1908 h 2186"/>
                <a:gd name="T60" fmla="*/ 456 w 2453"/>
                <a:gd name="T61" fmla="*/ 1850 h 2186"/>
                <a:gd name="T62" fmla="*/ 174 w 2453"/>
                <a:gd name="T63" fmla="*/ 1744 h 2186"/>
                <a:gd name="T64" fmla="*/ 57 w 2453"/>
                <a:gd name="T65" fmla="*/ 1647 h 2186"/>
                <a:gd name="T66" fmla="*/ 184 w 2453"/>
                <a:gd name="T67" fmla="*/ 1652 h 2186"/>
                <a:gd name="T68" fmla="*/ 513 w 2453"/>
                <a:gd name="T69" fmla="*/ 1629 h 2186"/>
                <a:gd name="T70" fmla="*/ 829 w 2453"/>
                <a:gd name="T71" fmla="*/ 1559 h 2186"/>
                <a:gd name="T72" fmla="*/ 1121 w 2453"/>
                <a:gd name="T73" fmla="*/ 1444 h 2186"/>
                <a:gd name="T74" fmla="*/ 1380 w 2453"/>
                <a:gd name="T75" fmla="*/ 1290 h 2186"/>
                <a:gd name="T76" fmla="*/ 1581 w 2453"/>
                <a:gd name="T77" fmla="*/ 1114 h 2186"/>
                <a:gd name="T78" fmla="*/ 1737 w 2453"/>
                <a:gd name="T79" fmla="*/ 918 h 2186"/>
                <a:gd name="T80" fmla="*/ 1848 w 2453"/>
                <a:gd name="T81" fmla="*/ 702 h 2186"/>
                <a:gd name="T82" fmla="*/ 1909 w 2453"/>
                <a:gd name="T83" fmla="*/ 475 h 2186"/>
                <a:gd name="T84" fmla="*/ 1917 w 2453"/>
                <a:gd name="T85" fmla="*/ 237 h 2186"/>
                <a:gd name="T86" fmla="*/ 1871 w 2453"/>
                <a:gd name="T87" fmla="*/ 0 h 2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53" h="2186">
                  <a:moveTo>
                    <a:pt x="1871" y="0"/>
                  </a:moveTo>
                  <a:lnTo>
                    <a:pt x="1946" y="44"/>
                  </a:lnTo>
                  <a:lnTo>
                    <a:pt x="2016" y="91"/>
                  </a:lnTo>
                  <a:lnTo>
                    <a:pt x="2081" y="142"/>
                  </a:lnTo>
                  <a:lnTo>
                    <a:pt x="2142" y="194"/>
                  </a:lnTo>
                  <a:lnTo>
                    <a:pt x="2199" y="251"/>
                  </a:lnTo>
                  <a:lnTo>
                    <a:pt x="2250" y="310"/>
                  </a:lnTo>
                  <a:lnTo>
                    <a:pt x="2297" y="372"/>
                  </a:lnTo>
                  <a:lnTo>
                    <a:pt x="2339" y="435"/>
                  </a:lnTo>
                  <a:lnTo>
                    <a:pt x="2374" y="501"/>
                  </a:lnTo>
                  <a:lnTo>
                    <a:pt x="2402" y="569"/>
                  </a:lnTo>
                  <a:lnTo>
                    <a:pt x="2425" y="637"/>
                  </a:lnTo>
                  <a:lnTo>
                    <a:pt x="2441" y="708"/>
                  </a:lnTo>
                  <a:lnTo>
                    <a:pt x="2451" y="779"/>
                  </a:lnTo>
                  <a:lnTo>
                    <a:pt x="2453" y="852"/>
                  </a:lnTo>
                  <a:lnTo>
                    <a:pt x="2451" y="922"/>
                  </a:lnTo>
                  <a:lnTo>
                    <a:pt x="2442" y="991"/>
                  </a:lnTo>
                  <a:lnTo>
                    <a:pt x="2426" y="1059"/>
                  </a:lnTo>
                  <a:lnTo>
                    <a:pt x="2406" y="1126"/>
                  </a:lnTo>
                  <a:lnTo>
                    <a:pt x="2378" y="1192"/>
                  </a:lnTo>
                  <a:lnTo>
                    <a:pt x="2344" y="1257"/>
                  </a:lnTo>
                  <a:lnTo>
                    <a:pt x="2306" y="1319"/>
                  </a:lnTo>
                  <a:lnTo>
                    <a:pt x="2261" y="1381"/>
                  </a:lnTo>
                  <a:lnTo>
                    <a:pt x="2212" y="1438"/>
                  </a:lnTo>
                  <a:lnTo>
                    <a:pt x="2158" y="1494"/>
                  </a:lnTo>
                  <a:lnTo>
                    <a:pt x="2100" y="1546"/>
                  </a:lnTo>
                  <a:lnTo>
                    <a:pt x="2038" y="1596"/>
                  </a:lnTo>
                  <a:lnTo>
                    <a:pt x="1971" y="1644"/>
                  </a:lnTo>
                  <a:lnTo>
                    <a:pt x="1898" y="1688"/>
                  </a:lnTo>
                  <a:lnTo>
                    <a:pt x="1920" y="1736"/>
                  </a:lnTo>
                  <a:lnTo>
                    <a:pt x="1942" y="1780"/>
                  </a:lnTo>
                  <a:lnTo>
                    <a:pt x="1965" y="1821"/>
                  </a:lnTo>
                  <a:lnTo>
                    <a:pt x="1994" y="1860"/>
                  </a:lnTo>
                  <a:lnTo>
                    <a:pt x="2012" y="1884"/>
                  </a:lnTo>
                  <a:lnTo>
                    <a:pt x="2028" y="1904"/>
                  </a:lnTo>
                  <a:lnTo>
                    <a:pt x="2040" y="1921"/>
                  </a:lnTo>
                  <a:lnTo>
                    <a:pt x="2054" y="1938"/>
                  </a:lnTo>
                  <a:lnTo>
                    <a:pt x="2072" y="1958"/>
                  </a:lnTo>
                  <a:lnTo>
                    <a:pt x="2095" y="1982"/>
                  </a:lnTo>
                  <a:lnTo>
                    <a:pt x="2112" y="2000"/>
                  </a:lnTo>
                  <a:lnTo>
                    <a:pt x="2125" y="2015"/>
                  </a:lnTo>
                  <a:lnTo>
                    <a:pt x="2136" y="2026"/>
                  </a:lnTo>
                  <a:lnTo>
                    <a:pt x="2142" y="2034"/>
                  </a:lnTo>
                  <a:lnTo>
                    <a:pt x="2145" y="2036"/>
                  </a:lnTo>
                  <a:lnTo>
                    <a:pt x="2148" y="2040"/>
                  </a:lnTo>
                  <a:lnTo>
                    <a:pt x="2151" y="2043"/>
                  </a:lnTo>
                  <a:lnTo>
                    <a:pt x="2155" y="2048"/>
                  </a:lnTo>
                  <a:lnTo>
                    <a:pt x="2158" y="2051"/>
                  </a:lnTo>
                  <a:lnTo>
                    <a:pt x="2160" y="2053"/>
                  </a:lnTo>
                  <a:lnTo>
                    <a:pt x="2163" y="2057"/>
                  </a:lnTo>
                  <a:lnTo>
                    <a:pt x="2166" y="2060"/>
                  </a:lnTo>
                  <a:lnTo>
                    <a:pt x="2168" y="2065"/>
                  </a:lnTo>
                  <a:lnTo>
                    <a:pt x="2172" y="2069"/>
                  </a:lnTo>
                  <a:lnTo>
                    <a:pt x="2174" y="2073"/>
                  </a:lnTo>
                  <a:lnTo>
                    <a:pt x="2176" y="2076"/>
                  </a:lnTo>
                  <a:lnTo>
                    <a:pt x="2181" y="2086"/>
                  </a:lnTo>
                  <a:lnTo>
                    <a:pt x="2182" y="2087"/>
                  </a:lnTo>
                  <a:lnTo>
                    <a:pt x="2182" y="2090"/>
                  </a:lnTo>
                  <a:lnTo>
                    <a:pt x="2184" y="2093"/>
                  </a:lnTo>
                  <a:lnTo>
                    <a:pt x="2185" y="2099"/>
                  </a:lnTo>
                  <a:lnTo>
                    <a:pt x="2187" y="2103"/>
                  </a:lnTo>
                  <a:lnTo>
                    <a:pt x="2188" y="2107"/>
                  </a:lnTo>
                  <a:lnTo>
                    <a:pt x="2188" y="2110"/>
                  </a:lnTo>
                  <a:lnTo>
                    <a:pt x="2188" y="2111"/>
                  </a:lnTo>
                  <a:lnTo>
                    <a:pt x="2187" y="2112"/>
                  </a:lnTo>
                  <a:lnTo>
                    <a:pt x="2185" y="2113"/>
                  </a:lnTo>
                  <a:lnTo>
                    <a:pt x="2184" y="2116"/>
                  </a:lnTo>
                  <a:lnTo>
                    <a:pt x="2184" y="2120"/>
                  </a:lnTo>
                  <a:lnTo>
                    <a:pt x="2184" y="2126"/>
                  </a:lnTo>
                  <a:lnTo>
                    <a:pt x="2179" y="2144"/>
                  </a:lnTo>
                  <a:lnTo>
                    <a:pt x="2170" y="2159"/>
                  </a:lnTo>
                  <a:lnTo>
                    <a:pt x="2157" y="2171"/>
                  </a:lnTo>
                  <a:lnTo>
                    <a:pt x="2143" y="2180"/>
                  </a:lnTo>
                  <a:lnTo>
                    <a:pt x="2128" y="2185"/>
                  </a:lnTo>
                  <a:lnTo>
                    <a:pt x="2112" y="2186"/>
                  </a:lnTo>
                  <a:lnTo>
                    <a:pt x="2045" y="2176"/>
                  </a:lnTo>
                  <a:lnTo>
                    <a:pt x="1986" y="2165"/>
                  </a:lnTo>
                  <a:lnTo>
                    <a:pt x="1932" y="2153"/>
                  </a:lnTo>
                  <a:lnTo>
                    <a:pt x="1827" y="2123"/>
                  </a:lnTo>
                  <a:lnTo>
                    <a:pt x="1725" y="2086"/>
                  </a:lnTo>
                  <a:lnTo>
                    <a:pt x="1626" y="2044"/>
                  </a:lnTo>
                  <a:lnTo>
                    <a:pt x="1532" y="1997"/>
                  </a:lnTo>
                  <a:lnTo>
                    <a:pt x="1440" y="1944"/>
                  </a:lnTo>
                  <a:lnTo>
                    <a:pt x="1353" y="1885"/>
                  </a:lnTo>
                  <a:lnTo>
                    <a:pt x="1259" y="1900"/>
                  </a:lnTo>
                  <a:lnTo>
                    <a:pt x="1167" y="1910"/>
                  </a:lnTo>
                  <a:lnTo>
                    <a:pt x="1076" y="1917"/>
                  </a:lnTo>
                  <a:lnTo>
                    <a:pt x="985" y="1919"/>
                  </a:lnTo>
                  <a:lnTo>
                    <a:pt x="874" y="1916"/>
                  </a:lnTo>
                  <a:lnTo>
                    <a:pt x="765" y="1908"/>
                  </a:lnTo>
                  <a:lnTo>
                    <a:pt x="659" y="1895"/>
                  </a:lnTo>
                  <a:lnTo>
                    <a:pt x="556" y="1875"/>
                  </a:lnTo>
                  <a:lnTo>
                    <a:pt x="456" y="1850"/>
                  </a:lnTo>
                  <a:lnTo>
                    <a:pt x="360" y="1820"/>
                  </a:lnTo>
                  <a:lnTo>
                    <a:pt x="266" y="1784"/>
                  </a:lnTo>
                  <a:lnTo>
                    <a:pt x="174" y="1744"/>
                  </a:lnTo>
                  <a:lnTo>
                    <a:pt x="87" y="1696"/>
                  </a:lnTo>
                  <a:lnTo>
                    <a:pt x="0" y="1644"/>
                  </a:lnTo>
                  <a:lnTo>
                    <a:pt x="57" y="1647"/>
                  </a:lnTo>
                  <a:lnTo>
                    <a:pt x="107" y="1651"/>
                  </a:lnTo>
                  <a:lnTo>
                    <a:pt x="149" y="1652"/>
                  </a:lnTo>
                  <a:lnTo>
                    <a:pt x="184" y="1652"/>
                  </a:lnTo>
                  <a:lnTo>
                    <a:pt x="295" y="1649"/>
                  </a:lnTo>
                  <a:lnTo>
                    <a:pt x="405" y="1641"/>
                  </a:lnTo>
                  <a:lnTo>
                    <a:pt x="513" y="1629"/>
                  </a:lnTo>
                  <a:lnTo>
                    <a:pt x="620" y="1611"/>
                  </a:lnTo>
                  <a:lnTo>
                    <a:pt x="725" y="1587"/>
                  </a:lnTo>
                  <a:lnTo>
                    <a:pt x="829" y="1559"/>
                  </a:lnTo>
                  <a:lnTo>
                    <a:pt x="929" y="1525"/>
                  </a:lnTo>
                  <a:lnTo>
                    <a:pt x="1027" y="1487"/>
                  </a:lnTo>
                  <a:lnTo>
                    <a:pt x="1121" y="1444"/>
                  </a:lnTo>
                  <a:lnTo>
                    <a:pt x="1211" y="1398"/>
                  </a:lnTo>
                  <a:lnTo>
                    <a:pt x="1297" y="1345"/>
                  </a:lnTo>
                  <a:lnTo>
                    <a:pt x="1380" y="1290"/>
                  </a:lnTo>
                  <a:lnTo>
                    <a:pt x="1451" y="1233"/>
                  </a:lnTo>
                  <a:lnTo>
                    <a:pt x="1518" y="1175"/>
                  </a:lnTo>
                  <a:lnTo>
                    <a:pt x="1581" y="1114"/>
                  </a:lnTo>
                  <a:lnTo>
                    <a:pt x="1637" y="1050"/>
                  </a:lnTo>
                  <a:lnTo>
                    <a:pt x="1690" y="986"/>
                  </a:lnTo>
                  <a:lnTo>
                    <a:pt x="1737" y="918"/>
                  </a:lnTo>
                  <a:lnTo>
                    <a:pt x="1780" y="847"/>
                  </a:lnTo>
                  <a:lnTo>
                    <a:pt x="1817" y="775"/>
                  </a:lnTo>
                  <a:lnTo>
                    <a:pt x="1848" y="702"/>
                  </a:lnTo>
                  <a:lnTo>
                    <a:pt x="1875" y="627"/>
                  </a:lnTo>
                  <a:lnTo>
                    <a:pt x="1894" y="551"/>
                  </a:lnTo>
                  <a:lnTo>
                    <a:pt x="1909" y="475"/>
                  </a:lnTo>
                  <a:lnTo>
                    <a:pt x="1917" y="397"/>
                  </a:lnTo>
                  <a:lnTo>
                    <a:pt x="1920" y="317"/>
                  </a:lnTo>
                  <a:lnTo>
                    <a:pt x="1917" y="237"/>
                  </a:lnTo>
                  <a:lnTo>
                    <a:pt x="1907" y="157"/>
                  </a:lnTo>
                  <a:lnTo>
                    <a:pt x="1893" y="79"/>
                  </a:lnTo>
                  <a:lnTo>
                    <a:pt x="18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994265" y="4825781"/>
            <a:ext cx="2831786" cy="1114873"/>
          </a:xfrm>
          <a:prstGeom prst="rect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sz="2000" dirty="0" smtClean="0">
                <a:latin typeface="Raleway" panose="020B0003030101060003" pitchFamily="34" charset="0"/>
              </a:rPr>
              <a:t>Live agent works</a:t>
            </a:r>
          </a:p>
          <a:p>
            <a:pPr algn="ctr">
              <a:lnSpc>
                <a:spcPct val="150000"/>
              </a:lnSpc>
            </a:pPr>
            <a:r>
              <a:rPr lang="en-US" sz="2000" dirty="0" err="1" smtClean="0">
                <a:latin typeface="Raleway" panose="020B0003030101060003" pitchFamily="34" charset="0"/>
              </a:rPr>
              <a:t>ccRobot</a:t>
            </a:r>
            <a:r>
              <a:rPr lang="en-US" sz="2000" dirty="0" smtClean="0">
                <a:latin typeface="Raleway" panose="020B0003030101060003" pitchFamily="34" charset="0"/>
              </a:rPr>
              <a:t> learns</a:t>
            </a:r>
            <a:endParaRPr lang="en-US" sz="2000" dirty="0">
              <a:latin typeface="Raleway" panose="020B0003030101060003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646764" y="6006087"/>
            <a:ext cx="2935645" cy="418448"/>
          </a:xfrm>
          <a:prstGeom prst="rect">
            <a:avLst/>
          </a:prstGeom>
          <a:noFill/>
          <a:ln w="28575">
            <a:noFill/>
          </a:ln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Raleway" panose="020B0003030101060003" pitchFamily="34" charset="0"/>
              </a:rPr>
              <a:t>Semi-automatic Mode</a:t>
            </a:r>
            <a:endParaRPr lang="en-CA" sz="1600" b="1" dirty="0">
              <a:solidFill>
                <a:schemeClr val="bg1"/>
              </a:solidFill>
              <a:latin typeface="Raleway" panose="020B0003030101060003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756982" y="6019738"/>
            <a:ext cx="1947753" cy="418448"/>
          </a:xfrm>
          <a:prstGeom prst="rect">
            <a:avLst/>
          </a:prstGeom>
          <a:noFill/>
          <a:ln w="28575">
            <a:noFill/>
          </a:ln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Raleway" panose="020B0003030101060003" pitchFamily="34" charset="0"/>
              </a:rPr>
              <a:t>Automatic Mode</a:t>
            </a:r>
            <a:endParaRPr lang="en-CA" sz="1600" b="1" dirty="0">
              <a:solidFill>
                <a:schemeClr val="bg1"/>
              </a:solidFill>
              <a:latin typeface="Raleway" panose="020B0003030101060003" pitchFamily="34" charset="0"/>
            </a:endParaRPr>
          </a:p>
        </p:txBody>
      </p:sp>
      <p:sp>
        <p:nvSpPr>
          <p:cNvPr id="31" name="Right Arrow 30"/>
          <p:cNvSpPr/>
          <p:nvPr/>
        </p:nvSpPr>
        <p:spPr>
          <a:xfrm>
            <a:off x="4069042" y="5178679"/>
            <a:ext cx="391767" cy="409074"/>
          </a:xfrm>
          <a:prstGeom prst="rightArrow">
            <a:avLst/>
          </a:pr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Arrow 31"/>
          <p:cNvSpPr/>
          <p:nvPr/>
        </p:nvSpPr>
        <p:spPr>
          <a:xfrm>
            <a:off x="7706946" y="5178679"/>
            <a:ext cx="391767" cy="409074"/>
          </a:xfrm>
          <a:prstGeom prst="rightArrow">
            <a:avLst/>
          </a:pr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4265" y="2679115"/>
            <a:ext cx="2831786" cy="2157984"/>
          </a:xfrm>
          <a:prstGeom prst="rect">
            <a:avLst/>
          </a:prstGeom>
        </p:spPr>
      </p:pic>
      <p:pic>
        <p:nvPicPr>
          <p:cNvPr id="3074" name="Picture 2" descr="\\10.10.1.18\Projects\Korah\Ccr\doc\PowerPoint slides\Source images\robot-and-human-team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5"/>
          <a:stretch/>
        </p:blipFill>
        <p:spPr bwMode="auto">
          <a:xfrm>
            <a:off x="4646764" y="2679115"/>
            <a:ext cx="2834640" cy="2157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4965" y="2679115"/>
            <a:ext cx="2831786" cy="215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534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/>
        </p:nvSpPr>
        <p:spPr>
          <a:xfrm>
            <a:off x="4328398" y="3870800"/>
            <a:ext cx="3555791" cy="1531917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/>
        </p:nvSpPr>
        <p:spPr>
          <a:xfrm>
            <a:off x="4328398" y="5093959"/>
            <a:ext cx="3555791" cy="308758"/>
          </a:xfrm>
          <a:prstGeom prst="rect">
            <a:avLst/>
          </a:prstGeom>
          <a:solidFill>
            <a:srgbClr val="0084C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/>
        </p:nvSpPr>
        <p:spPr>
          <a:xfrm>
            <a:off x="4318673" y="5121380"/>
            <a:ext cx="350284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400" kern="0" dirty="0">
                <a:solidFill>
                  <a:schemeClr val="bg1"/>
                </a:solidFill>
                <a:latin typeface="Raleway" panose="020B0003030101060003" pitchFamily="34" charset="0"/>
              </a:rPr>
              <a:t>Form Filling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000055" y="2251383"/>
            <a:ext cx="3555791" cy="1531917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5010" r="9716"/>
            </a:stretch>
          </a:blip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8000055" y="3474542"/>
            <a:ext cx="3555791" cy="308758"/>
          </a:xfrm>
          <a:prstGeom prst="rect">
            <a:avLst/>
          </a:prstGeom>
          <a:solidFill>
            <a:srgbClr val="0084C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/>
        </p:nvSpPr>
        <p:spPr>
          <a:xfrm>
            <a:off x="8000057" y="3870802"/>
            <a:ext cx="3555791" cy="1531917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/>
        </p:nvSpPr>
        <p:spPr>
          <a:xfrm>
            <a:off x="8000057" y="5093961"/>
            <a:ext cx="3555791" cy="308758"/>
          </a:xfrm>
          <a:prstGeom prst="rect">
            <a:avLst/>
          </a:prstGeom>
          <a:solidFill>
            <a:srgbClr val="0084C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481253" y="34056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50476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Mixed-Media Response Modules</a:t>
            </a:r>
          </a:p>
        </p:txBody>
      </p:sp>
      <p:grpSp>
        <p:nvGrpSpPr>
          <p:cNvPr id="34" name="Group 41"/>
          <p:cNvGrpSpPr>
            <a:grpSpLocks noChangeAspect="1"/>
          </p:cNvGrpSpPr>
          <p:nvPr/>
        </p:nvGrpSpPr>
        <p:grpSpPr bwMode="auto">
          <a:xfrm>
            <a:off x="607003" y="772554"/>
            <a:ext cx="363599" cy="365760"/>
            <a:chOff x="3501" y="1820"/>
            <a:chExt cx="673" cy="677"/>
          </a:xfrm>
          <a:gradFill>
            <a:gsLst>
              <a:gs pos="0">
                <a:srgbClr val="0084CB"/>
              </a:gs>
              <a:gs pos="100000">
                <a:srgbClr val="00C2F3"/>
              </a:gs>
            </a:gsLst>
            <a:lin ang="5400000" scaled="1"/>
          </a:gradFill>
        </p:grpSpPr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3978" y="2035"/>
              <a:ext cx="196" cy="393"/>
            </a:xfrm>
            <a:custGeom>
              <a:avLst/>
              <a:gdLst>
                <a:gd name="T0" fmla="*/ 835 w 980"/>
                <a:gd name="T1" fmla="*/ 0 h 1963"/>
                <a:gd name="T2" fmla="*/ 871 w 980"/>
                <a:gd name="T3" fmla="*/ 84 h 1963"/>
                <a:gd name="T4" fmla="*/ 902 w 980"/>
                <a:gd name="T5" fmla="*/ 170 h 1963"/>
                <a:gd name="T6" fmla="*/ 928 w 980"/>
                <a:gd name="T7" fmla="*/ 258 h 1963"/>
                <a:gd name="T8" fmla="*/ 949 w 980"/>
                <a:gd name="T9" fmla="*/ 347 h 1963"/>
                <a:gd name="T10" fmla="*/ 965 w 980"/>
                <a:gd name="T11" fmla="*/ 436 h 1963"/>
                <a:gd name="T12" fmla="*/ 975 w 980"/>
                <a:gd name="T13" fmla="*/ 526 h 1963"/>
                <a:gd name="T14" fmla="*/ 980 w 980"/>
                <a:gd name="T15" fmla="*/ 617 h 1963"/>
                <a:gd name="T16" fmla="*/ 980 w 980"/>
                <a:gd name="T17" fmla="*/ 708 h 1963"/>
                <a:gd name="T18" fmla="*/ 975 w 980"/>
                <a:gd name="T19" fmla="*/ 798 h 1963"/>
                <a:gd name="T20" fmla="*/ 966 w 980"/>
                <a:gd name="T21" fmla="*/ 889 h 1963"/>
                <a:gd name="T22" fmla="*/ 950 w 980"/>
                <a:gd name="T23" fmla="*/ 977 h 1963"/>
                <a:gd name="T24" fmla="*/ 929 w 980"/>
                <a:gd name="T25" fmla="*/ 1066 h 1963"/>
                <a:gd name="T26" fmla="*/ 904 w 980"/>
                <a:gd name="T27" fmla="*/ 1154 h 1963"/>
                <a:gd name="T28" fmla="*/ 873 w 980"/>
                <a:gd name="T29" fmla="*/ 1241 h 1963"/>
                <a:gd name="T30" fmla="*/ 837 w 980"/>
                <a:gd name="T31" fmla="*/ 1326 h 1963"/>
                <a:gd name="T32" fmla="*/ 796 w 980"/>
                <a:gd name="T33" fmla="*/ 1408 h 1963"/>
                <a:gd name="T34" fmla="*/ 749 w 980"/>
                <a:gd name="T35" fmla="*/ 1489 h 1963"/>
                <a:gd name="T36" fmla="*/ 697 w 980"/>
                <a:gd name="T37" fmla="*/ 1567 h 1963"/>
                <a:gd name="T38" fmla="*/ 641 w 980"/>
                <a:gd name="T39" fmla="*/ 1643 h 1963"/>
                <a:gd name="T40" fmla="*/ 579 w 980"/>
                <a:gd name="T41" fmla="*/ 1717 h 1963"/>
                <a:gd name="T42" fmla="*/ 824 w 980"/>
                <a:gd name="T43" fmla="*/ 1963 h 1963"/>
                <a:gd name="T44" fmla="*/ 0 w 980"/>
                <a:gd name="T45" fmla="*/ 1963 h 1963"/>
                <a:gd name="T46" fmla="*/ 0 w 980"/>
                <a:gd name="T47" fmla="*/ 1134 h 1963"/>
                <a:gd name="T48" fmla="*/ 237 w 980"/>
                <a:gd name="T49" fmla="*/ 1373 h 1963"/>
                <a:gd name="T50" fmla="*/ 285 w 980"/>
                <a:gd name="T51" fmla="*/ 1313 h 1963"/>
                <a:gd name="T52" fmla="*/ 327 w 980"/>
                <a:gd name="T53" fmla="*/ 1251 h 1963"/>
                <a:gd name="T54" fmla="*/ 366 w 980"/>
                <a:gd name="T55" fmla="*/ 1188 h 1963"/>
                <a:gd name="T56" fmla="*/ 399 w 980"/>
                <a:gd name="T57" fmla="*/ 1122 h 1963"/>
                <a:gd name="T58" fmla="*/ 427 w 980"/>
                <a:gd name="T59" fmla="*/ 1054 h 1963"/>
                <a:gd name="T60" fmla="*/ 451 w 980"/>
                <a:gd name="T61" fmla="*/ 985 h 1963"/>
                <a:gd name="T62" fmla="*/ 470 w 980"/>
                <a:gd name="T63" fmla="*/ 915 h 1963"/>
                <a:gd name="T64" fmla="*/ 484 w 980"/>
                <a:gd name="T65" fmla="*/ 844 h 1963"/>
                <a:gd name="T66" fmla="*/ 494 w 980"/>
                <a:gd name="T67" fmla="*/ 773 h 1963"/>
                <a:gd name="T68" fmla="*/ 498 w 980"/>
                <a:gd name="T69" fmla="*/ 700 h 1963"/>
                <a:gd name="T70" fmla="*/ 499 w 980"/>
                <a:gd name="T71" fmla="*/ 628 h 1963"/>
                <a:gd name="T72" fmla="*/ 494 w 980"/>
                <a:gd name="T73" fmla="*/ 556 h 1963"/>
                <a:gd name="T74" fmla="*/ 484 w 980"/>
                <a:gd name="T75" fmla="*/ 484 h 1963"/>
                <a:gd name="T76" fmla="*/ 470 w 980"/>
                <a:gd name="T77" fmla="*/ 413 h 1963"/>
                <a:gd name="T78" fmla="*/ 451 w 980"/>
                <a:gd name="T79" fmla="*/ 343 h 1963"/>
                <a:gd name="T80" fmla="*/ 427 w 980"/>
                <a:gd name="T81" fmla="*/ 274 h 1963"/>
                <a:gd name="T82" fmla="*/ 399 w 980"/>
                <a:gd name="T83" fmla="*/ 207 h 1963"/>
                <a:gd name="T84" fmla="*/ 835 w 980"/>
                <a:gd name="T8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0" h="1963">
                  <a:moveTo>
                    <a:pt x="835" y="0"/>
                  </a:moveTo>
                  <a:lnTo>
                    <a:pt x="871" y="84"/>
                  </a:lnTo>
                  <a:lnTo>
                    <a:pt x="902" y="170"/>
                  </a:lnTo>
                  <a:lnTo>
                    <a:pt x="928" y="258"/>
                  </a:lnTo>
                  <a:lnTo>
                    <a:pt x="949" y="347"/>
                  </a:lnTo>
                  <a:lnTo>
                    <a:pt x="965" y="436"/>
                  </a:lnTo>
                  <a:lnTo>
                    <a:pt x="975" y="526"/>
                  </a:lnTo>
                  <a:lnTo>
                    <a:pt x="980" y="617"/>
                  </a:lnTo>
                  <a:lnTo>
                    <a:pt x="980" y="708"/>
                  </a:lnTo>
                  <a:lnTo>
                    <a:pt x="975" y="798"/>
                  </a:lnTo>
                  <a:lnTo>
                    <a:pt x="966" y="889"/>
                  </a:lnTo>
                  <a:lnTo>
                    <a:pt x="950" y="977"/>
                  </a:lnTo>
                  <a:lnTo>
                    <a:pt x="929" y="1066"/>
                  </a:lnTo>
                  <a:lnTo>
                    <a:pt x="904" y="1154"/>
                  </a:lnTo>
                  <a:lnTo>
                    <a:pt x="873" y="1241"/>
                  </a:lnTo>
                  <a:lnTo>
                    <a:pt x="837" y="1326"/>
                  </a:lnTo>
                  <a:lnTo>
                    <a:pt x="796" y="1408"/>
                  </a:lnTo>
                  <a:lnTo>
                    <a:pt x="749" y="1489"/>
                  </a:lnTo>
                  <a:lnTo>
                    <a:pt x="697" y="1567"/>
                  </a:lnTo>
                  <a:lnTo>
                    <a:pt x="641" y="1643"/>
                  </a:lnTo>
                  <a:lnTo>
                    <a:pt x="579" y="1717"/>
                  </a:lnTo>
                  <a:lnTo>
                    <a:pt x="824" y="1963"/>
                  </a:lnTo>
                  <a:lnTo>
                    <a:pt x="0" y="1963"/>
                  </a:lnTo>
                  <a:lnTo>
                    <a:pt x="0" y="1134"/>
                  </a:lnTo>
                  <a:lnTo>
                    <a:pt x="237" y="1373"/>
                  </a:lnTo>
                  <a:lnTo>
                    <a:pt x="285" y="1313"/>
                  </a:lnTo>
                  <a:lnTo>
                    <a:pt x="327" y="1251"/>
                  </a:lnTo>
                  <a:lnTo>
                    <a:pt x="366" y="1188"/>
                  </a:lnTo>
                  <a:lnTo>
                    <a:pt x="399" y="1122"/>
                  </a:lnTo>
                  <a:lnTo>
                    <a:pt x="427" y="1054"/>
                  </a:lnTo>
                  <a:lnTo>
                    <a:pt x="451" y="985"/>
                  </a:lnTo>
                  <a:lnTo>
                    <a:pt x="470" y="915"/>
                  </a:lnTo>
                  <a:lnTo>
                    <a:pt x="484" y="844"/>
                  </a:lnTo>
                  <a:lnTo>
                    <a:pt x="494" y="773"/>
                  </a:lnTo>
                  <a:lnTo>
                    <a:pt x="498" y="700"/>
                  </a:lnTo>
                  <a:lnTo>
                    <a:pt x="499" y="628"/>
                  </a:lnTo>
                  <a:lnTo>
                    <a:pt x="494" y="556"/>
                  </a:lnTo>
                  <a:lnTo>
                    <a:pt x="484" y="484"/>
                  </a:lnTo>
                  <a:lnTo>
                    <a:pt x="470" y="413"/>
                  </a:lnTo>
                  <a:lnTo>
                    <a:pt x="451" y="343"/>
                  </a:lnTo>
                  <a:lnTo>
                    <a:pt x="427" y="274"/>
                  </a:lnTo>
                  <a:lnTo>
                    <a:pt x="399" y="207"/>
                  </a:lnTo>
                  <a:lnTo>
                    <a:pt x="83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4"/>
            <p:cNvSpPr>
              <a:spLocks/>
            </p:cNvSpPr>
            <p:nvPr/>
          </p:nvSpPr>
          <p:spPr bwMode="auto">
            <a:xfrm>
              <a:off x="3569" y="2300"/>
              <a:ext cx="391" cy="197"/>
            </a:xfrm>
            <a:custGeom>
              <a:avLst/>
              <a:gdLst>
                <a:gd name="T0" fmla="*/ 0 w 1953"/>
                <a:gd name="T1" fmla="*/ 0 h 986"/>
                <a:gd name="T2" fmla="*/ 825 w 1953"/>
                <a:gd name="T3" fmla="*/ 0 h 986"/>
                <a:gd name="T4" fmla="*/ 588 w 1953"/>
                <a:gd name="T5" fmla="*/ 239 h 986"/>
                <a:gd name="T6" fmla="*/ 648 w 1953"/>
                <a:gd name="T7" fmla="*/ 287 h 986"/>
                <a:gd name="T8" fmla="*/ 709 w 1953"/>
                <a:gd name="T9" fmla="*/ 330 h 986"/>
                <a:gd name="T10" fmla="*/ 772 w 1953"/>
                <a:gd name="T11" fmla="*/ 367 h 986"/>
                <a:gd name="T12" fmla="*/ 838 w 1953"/>
                <a:gd name="T13" fmla="*/ 401 h 986"/>
                <a:gd name="T14" fmla="*/ 905 w 1953"/>
                <a:gd name="T15" fmla="*/ 430 h 986"/>
                <a:gd name="T16" fmla="*/ 974 w 1953"/>
                <a:gd name="T17" fmla="*/ 454 h 986"/>
                <a:gd name="T18" fmla="*/ 1044 w 1953"/>
                <a:gd name="T19" fmla="*/ 473 h 986"/>
                <a:gd name="T20" fmla="*/ 1114 w 1953"/>
                <a:gd name="T21" fmla="*/ 488 h 986"/>
                <a:gd name="T22" fmla="*/ 1185 w 1953"/>
                <a:gd name="T23" fmla="*/ 497 h 986"/>
                <a:gd name="T24" fmla="*/ 1257 w 1953"/>
                <a:gd name="T25" fmla="*/ 502 h 986"/>
                <a:gd name="T26" fmla="*/ 1329 w 1953"/>
                <a:gd name="T27" fmla="*/ 502 h 986"/>
                <a:gd name="T28" fmla="*/ 1400 w 1953"/>
                <a:gd name="T29" fmla="*/ 497 h 986"/>
                <a:gd name="T30" fmla="*/ 1471 w 1953"/>
                <a:gd name="T31" fmla="*/ 488 h 986"/>
                <a:gd name="T32" fmla="*/ 1542 w 1953"/>
                <a:gd name="T33" fmla="*/ 473 h 986"/>
                <a:gd name="T34" fmla="*/ 1611 w 1953"/>
                <a:gd name="T35" fmla="*/ 454 h 986"/>
                <a:gd name="T36" fmla="*/ 1680 w 1953"/>
                <a:gd name="T37" fmla="*/ 430 h 986"/>
                <a:gd name="T38" fmla="*/ 1747 w 1953"/>
                <a:gd name="T39" fmla="*/ 402 h 986"/>
                <a:gd name="T40" fmla="*/ 1953 w 1953"/>
                <a:gd name="T41" fmla="*/ 839 h 986"/>
                <a:gd name="T42" fmla="*/ 1869 w 1953"/>
                <a:gd name="T43" fmla="*/ 875 h 986"/>
                <a:gd name="T44" fmla="*/ 1784 w 1953"/>
                <a:gd name="T45" fmla="*/ 907 h 986"/>
                <a:gd name="T46" fmla="*/ 1697 w 1953"/>
                <a:gd name="T47" fmla="*/ 933 h 986"/>
                <a:gd name="T48" fmla="*/ 1608 w 1953"/>
                <a:gd name="T49" fmla="*/ 955 h 986"/>
                <a:gd name="T50" fmla="*/ 1520 w 1953"/>
                <a:gd name="T51" fmla="*/ 971 h 986"/>
                <a:gd name="T52" fmla="*/ 1429 w 1953"/>
                <a:gd name="T53" fmla="*/ 981 h 986"/>
                <a:gd name="T54" fmla="*/ 1340 w 1953"/>
                <a:gd name="T55" fmla="*/ 986 h 986"/>
                <a:gd name="T56" fmla="*/ 1250 w 1953"/>
                <a:gd name="T57" fmla="*/ 986 h 986"/>
                <a:gd name="T58" fmla="*/ 1159 w 1953"/>
                <a:gd name="T59" fmla="*/ 981 h 986"/>
                <a:gd name="T60" fmla="*/ 1070 w 1953"/>
                <a:gd name="T61" fmla="*/ 972 h 986"/>
                <a:gd name="T62" fmla="*/ 980 w 1953"/>
                <a:gd name="T63" fmla="*/ 956 h 986"/>
                <a:gd name="T64" fmla="*/ 892 w 1953"/>
                <a:gd name="T65" fmla="*/ 935 h 986"/>
                <a:gd name="T66" fmla="*/ 806 w 1953"/>
                <a:gd name="T67" fmla="*/ 909 h 986"/>
                <a:gd name="T68" fmla="*/ 719 w 1953"/>
                <a:gd name="T69" fmla="*/ 879 h 986"/>
                <a:gd name="T70" fmla="*/ 635 w 1953"/>
                <a:gd name="T71" fmla="*/ 842 h 986"/>
                <a:gd name="T72" fmla="*/ 553 w 1953"/>
                <a:gd name="T73" fmla="*/ 801 h 986"/>
                <a:gd name="T74" fmla="*/ 472 w 1953"/>
                <a:gd name="T75" fmla="*/ 754 h 986"/>
                <a:gd name="T76" fmla="*/ 394 w 1953"/>
                <a:gd name="T77" fmla="*/ 702 h 986"/>
                <a:gd name="T78" fmla="*/ 319 w 1953"/>
                <a:gd name="T79" fmla="*/ 645 h 986"/>
                <a:gd name="T80" fmla="*/ 246 w 1953"/>
                <a:gd name="T81" fmla="*/ 583 h 986"/>
                <a:gd name="T82" fmla="*/ 0 w 1953"/>
                <a:gd name="T83" fmla="*/ 829 h 986"/>
                <a:gd name="T84" fmla="*/ 0 w 1953"/>
                <a:gd name="T85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53" h="986">
                  <a:moveTo>
                    <a:pt x="0" y="0"/>
                  </a:moveTo>
                  <a:lnTo>
                    <a:pt x="825" y="0"/>
                  </a:lnTo>
                  <a:lnTo>
                    <a:pt x="588" y="239"/>
                  </a:lnTo>
                  <a:lnTo>
                    <a:pt x="648" y="287"/>
                  </a:lnTo>
                  <a:lnTo>
                    <a:pt x="709" y="330"/>
                  </a:lnTo>
                  <a:lnTo>
                    <a:pt x="772" y="367"/>
                  </a:lnTo>
                  <a:lnTo>
                    <a:pt x="838" y="401"/>
                  </a:lnTo>
                  <a:lnTo>
                    <a:pt x="905" y="430"/>
                  </a:lnTo>
                  <a:lnTo>
                    <a:pt x="974" y="454"/>
                  </a:lnTo>
                  <a:lnTo>
                    <a:pt x="1044" y="473"/>
                  </a:lnTo>
                  <a:lnTo>
                    <a:pt x="1114" y="488"/>
                  </a:lnTo>
                  <a:lnTo>
                    <a:pt x="1185" y="497"/>
                  </a:lnTo>
                  <a:lnTo>
                    <a:pt x="1257" y="502"/>
                  </a:lnTo>
                  <a:lnTo>
                    <a:pt x="1329" y="502"/>
                  </a:lnTo>
                  <a:lnTo>
                    <a:pt x="1400" y="497"/>
                  </a:lnTo>
                  <a:lnTo>
                    <a:pt x="1471" y="488"/>
                  </a:lnTo>
                  <a:lnTo>
                    <a:pt x="1542" y="473"/>
                  </a:lnTo>
                  <a:lnTo>
                    <a:pt x="1611" y="454"/>
                  </a:lnTo>
                  <a:lnTo>
                    <a:pt x="1680" y="430"/>
                  </a:lnTo>
                  <a:lnTo>
                    <a:pt x="1747" y="402"/>
                  </a:lnTo>
                  <a:lnTo>
                    <a:pt x="1953" y="839"/>
                  </a:lnTo>
                  <a:lnTo>
                    <a:pt x="1869" y="875"/>
                  </a:lnTo>
                  <a:lnTo>
                    <a:pt x="1784" y="907"/>
                  </a:lnTo>
                  <a:lnTo>
                    <a:pt x="1697" y="933"/>
                  </a:lnTo>
                  <a:lnTo>
                    <a:pt x="1608" y="955"/>
                  </a:lnTo>
                  <a:lnTo>
                    <a:pt x="1520" y="971"/>
                  </a:lnTo>
                  <a:lnTo>
                    <a:pt x="1429" y="981"/>
                  </a:lnTo>
                  <a:lnTo>
                    <a:pt x="1340" y="986"/>
                  </a:lnTo>
                  <a:lnTo>
                    <a:pt x="1250" y="986"/>
                  </a:lnTo>
                  <a:lnTo>
                    <a:pt x="1159" y="981"/>
                  </a:lnTo>
                  <a:lnTo>
                    <a:pt x="1070" y="972"/>
                  </a:lnTo>
                  <a:lnTo>
                    <a:pt x="980" y="956"/>
                  </a:lnTo>
                  <a:lnTo>
                    <a:pt x="892" y="935"/>
                  </a:lnTo>
                  <a:lnTo>
                    <a:pt x="806" y="909"/>
                  </a:lnTo>
                  <a:lnTo>
                    <a:pt x="719" y="879"/>
                  </a:lnTo>
                  <a:lnTo>
                    <a:pt x="635" y="842"/>
                  </a:lnTo>
                  <a:lnTo>
                    <a:pt x="553" y="801"/>
                  </a:lnTo>
                  <a:lnTo>
                    <a:pt x="472" y="754"/>
                  </a:lnTo>
                  <a:lnTo>
                    <a:pt x="394" y="702"/>
                  </a:lnTo>
                  <a:lnTo>
                    <a:pt x="319" y="645"/>
                  </a:lnTo>
                  <a:lnTo>
                    <a:pt x="246" y="583"/>
                  </a:lnTo>
                  <a:lnTo>
                    <a:pt x="0" y="8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5"/>
            <p:cNvSpPr>
              <a:spLocks/>
            </p:cNvSpPr>
            <p:nvPr/>
          </p:nvSpPr>
          <p:spPr bwMode="auto">
            <a:xfrm>
              <a:off x="3501" y="1888"/>
              <a:ext cx="196" cy="393"/>
            </a:xfrm>
            <a:custGeom>
              <a:avLst/>
              <a:gdLst>
                <a:gd name="T0" fmla="*/ 155 w 980"/>
                <a:gd name="T1" fmla="*/ 0 h 1964"/>
                <a:gd name="T2" fmla="*/ 980 w 980"/>
                <a:gd name="T3" fmla="*/ 0 h 1964"/>
                <a:gd name="T4" fmla="*/ 980 w 980"/>
                <a:gd name="T5" fmla="*/ 830 h 1964"/>
                <a:gd name="T6" fmla="*/ 743 w 980"/>
                <a:gd name="T7" fmla="*/ 592 h 1964"/>
                <a:gd name="T8" fmla="*/ 695 w 980"/>
                <a:gd name="T9" fmla="*/ 651 h 1964"/>
                <a:gd name="T10" fmla="*/ 653 w 980"/>
                <a:gd name="T11" fmla="*/ 713 h 1964"/>
                <a:gd name="T12" fmla="*/ 614 w 980"/>
                <a:gd name="T13" fmla="*/ 777 h 1964"/>
                <a:gd name="T14" fmla="*/ 581 w 980"/>
                <a:gd name="T15" fmla="*/ 843 h 1964"/>
                <a:gd name="T16" fmla="*/ 553 w 980"/>
                <a:gd name="T17" fmla="*/ 909 h 1964"/>
                <a:gd name="T18" fmla="*/ 529 w 980"/>
                <a:gd name="T19" fmla="*/ 978 h 1964"/>
                <a:gd name="T20" fmla="*/ 510 w 980"/>
                <a:gd name="T21" fmla="*/ 1050 h 1964"/>
                <a:gd name="T22" fmla="*/ 496 w 980"/>
                <a:gd name="T23" fmla="*/ 1120 h 1964"/>
                <a:gd name="T24" fmla="*/ 487 w 980"/>
                <a:gd name="T25" fmla="*/ 1192 h 1964"/>
                <a:gd name="T26" fmla="*/ 481 w 980"/>
                <a:gd name="T27" fmla="*/ 1264 h 1964"/>
                <a:gd name="T28" fmla="*/ 481 w 980"/>
                <a:gd name="T29" fmla="*/ 1336 h 1964"/>
                <a:gd name="T30" fmla="*/ 487 w 980"/>
                <a:gd name="T31" fmla="*/ 1408 h 1964"/>
                <a:gd name="T32" fmla="*/ 496 w 980"/>
                <a:gd name="T33" fmla="*/ 1479 h 1964"/>
                <a:gd name="T34" fmla="*/ 509 w 980"/>
                <a:gd name="T35" fmla="*/ 1550 h 1964"/>
                <a:gd name="T36" fmla="*/ 529 w 980"/>
                <a:gd name="T37" fmla="*/ 1620 h 1964"/>
                <a:gd name="T38" fmla="*/ 552 w 980"/>
                <a:gd name="T39" fmla="*/ 1689 h 1964"/>
                <a:gd name="T40" fmla="*/ 581 w 980"/>
                <a:gd name="T41" fmla="*/ 1757 h 1964"/>
                <a:gd name="T42" fmla="*/ 146 w 980"/>
                <a:gd name="T43" fmla="*/ 1964 h 1964"/>
                <a:gd name="T44" fmla="*/ 109 w 980"/>
                <a:gd name="T45" fmla="*/ 1880 h 1964"/>
                <a:gd name="T46" fmla="*/ 78 w 980"/>
                <a:gd name="T47" fmla="*/ 1794 h 1964"/>
                <a:gd name="T48" fmla="*/ 52 w 980"/>
                <a:gd name="T49" fmla="*/ 1706 h 1964"/>
                <a:gd name="T50" fmla="*/ 31 w 980"/>
                <a:gd name="T51" fmla="*/ 1617 h 1964"/>
                <a:gd name="T52" fmla="*/ 16 w 980"/>
                <a:gd name="T53" fmla="*/ 1528 h 1964"/>
                <a:gd name="T54" fmla="*/ 5 w 980"/>
                <a:gd name="T55" fmla="*/ 1437 h 1964"/>
                <a:gd name="T56" fmla="*/ 0 w 980"/>
                <a:gd name="T57" fmla="*/ 1348 h 1964"/>
                <a:gd name="T58" fmla="*/ 0 w 980"/>
                <a:gd name="T59" fmla="*/ 1257 h 1964"/>
                <a:gd name="T60" fmla="*/ 4 w 980"/>
                <a:gd name="T61" fmla="*/ 1166 h 1964"/>
                <a:gd name="T62" fmla="*/ 15 w 980"/>
                <a:gd name="T63" fmla="*/ 1076 h 1964"/>
                <a:gd name="T64" fmla="*/ 30 w 980"/>
                <a:gd name="T65" fmla="*/ 986 h 1964"/>
                <a:gd name="T66" fmla="*/ 51 w 980"/>
                <a:gd name="T67" fmla="*/ 897 h 1964"/>
                <a:gd name="T68" fmla="*/ 76 w 980"/>
                <a:gd name="T69" fmla="*/ 810 h 1964"/>
                <a:gd name="T70" fmla="*/ 107 w 980"/>
                <a:gd name="T71" fmla="*/ 723 h 1964"/>
                <a:gd name="T72" fmla="*/ 143 w 980"/>
                <a:gd name="T73" fmla="*/ 639 h 1964"/>
                <a:gd name="T74" fmla="*/ 184 w 980"/>
                <a:gd name="T75" fmla="*/ 556 h 1964"/>
                <a:gd name="T76" fmla="*/ 231 w 980"/>
                <a:gd name="T77" fmla="*/ 475 h 1964"/>
                <a:gd name="T78" fmla="*/ 282 w 980"/>
                <a:gd name="T79" fmla="*/ 396 h 1964"/>
                <a:gd name="T80" fmla="*/ 339 w 980"/>
                <a:gd name="T81" fmla="*/ 320 h 1964"/>
                <a:gd name="T82" fmla="*/ 400 w 980"/>
                <a:gd name="T83" fmla="*/ 247 h 1964"/>
                <a:gd name="T84" fmla="*/ 155 w 980"/>
                <a:gd name="T85" fmla="*/ 0 h 1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0" h="1964">
                  <a:moveTo>
                    <a:pt x="155" y="0"/>
                  </a:moveTo>
                  <a:lnTo>
                    <a:pt x="980" y="0"/>
                  </a:lnTo>
                  <a:lnTo>
                    <a:pt x="980" y="830"/>
                  </a:lnTo>
                  <a:lnTo>
                    <a:pt x="743" y="592"/>
                  </a:lnTo>
                  <a:lnTo>
                    <a:pt x="695" y="651"/>
                  </a:lnTo>
                  <a:lnTo>
                    <a:pt x="653" y="713"/>
                  </a:lnTo>
                  <a:lnTo>
                    <a:pt x="614" y="777"/>
                  </a:lnTo>
                  <a:lnTo>
                    <a:pt x="581" y="843"/>
                  </a:lnTo>
                  <a:lnTo>
                    <a:pt x="553" y="909"/>
                  </a:lnTo>
                  <a:lnTo>
                    <a:pt x="529" y="978"/>
                  </a:lnTo>
                  <a:lnTo>
                    <a:pt x="510" y="1050"/>
                  </a:lnTo>
                  <a:lnTo>
                    <a:pt x="496" y="1120"/>
                  </a:lnTo>
                  <a:lnTo>
                    <a:pt x="487" y="1192"/>
                  </a:lnTo>
                  <a:lnTo>
                    <a:pt x="481" y="1264"/>
                  </a:lnTo>
                  <a:lnTo>
                    <a:pt x="481" y="1336"/>
                  </a:lnTo>
                  <a:lnTo>
                    <a:pt x="487" y="1408"/>
                  </a:lnTo>
                  <a:lnTo>
                    <a:pt x="496" y="1479"/>
                  </a:lnTo>
                  <a:lnTo>
                    <a:pt x="509" y="1550"/>
                  </a:lnTo>
                  <a:lnTo>
                    <a:pt x="529" y="1620"/>
                  </a:lnTo>
                  <a:lnTo>
                    <a:pt x="552" y="1689"/>
                  </a:lnTo>
                  <a:lnTo>
                    <a:pt x="581" y="1757"/>
                  </a:lnTo>
                  <a:lnTo>
                    <a:pt x="146" y="1964"/>
                  </a:lnTo>
                  <a:lnTo>
                    <a:pt x="109" y="1880"/>
                  </a:lnTo>
                  <a:lnTo>
                    <a:pt x="78" y="1794"/>
                  </a:lnTo>
                  <a:lnTo>
                    <a:pt x="52" y="1706"/>
                  </a:lnTo>
                  <a:lnTo>
                    <a:pt x="31" y="1617"/>
                  </a:lnTo>
                  <a:lnTo>
                    <a:pt x="16" y="1528"/>
                  </a:lnTo>
                  <a:lnTo>
                    <a:pt x="5" y="1437"/>
                  </a:lnTo>
                  <a:lnTo>
                    <a:pt x="0" y="1348"/>
                  </a:lnTo>
                  <a:lnTo>
                    <a:pt x="0" y="1257"/>
                  </a:lnTo>
                  <a:lnTo>
                    <a:pt x="4" y="1166"/>
                  </a:lnTo>
                  <a:lnTo>
                    <a:pt x="15" y="1076"/>
                  </a:lnTo>
                  <a:lnTo>
                    <a:pt x="30" y="986"/>
                  </a:lnTo>
                  <a:lnTo>
                    <a:pt x="51" y="897"/>
                  </a:lnTo>
                  <a:lnTo>
                    <a:pt x="76" y="810"/>
                  </a:lnTo>
                  <a:lnTo>
                    <a:pt x="107" y="723"/>
                  </a:lnTo>
                  <a:lnTo>
                    <a:pt x="143" y="639"/>
                  </a:lnTo>
                  <a:lnTo>
                    <a:pt x="184" y="556"/>
                  </a:lnTo>
                  <a:lnTo>
                    <a:pt x="231" y="475"/>
                  </a:lnTo>
                  <a:lnTo>
                    <a:pt x="282" y="396"/>
                  </a:lnTo>
                  <a:lnTo>
                    <a:pt x="339" y="320"/>
                  </a:lnTo>
                  <a:lnTo>
                    <a:pt x="400" y="247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46"/>
            <p:cNvSpPr>
              <a:spLocks/>
            </p:cNvSpPr>
            <p:nvPr/>
          </p:nvSpPr>
          <p:spPr bwMode="auto">
            <a:xfrm>
              <a:off x="3715" y="1820"/>
              <a:ext cx="391" cy="197"/>
            </a:xfrm>
            <a:custGeom>
              <a:avLst/>
              <a:gdLst>
                <a:gd name="T0" fmla="*/ 705 w 1953"/>
                <a:gd name="T1" fmla="*/ 0 h 986"/>
                <a:gd name="T2" fmla="*/ 794 w 1953"/>
                <a:gd name="T3" fmla="*/ 4 h 986"/>
                <a:gd name="T4" fmla="*/ 884 w 1953"/>
                <a:gd name="T5" fmla="*/ 15 h 986"/>
                <a:gd name="T6" fmla="*/ 973 w 1953"/>
                <a:gd name="T7" fmla="*/ 30 h 986"/>
                <a:gd name="T8" fmla="*/ 1061 w 1953"/>
                <a:gd name="T9" fmla="*/ 51 h 986"/>
                <a:gd name="T10" fmla="*/ 1148 w 1953"/>
                <a:gd name="T11" fmla="*/ 76 h 986"/>
                <a:gd name="T12" fmla="*/ 1235 w 1953"/>
                <a:gd name="T13" fmla="*/ 108 h 986"/>
                <a:gd name="T14" fmla="*/ 1319 w 1953"/>
                <a:gd name="T15" fmla="*/ 144 h 986"/>
                <a:gd name="T16" fmla="*/ 1401 w 1953"/>
                <a:gd name="T17" fmla="*/ 185 h 986"/>
                <a:gd name="T18" fmla="*/ 1482 w 1953"/>
                <a:gd name="T19" fmla="*/ 232 h 986"/>
                <a:gd name="T20" fmla="*/ 1560 w 1953"/>
                <a:gd name="T21" fmla="*/ 283 h 986"/>
                <a:gd name="T22" fmla="*/ 1635 w 1953"/>
                <a:gd name="T23" fmla="*/ 341 h 986"/>
                <a:gd name="T24" fmla="*/ 1708 w 1953"/>
                <a:gd name="T25" fmla="*/ 403 h 986"/>
                <a:gd name="T26" fmla="*/ 1953 w 1953"/>
                <a:gd name="T27" fmla="*/ 156 h 986"/>
                <a:gd name="T28" fmla="*/ 1953 w 1953"/>
                <a:gd name="T29" fmla="*/ 986 h 986"/>
                <a:gd name="T30" fmla="*/ 1129 w 1953"/>
                <a:gd name="T31" fmla="*/ 986 h 986"/>
                <a:gd name="T32" fmla="*/ 1366 w 1953"/>
                <a:gd name="T33" fmla="*/ 748 h 986"/>
                <a:gd name="T34" fmla="*/ 1307 w 1953"/>
                <a:gd name="T35" fmla="*/ 699 h 986"/>
                <a:gd name="T36" fmla="*/ 1245 w 1953"/>
                <a:gd name="T37" fmla="*/ 657 h 986"/>
                <a:gd name="T38" fmla="*/ 1182 w 1953"/>
                <a:gd name="T39" fmla="*/ 618 h 986"/>
                <a:gd name="T40" fmla="*/ 1116 w 1953"/>
                <a:gd name="T41" fmla="*/ 584 h 986"/>
                <a:gd name="T42" fmla="*/ 1049 w 1953"/>
                <a:gd name="T43" fmla="*/ 556 h 986"/>
                <a:gd name="T44" fmla="*/ 980 w 1953"/>
                <a:gd name="T45" fmla="*/ 532 h 986"/>
                <a:gd name="T46" fmla="*/ 910 w 1953"/>
                <a:gd name="T47" fmla="*/ 513 h 986"/>
                <a:gd name="T48" fmla="*/ 840 w 1953"/>
                <a:gd name="T49" fmla="*/ 499 h 986"/>
                <a:gd name="T50" fmla="*/ 769 w 1953"/>
                <a:gd name="T51" fmla="*/ 489 h 986"/>
                <a:gd name="T52" fmla="*/ 697 w 1953"/>
                <a:gd name="T53" fmla="*/ 484 h 986"/>
                <a:gd name="T54" fmla="*/ 626 w 1953"/>
                <a:gd name="T55" fmla="*/ 484 h 986"/>
                <a:gd name="T56" fmla="*/ 554 w 1953"/>
                <a:gd name="T57" fmla="*/ 489 h 986"/>
                <a:gd name="T58" fmla="*/ 482 w 1953"/>
                <a:gd name="T59" fmla="*/ 499 h 986"/>
                <a:gd name="T60" fmla="*/ 412 w 1953"/>
                <a:gd name="T61" fmla="*/ 512 h 986"/>
                <a:gd name="T62" fmla="*/ 342 w 1953"/>
                <a:gd name="T63" fmla="*/ 532 h 986"/>
                <a:gd name="T64" fmla="*/ 273 w 1953"/>
                <a:gd name="T65" fmla="*/ 555 h 986"/>
                <a:gd name="T66" fmla="*/ 207 w 1953"/>
                <a:gd name="T67" fmla="*/ 584 h 986"/>
                <a:gd name="T68" fmla="*/ 0 w 1953"/>
                <a:gd name="T69" fmla="*/ 146 h 986"/>
                <a:gd name="T70" fmla="*/ 84 w 1953"/>
                <a:gd name="T71" fmla="*/ 110 h 986"/>
                <a:gd name="T72" fmla="*/ 170 w 1953"/>
                <a:gd name="T73" fmla="*/ 78 h 986"/>
                <a:gd name="T74" fmla="*/ 258 w 1953"/>
                <a:gd name="T75" fmla="*/ 52 h 986"/>
                <a:gd name="T76" fmla="*/ 346 w 1953"/>
                <a:gd name="T77" fmla="*/ 31 h 986"/>
                <a:gd name="T78" fmla="*/ 434 w 1953"/>
                <a:gd name="T79" fmla="*/ 16 h 986"/>
                <a:gd name="T80" fmla="*/ 524 w 1953"/>
                <a:gd name="T81" fmla="*/ 5 h 986"/>
                <a:gd name="T82" fmla="*/ 614 w 1953"/>
                <a:gd name="T83" fmla="*/ 0 h 986"/>
                <a:gd name="T84" fmla="*/ 705 w 1953"/>
                <a:gd name="T85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53" h="986">
                  <a:moveTo>
                    <a:pt x="705" y="0"/>
                  </a:moveTo>
                  <a:lnTo>
                    <a:pt x="794" y="4"/>
                  </a:lnTo>
                  <a:lnTo>
                    <a:pt x="884" y="15"/>
                  </a:lnTo>
                  <a:lnTo>
                    <a:pt x="973" y="30"/>
                  </a:lnTo>
                  <a:lnTo>
                    <a:pt x="1061" y="51"/>
                  </a:lnTo>
                  <a:lnTo>
                    <a:pt x="1148" y="76"/>
                  </a:lnTo>
                  <a:lnTo>
                    <a:pt x="1235" y="108"/>
                  </a:lnTo>
                  <a:lnTo>
                    <a:pt x="1319" y="144"/>
                  </a:lnTo>
                  <a:lnTo>
                    <a:pt x="1401" y="185"/>
                  </a:lnTo>
                  <a:lnTo>
                    <a:pt x="1482" y="232"/>
                  </a:lnTo>
                  <a:lnTo>
                    <a:pt x="1560" y="283"/>
                  </a:lnTo>
                  <a:lnTo>
                    <a:pt x="1635" y="341"/>
                  </a:lnTo>
                  <a:lnTo>
                    <a:pt x="1708" y="403"/>
                  </a:lnTo>
                  <a:lnTo>
                    <a:pt x="1953" y="156"/>
                  </a:lnTo>
                  <a:lnTo>
                    <a:pt x="1953" y="986"/>
                  </a:lnTo>
                  <a:lnTo>
                    <a:pt x="1129" y="986"/>
                  </a:lnTo>
                  <a:lnTo>
                    <a:pt x="1366" y="748"/>
                  </a:lnTo>
                  <a:lnTo>
                    <a:pt x="1307" y="699"/>
                  </a:lnTo>
                  <a:lnTo>
                    <a:pt x="1245" y="657"/>
                  </a:lnTo>
                  <a:lnTo>
                    <a:pt x="1182" y="618"/>
                  </a:lnTo>
                  <a:lnTo>
                    <a:pt x="1116" y="584"/>
                  </a:lnTo>
                  <a:lnTo>
                    <a:pt x="1049" y="556"/>
                  </a:lnTo>
                  <a:lnTo>
                    <a:pt x="980" y="532"/>
                  </a:lnTo>
                  <a:lnTo>
                    <a:pt x="910" y="513"/>
                  </a:lnTo>
                  <a:lnTo>
                    <a:pt x="840" y="499"/>
                  </a:lnTo>
                  <a:lnTo>
                    <a:pt x="769" y="489"/>
                  </a:lnTo>
                  <a:lnTo>
                    <a:pt x="697" y="484"/>
                  </a:lnTo>
                  <a:lnTo>
                    <a:pt x="626" y="484"/>
                  </a:lnTo>
                  <a:lnTo>
                    <a:pt x="554" y="489"/>
                  </a:lnTo>
                  <a:lnTo>
                    <a:pt x="482" y="499"/>
                  </a:lnTo>
                  <a:lnTo>
                    <a:pt x="412" y="512"/>
                  </a:lnTo>
                  <a:lnTo>
                    <a:pt x="342" y="532"/>
                  </a:lnTo>
                  <a:lnTo>
                    <a:pt x="273" y="555"/>
                  </a:lnTo>
                  <a:lnTo>
                    <a:pt x="207" y="584"/>
                  </a:lnTo>
                  <a:lnTo>
                    <a:pt x="0" y="146"/>
                  </a:lnTo>
                  <a:lnTo>
                    <a:pt x="84" y="110"/>
                  </a:lnTo>
                  <a:lnTo>
                    <a:pt x="170" y="78"/>
                  </a:lnTo>
                  <a:lnTo>
                    <a:pt x="258" y="52"/>
                  </a:lnTo>
                  <a:lnTo>
                    <a:pt x="346" y="31"/>
                  </a:lnTo>
                  <a:lnTo>
                    <a:pt x="434" y="16"/>
                  </a:lnTo>
                  <a:lnTo>
                    <a:pt x="524" y="5"/>
                  </a:lnTo>
                  <a:lnTo>
                    <a:pt x="614" y="0"/>
                  </a:lnTo>
                  <a:lnTo>
                    <a:pt x="70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47"/>
            <p:cNvSpPr>
              <a:spLocks/>
            </p:cNvSpPr>
            <p:nvPr/>
          </p:nvSpPr>
          <p:spPr bwMode="auto">
            <a:xfrm>
              <a:off x="3706" y="2026"/>
              <a:ext cx="263" cy="265"/>
            </a:xfrm>
            <a:custGeom>
              <a:avLst/>
              <a:gdLst>
                <a:gd name="T0" fmla="*/ 722 w 1318"/>
                <a:gd name="T1" fmla="*/ 3 h 1325"/>
                <a:gd name="T2" fmla="*/ 844 w 1318"/>
                <a:gd name="T3" fmla="*/ 27 h 1325"/>
                <a:gd name="T4" fmla="*/ 957 w 1318"/>
                <a:gd name="T5" fmla="*/ 71 h 1325"/>
                <a:gd name="T6" fmla="*/ 1058 w 1318"/>
                <a:gd name="T7" fmla="*/ 136 h 1325"/>
                <a:gd name="T8" fmla="*/ 1146 w 1318"/>
                <a:gd name="T9" fmla="*/ 216 h 1325"/>
                <a:gd name="T10" fmla="*/ 1218 w 1318"/>
                <a:gd name="T11" fmla="*/ 311 h 1325"/>
                <a:gd name="T12" fmla="*/ 1272 w 1318"/>
                <a:gd name="T13" fmla="*/ 419 h 1325"/>
                <a:gd name="T14" fmla="*/ 1307 w 1318"/>
                <a:gd name="T15" fmla="*/ 537 h 1325"/>
                <a:gd name="T16" fmla="*/ 1318 w 1318"/>
                <a:gd name="T17" fmla="*/ 663 h 1325"/>
                <a:gd name="T18" fmla="*/ 1307 w 1318"/>
                <a:gd name="T19" fmla="*/ 789 h 1325"/>
                <a:gd name="T20" fmla="*/ 1272 w 1318"/>
                <a:gd name="T21" fmla="*/ 907 h 1325"/>
                <a:gd name="T22" fmla="*/ 1218 w 1318"/>
                <a:gd name="T23" fmla="*/ 1015 h 1325"/>
                <a:gd name="T24" fmla="*/ 1146 w 1318"/>
                <a:gd name="T25" fmla="*/ 1110 h 1325"/>
                <a:gd name="T26" fmla="*/ 1058 w 1318"/>
                <a:gd name="T27" fmla="*/ 1191 h 1325"/>
                <a:gd name="T28" fmla="*/ 957 w 1318"/>
                <a:gd name="T29" fmla="*/ 1254 h 1325"/>
                <a:gd name="T30" fmla="*/ 844 w 1318"/>
                <a:gd name="T31" fmla="*/ 1299 h 1325"/>
                <a:gd name="T32" fmla="*/ 722 w 1318"/>
                <a:gd name="T33" fmla="*/ 1322 h 1325"/>
                <a:gd name="T34" fmla="*/ 596 w 1318"/>
                <a:gd name="T35" fmla="*/ 1322 h 1325"/>
                <a:gd name="T36" fmla="*/ 474 w 1318"/>
                <a:gd name="T37" fmla="*/ 1299 h 1325"/>
                <a:gd name="T38" fmla="*/ 362 w 1318"/>
                <a:gd name="T39" fmla="*/ 1254 h 1325"/>
                <a:gd name="T40" fmla="*/ 261 w 1318"/>
                <a:gd name="T41" fmla="*/ 1191 h 1325"/>
                <a:gd name="T42" fmla="*/ 173 w 1318"/>
                <a:gd name="T43" fmla="*/ 1110 h 1325"/>
                <a:gd name="T44" fmla="*/ 101 w 1318"/>
                <a:gd name="T45" fmla="*/ 1015 h 1325"/>
                <a:gd name="T46" fmla="*/ 47 w 1318"/>
                <a:gd name="T47" fmla="*/ 907 h 1325"/>
                <a:gd name="T48" fmla="*/ 12 w 1318"/>
                <a:gd name="T49" fmla="*/ 789 h 1325"/>
                <a:gd name="T50" fmla="*/ 0 w 1318"/>
                <a:gd name="T51" fmla="*/ 663 h 1325"/>
                <a:gd name="T52" fmla="*/ 12 w 1318"/>
                <a:gd name="T53" fmla="*/ 537 h 1325"/>
                <a:gd name="T54" fmla="*/ 47 w 1318"/>
                <a:gd name="T55" fmla="*/ 419 h 1325"/>
                <a:gd name="T56" fmla="*/ 101 w 1318"/>
                <a:gd name="T57" fmla="*/ 311 h 1325"/>
                <a:gd name="T58" fmla="*/ 173 w 1318"/>
                <a:gd name="T59" fmla="*/ 216 h 1325"/>
                <a:gd name="T60" fmla="*/ 261 w 1318"/>
                <a:gd name="T61" fmla="*/ 136 h 1325"/>
                <a:gd name="T62" fmla="*/ 362 w 1318"/>
                <a:gd name="T63" fmla="*/ 71 h 1325"/>
                <a:gd name="T64" fmla="*/ 474 w 1318"/>
                <a:gd name="T65" fmla="*/ 27 h 1325"/>
                <a:gd name="T66" fmla="*/ 596 w 1318"/>
                <a:gd name="T67" fmla="*/ 3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18" h="1325">
                  <a:moveTo>
                    <a:pt x="659" y="0"/>
                  </a:moveTo>
                  <a:lnTo>
                    <a:pt x="722" y="3"/>
                  </a:lnTo>
                  <a:lnTo>
                    <a:pt x="785" y="12"/>
                  </a:lnTo>
                  <a:lnTo>
                    <a:pt x="844" y="27"/>
                  </a:lnTo>
                  <a:lnTo>
                    <a:pt x="902" y="47"/>
                  </a:lnTo>
                  <a:lnTo>
                    <a:pt x="957" y="71"/>
                  </a:lnTo>
                  <a:lnTo>
                    <a:pt x="1009" y="101"/>
                  </a:lnTo>
                  <a:lnTo>
                    <a:pt x="1058" y="136"/>
                  </a:lnTo>
                  <a:lnTo>
                    <a:pt x="1104" y="173"/>
                  </a:lnTo>
                  <a:lnTo>
                    <a:pt x="1146" y="216"/>
                  </a:lnTo>
                  <a:lnTo>
                    <a:pt x="1184" y="262"/>
                  </a:lnTo>
                  <a:lnTo>
                    <a:pt x="1218" y="311"/>
                  </a:lnTo>
                  <a:lnTo>
                    <a:pt x="1247" y="364"/>
                  </a:lnTo>
                  <a:lnTo>
                    <a:pt x="1272" y="419"/>
                  </a:lnTo>
                  <a:lnTo>
                    <a:pt x="1292" y="477"/>
                  </a:lnTo>
                  <a:lnTo>
                    <a:pt x="1307" y="537"/>
                  </a:lnTo>
                  <a:lnTo>
                    <a:pt x="1315" y="599"/>
                  </a:lnTo>
                  <a:lnTo>
                    <a:pt x="1318" y="663"/>
                  </a:lnTo>
                  <a:lnTo>
                    <a:pt x="1315" y="726"/>
                  </a:lnTo>
                  <a:lnTo>
                    <a:pt x="1307" y="789"/>
                  </a:lnTo>
                  <a:lnTo>
                    <a:pt x="1292" y="849"/>
                  </a:lnTo>
                  <a:lnTo>
                    <a:pt x="1272" y="907"/>
                  </a:lnTo>
                  <a:lnTo>
                    <a:pt x="1247" y="962"/>
                  </a:lnTo>
                  <a:lnTo>
                    <a:pt x="1218" y="1015"/>
                  </a:lnTo>
                  <a:lnTo>
                    <a:pt x="1184" y="1064"/>
                  </a:lnTo>
                  <a:lnTo>
                    <a:pt x="1146" y="1110"/>
                  </a:lnTo>
                  <a:lnTo>
                    <a:pt x="1104" y="1152"/>
                  </a:lnTo>
                  <a:lnTo>
                    <a:pt x="1058" y="1191"/>
                  </a:lnTo>
                  <a:lnTo>
                    <a:pt x="1009" y="1225"/>
                  </a:lnTo>
                  <a:lnTo>
                    <a:pt x="957" y="1254"/>
                  </a:lnTo>
                  <a:lnTo>
                    <a:pt x="902" y="1279"/>
                  </a:lnTo>
                  <a:lnTo>
                    <a:pt x="844" y="1299"/>
                  </a:lnTo>
                  <a:lnTo>
                    <a:pt x="785" y="1314"/>
                  </a:lnTo>
                  <a:lnTo>
                    <a:pt x="722" y="1322"/>
                  </a:lnTo>
                  <a:lnTo>
                    <a:pt x="659" y="1325"/>
                  </a:lnTo>
                  <a:lnTo>
                    <a:pt x="596" y="1322"/>
                  </a:lnTo>
                  <a:lnTo>
                    <a:pt x="534" y="1314"/>
                  </a:lnTo>
                  <a:lnTo>
                    <a:pt x="474" y="1299"/>
                  </a:lnTo>
                  <a:lnTo>
                    <a:pt x="417" y="1279"/>
                  </a:lnTo>
                  <a:lnTo>
                    <a:pt x="362" y="1254"/>
                  </a:lnTo>
                  <a:lnTo>
                    <a:pt x="310" y="1225"/>
                  </a:lnTo>
                  <a:lnTo>
                    <a:pt x="261" y="1191"/>
                  </a:lnTo>
                  <a:lnTo>
                    <a:pt x="215" y="1152"/>
                  </a:lnTo>
                  <a:lnTo>
                    <a:pt x="173" y="1110"/>
                  </a:lnTo>
                  <a:lnTo>
                    <a:pt x="135" y="1064"/>
                  </a:lnTo>
                  <a:lnTo>
                    <a:pt x="101" y="1015"/>
                  </a:lnTo>
                  <a:lnTo>
                    <a:pt x="72" y="962"/>
                  </a:lnTo>
                  <a:lnTo>
                    <a:pt x="47" y="907"/>
                  </a:lnTo>
                  <a:lnTo>
                    <a:pt x="27" y="849"/>
                  </a:lnTo>
                  <a:lnTo>
                    <a:pt x="12" y="789"/>
                  </a:lnTo>
                  <a:lnTo>
                    <a:pt x="3" y="726"/>
                  </a:lnTo>
                  <a:lnTo>
                    <a:pt x="0" y="663"/>
                  </a:lnTo>
                  <a:lnTo>
                    <a:pt x="3" y="599"/>
                  </a:lnTo>
                  <a:lnTo>
                    <a:pt x="12" y="537"/>
                  </a:lnTo>
                  <a:lnTo>
                    <a:pt x="27" y="477"/>
                  </a:lnTo>
                  <a:lnTo>
                    <a:pt x="47" y="419"/>
                  </a:lnTo>
                  <a:lnTo>
                    <a:pt x="72" y="364"/>
                  </a:lnTo>
                  <a:lnTo>
                    <a:pt x="101" y="311"/>
                  </a:lnTo>
                  <a:lnTo>
                    <a:pt x="135" y="262"/>
                  </a:lnTo>
                  <a:lnTo>
                    <a:pt x="173" y="216"/>
                  </a:lnTo>
                  <a:lnTo>
                    <a:pt x="215" y="173"/>
                  </a:lnTo>
                  <a:lnTo>
                    <a:pt x="261" y="136"/>
                  </a:lnTo>
                  <a:lnTo>
                    <a:pt x="310" y="101"/>
                  </a:lnTo>
                  <a:lnTo>
                    <a:pt x="362" y="71"/>
                  </a:lnTo>
                  <a:lnTo>
                    <a:pt x="417" y="47"/>
                  </a:lnTo>
                  <a:lnTo>
                    <a:pt x="474" y="27"/>
                  </a:lnTo>
                  <a:lnTo>
                    <a:pt x="534" y="12"/>
                  </a:lnTo>
                  <a:lnTo>
                    <a:pt x="596" y="3"/>
                  </a:lnTo>
                  <a:lnTo>
                    <a:pt x="6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" name="Rectangle 9"/>
          <p:cNvSpPr/>
          <p:nvPr/>
        </p:nvSpPr>
        <p:spPr>
          <a:xfrm>
            <a:off x="659949" y="2251383"/>
            <a:ext cx="3555791" cy="1531917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4328398" y="2250892"/>
            <a:ext cx="3555791" cy="1531917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659949" y="3870803"/>
            <a:ext cx="3555791" cy="1531917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659949" y="3474542"/>
            <a:ext cx="3555791" cy="308758"/>
          </a:xfrm>
          <a:prstGeom prst="rect">
            <a:avLst/>
          </a:prstGeom>
          <a:solidFill>
            <a:srgbClr val="0084C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/>
        </p:nvSpPr>
        <p:spPr>
          <a:xfrm>
            <a:off x="659949" y="5093962"/>
            <a:ext cx="3555791" cy="308758"/>
          </a:xfrm>
          <a:prstGeom prst="rect">
            <a:avLst/>
          </a:prstGeom>
          <a:solidFill>
            <a:srgbClr val="0084C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Rectangle 47"/>
          <p:cNvSpPr/>
          <p:nvPr/>
        </p:nvSpPr>
        <p:spPr>
          <a:xfrm>
            <a:off x="4328398" y="3474051"/>
            <a:ext cx="3555791" cy="308758"/>
          </a:xfrm>
          <a:prstGeom prst="rect">
            <a:avLst/>
          </a:prstGeom>
          <a:solidFill>
            <a:srgbClr val="0084C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712895" y="3498994"/>
            <a:ext cx="350284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003030101060003" pitchFamily="34" charset="0"/>
              </a:rPr>
              <a:t>Media Responses (e.g. video and sound)</a:t>
            </a:r>
          </a:p>
        </p:txBody>
      </p:sp>
      <p:sp>
        <p:nvSpPr>
          <p:cNvPr id="50" name="Rectangle 49"/>
          <p:cNvSpPr/>
          <p:nvPr/>
        </p:nvSpPr>
        <p:spPr>
          <a:xfrm>
            <a:off x="8026527" y="3475032"/>
            <a:ext cx="350284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400" kern="0" dirty="0">
                <a:solidFill>
                  <a:schemeClr val="bg1"/>
                </a:solidFill>
                <a:latin typeface="Raleway" panose="020B0003030101060003" pitchFamily="34" charset="0"/>
              </a:rPr>
              <a:t>Account Info Lookup</a:t>
            </a:r>
          </a:p>
        </p:txBody>
      </p:sp>
      <p:sp>
        <p:nvSpPr>
          <p:cNvPr id="53" name="Rectangle 52"/>
          <p:cNvSpPr/>
          <p:nvPr/>
        </p:nvSpPr>
        <p:spPr>
          <a:xfrm>
            <a:off x="4354870" y="3488277"/>
            <a:ext cx="350284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400" kern="0" dirty="0">
                <a:solidFill>
                  <a:schemeClr val="bg1"/>
                </a:solidFill>
                <a:latin typeface="Raleway" panose="020B0003030101060003" pitchFamily="34" charset="0"/>
              </a:rPr>
              <a:t>Password Reset</a:t>
            </a:r>
          </a:p>
        </p:txBody>
      </p:sp>
      <p:sp>
        <p:nvSpPr>
          <p:cNvPr id="54" name="Rectangle 53"/>
          <p:cNvSpPr/>
          <p:nvPr/>
        </p:nvSpPr>
        <p:spPr>
          <a:xfrm>
            <a:off x="722620" y="5121383"/>
            <a:ext cx="350284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400" kern="0" dirty="0">
                <a:solidFill>
                  <a:schemeClr val="bg1"/>
                </a:solidFill>
                <a:latin typeface="Raleway" panose="020B0003030101060003" pitchFamily="34" charset="0"/>
              </a:rPr>
              <a:t>Email or Ticket Creation</a:t>
            </a:r>
          </a:p>
        </p:txBody>
      </p:sp>
      <p:sp>
        <p:nvSpPr>
          <p:cNvPr id="55" name="Rectangle 54"/>
          <p:cNvSpPr/>
          <p:nvPr/>
        </p:nvSpPr>
        <p:spPr>
          <a:xfrm>
            <a:off x="8026529" y="5121697"/>
            <a:ext cx="350284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400" kern="0" dirty="0">
                <a:solidFill>
                  <a:schemeClr val="bg1"/>
                </a:solidFill>
                <a:latin typeface="Raleway" panose="020B0003030101060003" pitchFamily="34" charset="0"/>
              </a:rPr>
              <a:t>User Feedback Surveys</a:t>
            </a:r>
          </a:p>
        </p:txBody>
      </p:sp>
    </p:spTree>
    <p:extLst>
      <p:ext uri="{BB962C8B-B14F-4D97-AF65-F5344CB8AC3E}">
        <p14:creationId xmlns:p14="http://schemas.microsoft.com/office/powerpoint/2010/main" val="3200101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9" grpId="0" animBg="1"/>
      <p:bldP spid="56" grpId="0"/>
      <p:bldP spid="40" grpId="0" animBg="1"/>
      <p:bldP spid="46" grpId="0" animBg="1"/>
      <p:bldP spid="43" grpId="0" animBg="1"/>
      <p:bldP spid="47" grpId="0" animBg="1"/>
      <p:bldP spid="10" grpId="0" animBg="1"/>
      <p:bldP spid="41" grpId="0" animBg="1"/>
      <p:bldP spid="42" grpId="0" animBg="1"/>
      <p:bldP spid="12" grpId="0" animBg="1"/>
      <p:bldP spid="45" grpId="0" animBg="1"/>
      <p:bldP spid="48" grpId="0" animBg="1"/>
      <p:bldP spid="13" grpId="0"/>
      <p:bldP spid="50" grpId="0"/>
      <p:bldP spid="53" grpId="0"/>
      <p:bldP spid="54" grpId="0"/>
      <p:bldP spid="5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481253" y="34056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50476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Accelerated Speed to Impact</a:t>
            </a:r>
          </a:p>
        </p:txBody>
      </p:sp>
      <p:grpSp>
        <p:nvGrpSpPr>
          <p:cNvPr id="10" name="Group 50"/>
          <p:cNvGrpSpPr>
            <a:grpSpLocks noChangeAspect="1"/>
          </p:cNvGrpSpPr>
          <p:nvPr/>
        </p:nvGrpSpPr>
        <p:grpSpPr bwMode="auto">
          <a:xfrm>
            <a:off x="418957" y="772554"/>
            <a:ext cx="531519" cy="365760"/>
            <a:chOff x="2277" y="1085"/>
            <a:chExt cx="3120" cy="2147"/>
          </a:xfr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</p:grpSpPr>
        <p:sp>
          <p:nvSpPr>
            <p:cNvPr id="11" name="Freeform 52"/>
            <p:cNvSpPr>
              <a:spLocks/>
            </p:cNvSpPr>
            <p:nvPr/>
          </p:nvSpPr>
          <p:spPr bwMode="auto">
            <a:xfrm>
              <a:off x="3194" y="1207"/>
              <a:ext cx="1054" cy="91"/>
            </a:xfrm>
            <a:custGeom>
              <a:avLst/>
              <a:gdLst>
                <a:gd name="T0" fmla="*/ 91 w 2109"/>
                <a:gd name="T1" fmla="*/ 0 h 182"/>
                <a:gd name="T2" fmla="*/ 2016 w 2109"/>
                <a:gd name="T3" fmla="*/ 0 h 182"/>
                <a:gd name="T4" fmla="*/ 2044 w 2109"/>
                <a:gd name="T5" fmla="*/ 4 h 182"/>
                <a:gd name="T6" fmla="*/ 2071 w 2109"/>
                <a:gd name="T7" fmla="*/ 17 h 182"/>
                <a:gd name="T8" fmla="*/ 2090 w 2109"/>
                <a:gd name="T9" fmla="*/ 36 h 182"/>
                <a:gd name="T10" fmla="*/ 2103 w 2109"/>
                <a:gd name="T11" fmla="*/ 63 h 182"/>
                <a:gd name="T12" fmla="*/ 2109 w 2109"/>
                <a:gd name="T13" fmla="*/ 91 h 182"/>
                <a:gd name="T14" fmla="*/ 2103 w 2109"/>
                <a:gd name="T15" fmla="*/ 120 h 182"/>
                <a:gd name="T16" fmla="*/ 2090 w 2109"/>
                <a:gd name="T17" fmla="*/ 144 h 182"/>
                <a:gd name="T18" fmla="*/ 2071 w 2109"/>
                <a:gd name="T19" fmla="*/ 165 h 182"/>
                <a:gd name="T20" fmla="*/ 2044 w 2109"/>
                <a:gd name="T21" fmla="*/ 178 h 182"/>
                <a:gd name="T22" fmla="*/ 2016 w 2109"/>
                <a:gd name="T23" fmla="*/ 182 h 182"/>
                <a:gd name="T24" fmla="*/ 91 w 2109"/>
                <a:gd name="T25" fmla="*/ 182 h 182"/>
                <a:gd name="T26" fmla="*/ 62 w 2109"/>
                <a:gd name="T27" fmla="*/ 178 h 182"/>
                <a:gd name="T28" fmla="*/ 36 w 2109"/>
                <a:gd name="T29" fmla="*/ 165 h 182"/>
                <a:gd name="T30" fmla="*/ 17 w 2109"/>
                <a:gd name="T31" fmla="*/ 144 h 182"/>
                <a:gd name="T32" fmla="*/ 4 w 2109"/>
                <a:gd name="T33" fmla="*/ 120 h 182"/>
                <a:gd name="T34" fmla="*/ 0 w 2109"/>
                <a:gd name="T35" fmla="*/ 91 h 182"/>
                <a:gd name="T36" fmla="*/ 4 w 2109"/>
                <a:gd name="T37" fmla="*/ 63 h 182"/>
                <a:gd name="T38" fmla="*/ 17 w 2109"/>
                <a:gd name="T39" fmla="*/ 36 h 182"/>
                <a:gd name="T40" fmla="*/ 36 w 2109"/>
                <a:gd name="T41" fmla="*/ 17 h 182"/>
                <a:gd name="T42" fmla="*/ 62 w 2109"/>
                <a:gd name="T43" fmla="*/ 4 h 182"/>
                <a:gd name="T44" fmla="*/ 91 w 2109"/>
                <a:gd name="T45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9" h="182">
                  <a:moveTo>
                    <a:pt x="91" y="0"/>
                  </a:moveTo>
                  <a:lnTo>
                    <a:pt x="2016" y="0"/>
                  </a:lnTo>
                  <a:lnTo>
                    <a:pt x="2044" y="4"/>
                  </a:lnTo>
                  <a:lnTo>
                    <a:pt x="2071" y="17"/>
                  </a:lnTo>
                  <a:lnTo>
                    <a:pt x="2090" y="36"/>
                  </a:lnTo>
                  <a:lnTo>
                    <a:pt x="2103" y="63"/>
                  </a:lnTo>
                  <a:lnTo>
                    <a:pt x="2109" y="91"/>
                  </a:lnTo>
                  <a:lnTo>
                    <a:pt x="2103" y="120"/>
                  </a:lnTo>
                  <a:lnTo>
                    <a:pt x="2090" y="144"/>
                  </a:lnTo>
                  <a:lnTo>
                    <a:pt x="2071" y="165"/>
                  </a:lnTo>
                  <a:lnTo>
                    <a:pt x="2044" y="178"/>
                  </a:lnTo>
                  <a:lnTo>
                    <a:pt x="2016" y="182"/>
                  </a:lnTo>
                  <a:lnTo>
                    <a:pt x="91" y="182"/>
                  </a:lnTo>
                  <a:lnTo>
                    <a:pt x="62" y="178"/>
                  </a:lnTo>
                  <a:lnTo>
                    <a:pt x="36" y="165"/>
                  </a:lnTo>
                  <a:lnTo>
                    <a:pt x="17" y="144"/>
                  </a:lnTo>
                  <a:lnTo>
                    <a:pt x="4" y="120"/>
                  </a:lnTo>
                  <a:lnTo>
                    <a:pt x="0" y="91"/>
                  </a:lnTo>
                  <a:lnTo>
                    <a:pt x="4" y="63"/>
                  </a:lnTo>
                  <a:lnTo>
                    <a:pt x="17" y="36"/>
                  </a:lnTo>
                  <a:lnTo>
                    <a:pt x="36" y="17"/>
                  </a:lnTo>
                  <a:lnTo>
                    <a:pt x="62" y="4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3"/>
            <p:cNvSpPr>
              <a:spLocks/>
            </p:cNvSpPr>
            <p:nvPr/>
          </p:nvSpPr>
          <p:spPr bwMode="auto">
            <a:xfrm>
              <a:off x="2333" y="1655"/>
              <a:ext cx="1054" cy="92"/>
            </a:xfrm>
            <a:custGeom>
              <a:avLst/>
              <a:gdLst>
                <a:gd name="T0" fmla="*/ 91 w 2108"/>
                <a:gd name="T1" fmla="*/ 0 h 184"/>
                <a:gd name="T2" fmla="*/ 2016 w 2108"/>
                <a:gd name="T3" fmla="*/ 0 h 184"/>
                <a:gd name="T4" fmla="*/ 2046 w 2108"/>
                <a:gd name="T5" fmla="*/ 6 h 184"/>
                <a:gd name="T6" fmla="*/ 2071 w 2108"/>
                <a:gd name="T7" fmla="*/ 19 h 184"/>
                <a:gd name="T8" fmla="*/ 2089 w 2108"/>
                <a:gd name="T9" fmla="*/ 38 h 184"/>
                <a:gd name="T10" fmla="*/ 2103 w 2108"/>
                <a:gd name="T11" fmla="*/ 63 h 184"/>
                <a:gd name="T12" fmla="*/ 2108 w 2108"/>
                <a:gd name="T13" fmla="*/ 93 h 184"/>
                <a:gd name="T14" fmla="*/ 2103 w 2108"/>
                <a:gd name="T15" fmla="*/ 122 h 184"/>
                <a:gd name="T16" fmla="*/ 2089 w 2108"/>
                <a:gd name="T17" fmla="*/ 146 h 184"/>
                <a:gd name="T18" fmla="*/ 2071 w 2108"/>
                <a:gd name="T19" fmla="*/ 167 h 184"/>
                <a:gd name="T20" fmla="*/ 2046 w 2108"/>
                <a:gd name="T21" fmla="*/ 178 h 184"/>
                <a:gd name="T22" fmla="*/ 2016 w 2108"/>
                <a:gd name="T23" fmla="*/ 184 h 184"/>
                <a:gd name="T24" fmla="*/ 91 w 2108"/>
                <a:gd name="T25" fmla="*/ 184 h 184"/>
                <a:gd name="T26" fmla="*/ 62 w 2108"/>
                <a:gd name="T27" fmla="*/ 178 h 184"/>
                <a:gd name="T28" fmla="*/ 36 w 2108"/>
                <a:gd name="T29" fmla="*/ 167 h 184"/>
                <a:gd name="T30" fmla="*/ 17 w 2108"/>
                <a:gd name="T31" fmla="*/ 146 h 184"/>
                <a:gd name="T32" fmla="*/ 4 w 2108"/>
                <a:gd name="T33" fmla="*/ 122 h 184"/>
                <a:gd name="T34" fmla="*/ 0 w 2108"/>
                <a:gd name="T35" fmla="*/ 93 h 184"/>
                <a:gd name="T36" fmla="*/ 4 w 2108"/>
                <a:gd name="T37" fmla="*/ 63 h 184"/>
                <a:gd name="T38" fmla="*/ 17 w 2108"/>
                <a:gd name="T39" fmla="*/ 38 h 184"/>
                <a:gd name="T40" fmla="*/ 36 w 2108"/>
                <a:gd name="T41" fmla="*/ 19 h 184"/>
                <a:gd name="T42" fmla="*/ 62 w 2108"/>
                <a:gd name="T43" fmla="*/ 6 h 184"/>
                <a:gd name="T44" fmla="*/ 91 w 2108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8" h="184">
                  <a:moveTo>
                    <a:pt x="91" y="0"/>
                  </a:moveTo>
                  <a:lnTo>
                    <a:pt x="2016" y="0"/>
                  </a:lnTo>
                  <a:lnTo>
                    <a:pt x="2046" y="6"/>
                  </a:lnTo>
                  <a:lnTo>
                    <a:pt x="2071" y="19"/>
                  </a:lnTo>
                  <a:lnTo>
                    <a:pt x="2089" y="38"/>
                  </a:lnTo>
                  <a:lnTo>
                    <a:pt x="2103" y="63"/>
                  </a:lnTo>
                  <a:lnTo>
                    <a:pt x="2108" y="93"/>
                  </a:lnTo>
                  <a:lnTo>
                    <a:pt x="2103" y="122"/>
                  </a:lnTo>
                  <a:lnTo>
                    <a:pt x="2089" y="146"/>
                  </a:lnTo>
                  <a:lnTo>
                    <a:pt x="2071" y="167"/>
                  </a:lnTo>
                  <a:lnTo>
                    <a:pt x="2046" y="178"/>
                  </a:lnTo>
                  <a:lnTo>
                    <a:pt x="2016" y="184"/>
                  </a:lnTo>
                  <a:lnTo>
                    <a:pt x="91" y="184"/>
                  </a:lnTo>
                  <a:lnTo>
                    <a:pt x="62" y="178"/>
                  </a:lnTo>
                  <a:lnTo>
                    <a:pt x="36" y="167"/>
                  </a:lnTo>
                  <a:lnTo>
                    <a:pt x="17" y="146"/>
                  </a:lnTo>
                  <a:lnTo>
                    <a:pt x="4" y="122"/>
                  </a:lnTo>
                  <a:lnTo>
                    <a:pt x="0" y="93"/>
                  </a:lnTo>
                  <a:lnTo>
                    <a:pt x="4" y="63"/>
                  </a:lnTo>
                  <a:lnTo>
                    <a:pt x="17" y="38"/>
                  </a:lnTo>
                  <a:lnTo>
                    <a:pt x="36" y="19"/>
                  </a:lnTo>
                  <a:lnTo>
                    <a:pt x="62" y="6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4"/>
            <p:cNvSpPr>
              <a:spLocks/>
            </p:cNvSpPr>
            <p:nvPr/>
          </p:nvSpPr>
          <p:spPr bwMode="auto">
            <a:xfrm>
              <a:off x="2637" y="2172"/>
              <a:ext cx="1054" cy="92"/>
            </a:xfrm>
            <a:custGeom>
              <a:avLst/>
              <a:gdLst>
                <a:gd name="T0" fmla="*/ 91 w 2109"/>
                <a:gd name="T1" fmla="*/ 0 h 184"/>
                <a:gd name="T2" fmla="*/ 2016 w 2109"/>
                <a:gd name="T3" fmla="*/ 0 h 184"/>
                <a:gd name="T4" fmla="*/ 2046 w 2109"/>
                <a:gd name="T5" fmla="*/ 5 h 184"/>
                <a:gd name="T6" fmla="*/ 2071 w 2109"/>
                <a:gd name="T7" fmla="*/ 17 h 184"/>
                <a:gd name="T8" fmla="*/ 2090 w 2109"/>
                <a:gd name="T9" fmla="*/ 38 h 184"/>
                <a:gd name="T10" fmla="*/ 2103 w 2109"/>
                <a:gd name="T11" fmla="*/ 62 h 184"/>
                <a:gd name="T12" fmla="*/ 2109 w 2109"/>
                <a:gd name="T13" fmla="*/ 91 h 184"/>
                <a:gd name="T14" fmla="*/ 2103 w 2109"/>
                <a:gd name="T15" fmla="*/ 121 h 184"/>
                <a:gd name="T16" fmla="*/ 2090 w 2109"/>
                <a:gd name="T17" fmla="*/ 146 h 184"/>
                <a:gd name="T18" fmla="*/ 2071 w 2109"/>
                <a:gd name="T19" fmla="*/ 165 h 184"/>
                <a:gd name="T20" fmla="*/ 2046 w 2109"/>
                <a:gd name="T21" fmla="*/ 178 h 184"/>
                <a:gd name="T22" fmla="*/ 2016 w 2109"/>
                <a:gd name="T23" fmla="*/ 184 h 184"/>
                <a:gd name="T24" fmla="*/ 91 w 2109"/>
                <a:gd name="T25" fmla="*/ 184 h 184"/>
                <a:gd name="T26" fmla="*/ 62 w 2109"/>
                <a:gd name="T27" fmla="*/ 178 h 184"/>
                <a:gd name="T28" fmla="*/ 38 w 2109"/>
                <a:gd name="T29" fmla="*/ 165 h 184"/>
                <a:gd name="T30" fmla="*/ 17 w 2109"/>
                <a:gd name="T31" fmla="*/ 146 h 184"/>
                <a:gd name="T32" fmla="*/ 4 w 2109"/>
                <a:gd name="T33" fmla="*/ 121 h 184"/>
                <a:gd name="T34" fmla="*/ 0 w 2109"/>
                <a:gd name="T35" fmla="*/ 91 h 184"/>
                <a:gd name="T36" fmla="*/ 4 w 2109"/>
                <a:gd name="T37" fmla="*/ 62 h 184"/>
                <a:gd name="T38" fmla="*/ 17 w 2109"/>
                <a:gd name="T39" fmla="*/ 38 h 184"/>
                <a:gd name="T40" fmla="*/ 38 w 2109"/>
                <a:gd name="T41" fmla="*/ 17 h 184"/>
                <a:gd name="T42" fmla="*/ 62 w 2109"/>
                <a:gd name="T43" fmla="*/ 5 h 184"/>
                <a:gd name="T44" fmla="*/ 91 w 2109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9" h="184">
                  <a:moveTo>
                    <a:pt x="91" y="0"/>
                  </a:moveTo>
                  <a:lnTo>
                    <a:pt x="2016" y="0"/>
                  </a:lnTo>
                  <a:lnTo>
                    <a:pt x="2046" y="5"/>
                  </a:lnTo>
                  <a:lnTo>
                    <a:pt x="2071" y="17"/>
                  </a:lnTo>
                  <a:lnTo>
                    <a:pt x="2090" y="38"/>
                  </a:lnTo>
                  <a:lnTo>
                    <a:pt x="2103" y="62"/>
                  </a:lnTo>
                  <a:lnTo>
                    <a:pt x="2109" y="91"/>
                  </a:lnTo>
                  <a:lnTo>
                    <a:pt x="2103" y="121"/>
                  </a:lnTo>
                  <a:lnTo>
                    <a:pt x="2090" y="146"/>
                  </a:lnTo>
                  <a:lnTo>
                    <a:pt x="2071" y="165"/>
                  </a:lnTo>
                  <a:lnTo>
                    <a:pt x="2046" y="178"/>
                  </a:lnTo>
                  <a:lnTo>
                    <a:pt x="2016" y="184"/>
                  </a:lnTo>
                  <a:lnTo>
                    <a:pt x="91" y="184"/>
                  </a:lnTo>
                  <a:lnTo>
                    <a:pt x="62" y="178"/>
                  </a:lnTo>
                  <a:lnTo>
                    <a:pt x="38" y="165"/>
                  </a:lnTo>
                  <a:lnTo>
                    <a:pt x="17" y="146"/>
                  </a:lnTo>
                  <a:lnTo>
                    <a:pt x="4" y="121"/>
                  </a:lnTo>
                  <a:lnTo>
                    <a:pt x="0" y="91"/>
                  </a:lnTo>
                  <a:lnTo>
                    <a:pt x="4" y="62"/>
                  </a:lnTo>
                  <a:lnTo>
                    <a:pt x="17" y="38"/>
                  </a:lnTo>
                  <a:lnTo>
                    <a:pt x="38" y="17"/>
                  </a:lnTo>
                  <a:lnTo>
                    <a:pt x="62" y="5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5"/>
            <p:cNvSpPr>
              <a:spLocks/>
            </p:cNvSpPr>
            <p:nvPr/>
          </p:nvSpPr>
          <p:spPr bwMode="auto">
            <a:xfrm>
              <a:off x="2277" y="2751"/>
              <a:ext cx="957" cy="92"/>
            </a:xfrm>
            <a:custGeom>
              <a:avLst/>
              <a:gdLst>
                <a:gd name="T0" fmla="*/ 91 w 1913"/>
                <a:gd name="T1" fmla="*/ 0 h 184"/>
                <a:gd name="T2" fmla="*/ 1821 w 1913"/>
                <a:gd name="T3" fmla="*/ 0 h 184"/>
                <a:gd name="T4" fmla="*/ 1851 w 1913"/>
                <a:gd name="T5" fmla="*/ 6 h 184"/>
                <a:gd name="T6" fmla="*/ 1876 w 1913"/>
                <a:gd name="T7" fmla="*/ 19 h 184"/>
                <a:gd name="T8" fmla="*/ 1895 w 1913"/>
                <a:gd name="T9" fmla="*/ 38 h 184"/>
                <a:gd name="T10" fmla="*/ 1908 w 1913"/>
                <a:gd name="T11" fmla="*/ 63 h 184"/>
                <a:gd name="T12" fmla="*/ 1913 w 1913"/>
                <a:gd name="T13" fmla="*/ 93 h 184"/>
                <a:gd name="T14" fmla="*/ 1908 w 1913"/>
                <a:gd name="T15" fmla="*/ 122 h 184"/>
                <a:gd name="T16" fmla="*/ 1895 w 1913"/>
                <a:gd name="T17" fmla="*/ 146 h 184"/>
                <a:gd name="T18" fmla="*/ 1876 w 1913"/>
                <a:gd name="T19" fmla="*/ 167 h 184"/>
                <a:gd name="T20" fmla="*/ 1851 w 1913"/>
                <a:gd name="T21" fmla="*/ 181 h 184"/>
                <a:gd name="T22" fmla="*/ 1821 w 1913"/>
                <a:gd name="T23" fmla="*/ 184 h 184"/>
                <a:gd name="T24" fmla="*/ 91 w 1913"/>
                <a:gd name="T25" fmla="*/ 184 h 184"/>
                <a:gd name="T26" fmla="*/ 63 w 1913"/>
                <a:gd name="T27" fmla="*/ 181 h 184"/>
                <a:gd name="T28" fmla="*/ 38 w 1913"/>
                <a:gd name="T29" fmla="*/ 167 h 184"/>
                <a:gd name="T30" fmla="*/ 17 w 1913"/>
                <a:gd name="T31" fmla="*/ 146 h 184"/>
                <a:gd name="T32" fmla="*/ 4 w 1913"/>
                <a:gd name="T33" fmla="*/ 122 h 184"/>
                <a:gd name="T34" fmla="*/ 0 w 1913"/>
                <a:gd name="T35" fmla="*/ 93 h 184"/>
                <a:gd name="T36" fmla="*/ 4 w 1913"/>
                <a:gd name="T37" fmla="*/ 63 h 184"/>
                <a:gd name="T38" fmla="*/ 17 w 1913"/>
                <a:gd name="T39" fmla="*/ 38 h 184"/>
                <a:gd name="T40" fmla="*/ 38 w 1913"/>
                <a:gd name="T41" fmla="*/ 19 h 184"/>
                <a:gd name="T42" fmla="*/ 63 w 1913"/>
                <a:gd name="T43" fmla="*/ 6 h 184"/>
                <a:gd name="T44" fmla="*/ 91 w 1913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13" h="184">
                  <a:moveTo>
                    <a:pt x="91" y="0"/>
                  </a:moveTo>
                  <a:lnTo>
                    <a:pt x="1821" y="0"/>
                  </a:lnTo>
                  <a:lnTo>
                    <a:pt x="1851" y="6"/>
                  </a:lnTo>
                  <a:lnTo>
                    <a:pt x="1876" y="19"/>
                  </a:lnTo>
                  <a:lnTo>
                    <a:pt x="1895" y="38"/>
                  </a:lnTo>
                  <a:lnTo>
                    <a:pt x="1908" y="63"/>
                  </a:lnTo>
                  <a:lnTo>
                    <a:pt x="1913" y="93"/>
                  </a:lnTo>
                  <a:lnTo>
                    <a:pt x="1908" y="122"/>
                  </a:lnTo>
                  <a:lnTo>
                    <a:pt x="1895" y="146"/>
                  </a:lnTo>
                  <a:lnTo>
                    <a:pt x="1876" y="167"/>
                  </a:lnTo>
                  <a:lnTo>
                    <a:pt x="1851" y="181"/>
                  </a:lnTo>
                  <a:lnTo>
                    <a:pt x="1821" y="184"/>
                  </a:lnTo>
                  <a:lnTo>
                    <a:pt x="91" y="184"/>
                  </a:lnTo>
                  <a:lnTo>
                    <a:pt x="63" y="181"/>
                  </a:lnTo>
                  <a:lnTo>
                    <a:pt x="38" y="167"/>
                  </a:lnTo>
                  <a:lnTo>
                    <a:pt x="17" y="146"/>
                  </a:lnTo>
                  <a:lnTo>
                    <a:pt x="4" y="122"/>
                  </a:lnTo>
                  <a:lnTo>
                    <a:pt x="0" y="93"/>
                  </a:lnTo>
                  <a:lnTo>
                    <a:pt x="4" y="63"/>
                  </a:lnTo>
                  <a:lnTo>
                    <a:pt x="17" y="38"/>
                  </a:lnTo>
                  <a:lnTo>
                    <a:pt x="38" y="19"/>
                  </a:lnTo>
                  <a:lnTo>
                    <a:pt x="63" y="6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6"/>
            <p:cNvSpPr>
              <a:spLocks/>
            </p:cNvSpPr>
            <p:nvPr/>
          </p:nvSpPr>
          <p:spPr bwMode="auto">
            <a:xfrm>
              <a:off x="4494" y="1085"/>
              <a:ext cx="500" cy="500"/>
            </a:xfrm>
            <a:custGeom>
              <a:avLst/>
              <a:gdLst>
                <a:gd name="T0" fmla="*/ 500 w 1001"/>
                <a:gd name="T1" fmla="*/ 0 h 1002"/>
                <a:gd name="T2" fmla="*/ 500 w 1001"/>
                <a:gd name="T3" fmla="*/ 0 h 1002"/>
                <a:gd name="T4" fmla="*/ 574 w 1001"/>
                <a:gd name="T5" fmla="*/ 6 h 1002"/>
                <a:gd name="T6" fmla="*/ 646 w 1001"/>
                <a:gd name="T7" fmla="*/ 21 h 1002"/>
                <a:gd name="T8" fmla="*/ 713 w 1001"/>
                <a:gd name="T9" fmla="*/ 48 h 1002"/>
                <a:gd name="T10" fmla="*/ 773 w 1001"/>
                <a:gd name="T11" fmla="*/ 82 h 1002"/>
                <a:gd name="T12" fmla="*/ 830 w 1001"/>
                <a:gd name="T13" fmla="*/ 124 h 1002"/>
                <a:gd name="T14" fmla="*/ 879 w 1001"/>
                <a:gd name="T15" fmla="*/ 173 h 1002"/>
                <a:gd name="T16" fmla="*/ 921 w 1001"/>
                <a:gd name="T17" fmla="*/ 228 h 1002"/>
                <a:gd name="T18" fmla="*/ 955 w 1001"/>
                <a:gd name="T19" fmla="*/ 291 h 1002"/>
                <a:gd name="T20" fmla="*/ 980 w 1001"/>
                <a:gd name="T21" fmla="*/ 357 h 1002"/>
                <a:gd name="T22" fmla="*/ 997 w 1001"/>
                <a:gd name="T23" fmla="*/ 427 h 1002"/>
                <a:gd name="T24" fmla="*/ 1001 w 1001"/>
                <a:gd name="T25" fmla="*/ 501 h 1002"/>
                <a:gd name="T26" fmla="*/ 997 w 1001"/>
                <a:gd name="T27" fmla="*/ 575 h 1002"/>
                <a:gd name="T28" fmla="*/ 980 w 1001"/>
                <a:gd name="T29" fmla="*/ 647 h 1002"/>
                <a:gd name="T30" fmla="*/ 955 w 1001"/>
                <a:gd name="T31" fmla="*/ 714 h 1002"/>
                <a:gd name="T32" fmla="*/ 921 w 1001"/>
                <a:gd name="T33" fmla="*/ 774 h 1002"/>
                <a:gd name="T34" fmla="*/ 879 w 1001"/>
                <a:gd name="T35" fmla="*/ 831 h 1002"/>
                <a:gd name="T36" fmla="*/ 830 w 1001"/>
                <a:gd name="T37" fmla="*/ 880 h 1002"/>
                <a:gd name="T38" fmla="*/ 773 w 1001"/>
                <a:gd name="T39" fmla="*/ 922 h 1002"/>
                <a:gd name="T40" fmla="*/ 713 w 1001"/>
                <a:gd name="T41" fmla="*/ 956 h 1002"/>
                <a:gd name="T42" fmla="*/ 646 w 1001"/>
                <a:gd name="T43" fmla="*/ 981 h 1002"/>
                <a:gd name="T44" fmla="*/ 574 w 1001"/>
                <a:gd name="T45" fmla="*/ 996 h 1002"/>
                <a:gd name="T46" fmla="*/ 500 w 1001"/>
                <a:gd name="T47" fmla="*/ 1002 h 1002"/>
                <a:gd name="T48" fmla="*/ 427 w 1001"/>
                <a:gd name="T49" fmla="*/ 996 h 1002"/>
                <a:gd name="T50" fmla="*/ 356 w 1001"/>
                <a:gd name="T51" fmla="*/ 981 h 1002"/>
                <a:gd name="T52" fmla="*/ 290 w 1001"/>
                <a:gd name="T53" fmla="*/ 956 h 1002"/>
                <a:gd name="T54" fmla="*/ 229 w 1001"/>
                <a:gd name="T55" fmla="*/ 922 h 1002"/>
                <a:gd name="T56" fmla="*/ 173 w 1001"/>
                <a:gd name="T57" fmla="*/ 880 h 1002"/>
                <a:gd name="T58" fmla="*/ 123 w 1001"/>
                <a:gd name="T59" fmla="*/ 831 h 1002"/>
                <a:gd name="T60" fmla="*/ 82 w 1001"/>
                <a:gd name="T61" fmla="*/ 774 h 1002"/>
                <a:gd name="T62" fmla="*/ 48 w 1001"/>
                <a:gd name="T63" fmla="*/ 714 h 1002"/>
                <a:gd name="T64" fmla="*/ 21 w 1001"/>
                <a:gd name="T65" fmla="*/ 647 h 1002"/>
                <a:gd name="T66" fmla="*/ 6 w 1001"/>
                <a:gd name="T67" fmla="*/ 575 h 1002"/>
                <a:gd name="T68" fmla="*/ 0 w 1001"/>
                <a:gd name="T69" fmla="*/ 501 h 1002"/>
                <a:gd name="T70" fmla="*/ 6 w 1001"/>
                <a:gd name="T71" fmla="*/ 427 h 1002"/>
                <a:gd name="T72" fmla="*/ 21 w 1001"/>
                <a:gd name="T73" fmla="*/ 357 h 1002"/>
                <a:gd name="T74" fmla="*/ 48 w 1001"/>
                <a:gd name="T75" fmla="*/ 291 h 1002"/>
                <a:gd name="T76" fmla="*/ 82 w 1001"/>
                <a:gd name="T77" fmla="*/ 228 h 1002"/>
                <a:gd name="T78" fmla="*/ 123 w 1001"/>
                <a:gd name="T79" fmla="*/ 173 h 1002"/>
                <a:gd name="T80" fmla="*/ 173 w 1001"/>
                <a:gd name="T81" fmla="*/ 124 h 1002"/>
                <a:gd name="T82" fmla="*/ 229 w 1001"/>
                <a:gd name="T83" fmla="*/ 82 h 1002"/>
                <a:gd name="T84" fmla="*/ 290 w 1001"/>
                <a:gd name="T85" fmla="*/ 48 h 1002"/>
                <a:gd name="T86" fmla="*/ 356 w 1001"/>
                <a:gd name="T87" fmla="*/ 21 h 1002"/>
                <a:gd name="T88" fmla="*/ 427 w 1001"/>
                <a:gd name="T89" fmla="*/ 6 h 1002"/>
                <a:gd name="T90" fmla="*/ 500 w 1001"/>
                <a:gd name="T91" fmla="*/ 0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01" h="1002">
                  <a:moveTo>
                    <a:pt x="500" y="0"/>
                  </a:moveTo>
                  <a:lnTo>
                    <a:pt x="500" y="0"/>
                  </a:lnTo>
                  <a:lnTo>
                    <a:pt x="574" y="6"/>
                  </a:lnTo>
                  <a:lnTo>
                    <a:pt x="646" y="21"/>
                  </a:lnTo>
                  <a:lnTo>
                    <a:pt x="713" y="48"/>
                  </a:lnTo>
                  <a:lnTo>
                    <a:pt x="773" y="82"/>
                  </a:lnTo>
                  <a:lnTo>
                    <a:pt x="830" y="124"/>
                  </a:lnTo>
                  <a:lnTo>
                    <a:pt x="879" y="173"/>
                  </a:lnTo>
                  <a:lnTo>
                    <a:pt x="921" y="228"/>
                  </a:lnTo>
                  <a:lnTo>
                    <a:pt x="955" y="291"/>
                  </a:lnTo>
                  <a:lnTo>
                    <a:pt x="980" y="357"/>
                  </a:lnTo>
                  <a:lnTo>
                    <a:pt x="997" y="427"/>
                  </a:lnTo>
                  <a:lnTo>
                    <a:pt x="1001" y="501"/>
                  </a:lnTo>
                  <a:lnTo>
                    <a:pt x="997" y="575"/>
                  </a:lnTo>
                  <a:lnTo>
                    <a:pt x="980" y="647"/>
                  </a:lnTo>
                  <a:lnTo>
                    <a:pt x="955" y="714"/>
                  </a:lnTo>
                  <a:lnTo>
                    <a:pt x="921" y="774"/>
                  </a:lnTo>
                  <a:lnTo>
                    <a:pt x="879" y="831"/>
                  </a:lnTo>
                  <a:lnTo>
                    <a:pt x="830" y="880"/>
                  </a:lnTo>
                  <a:lnTo>
                    <a:pt x="773" y="922"/>
                  </a:lnTo>
                  <a:lnTo>
                    <a:pt x="713" y="956"/>
                  </a:lnTo>
                  <a:lnTo>
                    <a:pt x="646" y="981"/>
                  </a:lnTo>
                  <a:lnTo>
                    <a:pt x="574" y="996"/>
                  </a:lnTo>
                  <a:lnTo>
                    <a:pt x="500" y="1002"/>
                  </a:lnTo>
                  <a:lnTo>
                    <a:pt x="427" y="996"/>
                  </a:lnTo>
                  <a:lnTo>
                    <a:pt x="356" y="981"/>
                  </a:lnTo>
                  <a:lnTo>
                    <a:pt x="290" y="956"/>
                  </a:lnTo>
                  <a:lnTo>
                    <a:pt x="229" y="922"/>
                  </a:lnTo>
                  <a:lnTo>
                    <a:pt x="173" y="880"/>
                  </a:lnTo>
                  <a:lnTo>
                    <a:pt x="123" y="831"/>
                  </a:lnTo>
                  <a:lnTo>
                    <a:pt x="82" y="774"/>
                  </a:lnTo>
                  <a:lnTo>
                    <a:pt x="48" y="714"/>
                  </a:lnTo>
                  <a:lnTo>
                    <a:pt x="21" y="647"/>
                  </a:lnTo>
                  <a:lnTo>
                    <a:pt x="6" y="575"/>
                  </a:lnTo>
                  <a:lnTo>
                    <a:pt x="0" y="501"/>
                  </a:lnTo>
                  <a:lnTo>
                    <a:pt x="6" y="427"/>
                  </a:lnTo>
                  <a:lnTo>
                    <a:pt x="21" y="357"/>
                  </a:lnTo>
                  <a:lnTo>
                    <a:pt x="48" y="291"/>
                  </a:lnTo>
                  <a:lnTo>
                    <a:pt x="82" y="228"/>
                  </a:lnTo>
                  <a:lnTo>
                    <a:pt x="123" y="173"/>
                  </a:lnTo>
                  <a:lnTo>
                    <a:pt x="173" y="124"/>
                  </a:lnTo>
                  <a:lnTo>
                    <a:pt x="229" y="82"/>
                  </a:lnTo>
                  <a:lnTo>
                    <a:pt x="290" y="48"/>
                  </a:lnTo>
                  <a:lnTo>
                    <a:pt x="356" y="21"/>
                  </a:lnTo>
                  <a:lnTo>
                    <a:pt x="427" y="6"/>
                  </a:lnTo>
                  <a:lnTo>
                    <a:pt x="5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7"/>
            <p:cNvSpPr>
              <a:spLocks/>
            </p:cNvSpPr>
            <p:nvPr/>
          </p:nvSpPr>
          <p:spPr bwMode="auto">
            <a:xfrm>
              <a:off x="3272" y="1455"/>
              <a:ext cx="2125" cy="1777"/>
            </a:xfrm>
            <a:custGeom>
              <a:avLst/>
              <a:gdLst>
                <a:gd name="T0" fmla="*/ 2151 w 4252"/>
                <a:gd name="T1" fmla="*/ 59 h 3554"/>
                <a:gd name="T2" fmla="*/ 2516 w 4252"/>
                <a:gd name="T3" fmla="*/ 226 h 3554"/>
                <a:gd name="T4" fmla="*/ 2620 w 4252"/>
                <a:gd name="T5" fmla="*/ 284 h 3554"/>
                <a:gd name="T6" fmla="*/ 2770 w 4252"/>
                <a:gd name="T7" fmla="*/ 368 h 3554"/>
                <a:gd name="T8" fmla="*/ 3111 w 4252"/>
                <a:gd name="T9" fmla="*/ 468 h 3554"/>
                <a:gd name="T10" fmla="*/ 3426 w 4252"/>
                <a:gd name="T11" fmla="*/ 415 h 3554"/>
                <a:gd name="T12" fmla="*/ 3706 w 4252"/>
                <a:gd name="T13" fmla="*/ 197 h 3554"/>
                <a:gd name="T14" fmla="*/ 3878 w 4252"/>
                <a:gd name="T15" fmla="*/ 25 h 3554"/>
                <a:gd name="T16" fmla="*/ 4049 w 4252"/>
                <a:gd name="T17" fmla="*/ 13 h 3554"/>
                <a:gd name="T18" fmla="*/ 4193 w 4252"/>
                <a:gd name="T19" fmla="*/ 97 h 3554"/>
                <a:gd name="T20" fmla="*/ 4252 w 4252"/>
                <a:gd name="T21" fmla="*/ 243 h 3554"/>
                <a:gd name="T22" fmla="*/ 4123 w 4252"/>
                <a:gd name="T23" fmla="*/ 476 h 3554"/>
                <a:gd name="T24" fmla="*/ 3761 w 4252"/>
                <a:gd name="T25" fmla="*/ 798 h 3554"/>
                <a:gd name="T26" fmla="*/ 3346 w 4252"/>
                <a:gd name="T27" fmla="*/ 956 h 3554"/>
                <a:gd name="T28" fmla="*/ 2897 w 4252"/>
                <a:gd name="T29" fmla="*/ 944 h 3554"/>
                <a:gd name="T30" fmla="*/ 2296 w 4252"/>
                <a:gd name="T31" fmla="*/ 1805 h 3554"/>
                <a:gd name="T32" fmla="*/ 2579 w 4252"/>
                <a:gd name="T33" fmla="*/ 1976 h 3554"/>
                <a:gd name="T34" fmla="*/ 2836 w 4252"/>
                <a:gd name="T35" fmla="*/ 2164 h 3554"/>
                <a:gd name="T36" fmla="*/ 3011 w 4252"/>
                <a:gd name="T37" fmla="*/ 2321 h 3554"/>
                <a:gd name="T38" fmla="*/ 3174 w 4252"/>
                <a:gd name="T39" fmla="*/ 2589 h 3554"/>
                <a:gd name="T40" fmla="*/ 3329 w 4252"/>
                <a:gd name="T41" fmla="*/ 2913 h 3554"/>
                <a:gd name="T42" fmla="*/ 3462 w 4252"/>
                <a:gd name="T43" fmla="*/ 3199 h 3554"/>
                <a:gd name="T44" fmla="*/ 3481 w 4252"/>
                <a:gd name="T45" fmla="*/ 3370 h 3554"/>
                <a:gd name="T46" fmla="*/ 3392 w 4252"/>
                <a:gd name="T47" fmla="*/ 3495 h 3554"/>
                <a:gd name="T48" fmla="*/ 3244 w 4252"/>
                <a:gd name="T49" fmla="*/ 3552 h 3554"/>
                <a:gd name="T50" fmla="*/ 3092 w 4252"/>
                <a:gd name="T51" fmla="*/ 3516 h 3554"/>
                <a:gd name="T52" fmla="*/ 2978 w 4252"/>
                <a:gd name="T53" fmla="*/ 3358 h 3554"/>
                <a:gd name="T54" fmla="*/ 2857 w 4252"/>
                <a:gd name="T55" fmla="*/ 3091 h 3554"/>
                <a:gd name="T56" fmla="*/ 2723 w 4252"/>
                <a:gd name="T57" fmla="*/ 2818 h 3554"/>
                <a:gd name="T58" fmla="*/ 2601 w 4252"/>
                <a:gd name="T59" fmla="*/ 2623 h 3554"/>
                <a:gd name="T60" fmla="*/ 2471 w 4252"/>
                <a:gd name="T61" fmla="*/ 2516 h 3554"/>
                <a:gd name="T62" fmla="*/ 2253 w 4252"/>
                <a:gd name="T63" fmla="*/ 2369 h 3554"/>
                <a:gd name="T64" fmla="*/ 1993 w 4252"/>
                <a:gd name="T65" fmla="*/ 2221 h 3554"/>
                <a:gd name="T66" fmla="*/ 1760 w 4252"/>
                <a:gd name="T67" fmla="*/ 2118 h 3554"/>
                <a:gd name="T68" fmla="*/ 1463 w 4252"/>
                <a:gd name="T69" fmla="*/ 2391 h 3554"/>
                <a:gd name="T70" fmla="*/ 1086 w 4252"/>
                <a:gd name="T71" fmla="*/ 2558 h 3554"/>
                <a:gd name="T72" fmla="*/ 667 w 4252"/>
                <a:gd name="T73" fmla="*/ 2600 h 3554"/>
                <a:gd name="T74" fmla="*/ 239 w 4252"/>
                <a:gd name="T75" fmla="*/ 2488 h 3554"/>
                <a:gd name="T76" fmla="*/ 31 w 4252"/>
                <a:gd name="T77" fmla="*/ 2331 h 3554"/>
                <a:gd name="T78" fmla="*/ 4 w 4252"/>
                <a:gd name="T79" fmla="*/ 2169 h 3554"/>
                <a:gd name="T80" fmla="*/ 82 w 4252"/>
                <a:gd name="T81" fmla="*/ 2025 h 3554"/>
                <a:gd name="T82" fmla="*/ 230 w 4252"/>
                <a:gd name="T83" fmla="*/ 1948 h 3554"/>
                <a:gd name="T84" fmla="*/ 415 w 4252"/>
                <a:gd name="T85" fmla="*/ 1987 h 3554"/>
                <a:gd name="T86" fmla="*/ 737 w 4252"/>
                <a:gd name="T87" fmla="*/ 2077 h 3554"/>
                <a:gd name="T88" fmla="*/ 1040 w 4252"/>
                <a:gd name="T89" fmla="*/ 1997 h 3554"/>
                <a:gd name="T90" fmla="*/ 1300 w 4252"/>
                <a:gd name="T91" fmla="*/ 1794 h 3554"/>
                <a:gd name="T92" fmla="*/ 1495 w 4252"/>
                <a:gd name="T93" fmla="*/ 1515 h 3554"/>
                <a:gd name="T94" fmla="*/ 1736 w 4252"/>
                <a:gd name="T95" fmla="*/ 1037 h 3554"/>
                <a:gd name="T96" fmla="*/ 1950 w 4252"/>
                <a:gd name="T97" fmla="*/ 639 h 3554"/>
                <a:gd name="T98" fmla="*/ 1749 w 4252"/>
                <a:gd name="T99" fmla="*/ 504 h 3554"/>
                <a:gd name="T100" fmla="*/ 1434 w 4252"/>
                <a:gd name="T101" fmla="*/ 595 h 3554"/>
                <a:gd name="T102" fmla="*/ 1160 w 4252"/>
                <a:gd name="T103" fmla="*/ 857 h 3554"/>
                <a:gd name="T104" fmla="*/ 1008 w 4252"/>
                <a:gd name="T105" fmla="*/ 961 h 3554"/>
                <a:gd name="T106" fmla="*/ 840 w 4252"/>
                <a:gd name="T107" fmla="*/ 946 h 3554"/>
                <a:gd name="T108" fmla="*/ 711 w 4252"/>
                <a:gd name="T109" fmla="*/ 846 h 3554"/>
                <a:gd name="T110" fmla="*/ 682 w 4252"/>
                <a:gd name="T111" fmla="*/ 690 h 3554"/>
                <a:gd name="T112" fmla="*/ 891 w 4252"/>
                <a:gd name="T113" fmla="*/ 402 h 3554"/>
                <a:gd name="T114" fmla="*/ 1270 w 4252"/>
                <a:gd name="T115" fmla="*/ 119 h 3554"/>
                <a:gd name="T116" fmla="*/ 1694 w 4252"/>
                <a:gd name="T117" fmla="*/ 4 h 3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52" h="3554">
                  <a:moveTo>
                    <a:pt x="1806" y="0"/>
                  </a:moveTo>
                  <a:lnTo>
                    <a:pt x="1919" y="9"/>
                  </a:lnTo>
                  <a:lnTo>
                    <a:pt x="2035" y="28"/>
                  </a:lnTo>
                  <a:lnTo>
                    <a:pt x="2151" y="59"/>
                  </a:lnTo>
                  <a:lnTo>
                    <a:pt x="2266" y="100"/>
                  </a:lnTo>
                  <a:lnTo>
                    <a:pt x="2384" y="154"/>
                  </a:lnTo>
                  <a:lnTo>
                    <a:pt x="2501" y="218"/>
                  </a:lnTo>
                  <a:lnTo>
                    <a:pt x="2516" y="226"/>
                  </a:lnTo>
                  <a:lnTo>
                    <a:pt x="2537" y="239"/>
                  </a:lnTo>
                  <a:lnTo>
                    <a:pt x="2564" y="252"/>
                  </a:lnTo>
                  <a:lnTo>
                    <a:pt x="2592" y="269"/>
                  </a:lnTo>
                  <a:lnTo>
                    <a:pt x="2620" y="284"/>
                  </a:lnTo>
                  <a:lnTo>
                    <a:pt x="2645" y="300"/>
                  </a:lnTo>
                  <a:lnTo>
                    <a:pt x="2668" y="311"/>
                  </a:lnTo>
                  <a:lnTo>
                    <a:pt x="2683" y="320"/>
                  </a:lnTo>
                  <a:lnTo>
                    <a:pt x="2770" y="368"/>
                  </a:lnTo>
                  <a:lnTo>
                    <a:pt x="2857" y="408"/>
                  </a:lnTo>
                  <a:lnTo>
                    <a:pt x="2944" y="436"/>
                  </a:lnTo>
                  <a:lnTo>
                    <a:pt x="3028" y="457"/>
                  </a:lnTo>
                  <a:lnTo>
                    <a:pt x="3111" y="468"/>
                  </a:lnTo>
                  <a:lnTo>
                    <a:pt x="3193" y="470"/>
                  </a:lnTo>
                  <a:lnTo>
                    <a:pt x="3272" y="461"/>
                  </a:lnTo>
                  <a:lnTo>
                    <a:pt x="3350" y="444"/>
                  </a:lnTo>
                  <a:lnTo>
                    <a:pt x="3426" y="415"/>
                  </a:lnTo>
                  <a:lnTo>
                    <a:pt x="3499" y="375"/>
                  </a:lnTo>
                  <a:lnTo>
                    <a:pt x="3571" y="326"/>
                  </a:lnTo>
                  <a:lnTo>
                    <a:pt x="3640" y="267"/>
                  </a:lnTo>
                  <a:lnTo>
                    <a:pt x="3706" y="197"/>
                  </a:lnTo>
                  <a:lnTo>
                    <a:pt x="3769" y="116"/>
                  </a:lnTo>
                  <a:lnTo>
                    <a:pt x="3801" y="78"/>
                  </a:lnTo>
                  <a:lnTo>
                    <a:pt x="3839" y="47"/>
                  </a:lnTo>
                  <a:lnTo>
                    <a:pt x="3878" y="25"/>
                  </a:lnTo>
                  <a:lnTo>
                    <a:pt x="3920" y="11"/>
                  </a:lnTo>
                  <a:lnTo>
                    <a:pt x="3964" y="6"/>
                  </a:lnTo>
                  <a:lnTo>
                    <a:pt x="4007" y="6"/>
                  </a:lnTo>
                  <a:lnTo>
                    <a:pt x="4049" y="13"/>
                  </a:lnTo>
                  <a:lnTo>
                    <a:pt x="4091" y="27"/>
                  </a:lnTo>
                  <a:lnTo>
                    <a:pt x="4128" y="45"/>
                  </a:lnTo>
                  <a:lnTo>
                    <a:pt x="4163" y="68"/>
                  </a:lnTo>
                  <a:lnTo>
                    <a:pt x="4193" y="97"/>
                  </a:lnTo>
                  <a:lnTo>
                    <a:pt x="4218" y="129"/>
                  </a:lnTo>
                  <a:lnTo>
                    <a:pt x="4236" y="163"/>
                  </a:lnTo>
                  <a:lnTo>
                    <a:pt x="4248" y="201"/>
                  </a:lnTo>
                  <a:lnTo>
                    <a:pt x="4252" y="243"/>
                  </a:lnTo>
                  <a:lnTo>
                    <a:pt x="4246" y="284"/>
                  </a:lnTo>
                  <a:lnTo>
                    <a:pt x="4231" y="328"/>
                  </a:lnTo>
                  <a:lnTo>
                    <a:pt x="4204" y="372"/>
                  </a:lnTo>
                  <a:lnTo>
                    <a:pt x="4123" y="476"/>
                  </a:lnTo>
                  <a:lnTo>
                    <a:pt x="4039" y="573"/>
                  </a:lnTo>
                  <a:lnTo>
                    <a:pt x="3950" y="658"/>
                  </a:lnTo>
                  <a:lnTo>
                    <a:pt x="3858" y="732"/>
                  </a:lnTo>
                  <a:lnTo>
                    <a:pt x="3761" y="798"/>
                  </a:lnTo>
                  <a:lnTo>
                    <a:pt x="3661" y="853"/>
                  </a:lnTo>
                  <a:lnTo>
                    <a:pt x="3558" y="899"/>
                  </a:lnTo>
                  <a:lnTo>
                    <a:pt x="3454" y="933"/>
                  </a:lnTo>
                  <a:lnTo>
                    <a:pt x="3346" y="956"/>
                  </a:lnTo>
                  <a:lnTo>
                    <a:pt x="3236" y="969"/>
                  </a:lnTo>
                  <a:lnTo>
                    <a:pt x="3124" y="973"/>
                  </a:lnTo>
                  <a:lnTo>
                    <a:pt x="3013" y="963"/>
                  </a:lnTo>
                  <a:lnTo>
                    <a:pt x="2897" y="944"/>
                  </a:lnTo>
                  <a:lnTo>
                    <a:pt x="2781" y="914"/>
                  </a:lnTo>
                  <a:lnTo>
                    <a:pt x="2615" y="1208"/>
                  </a:lnTo>
                  <a:lnTo>
                    <a:pt x="2452" y="1506"/>
                  </a:lnTo>
                  <a:lnTo>
                    <a:pt x="2296" y="1805"/>
                  </a:lnTo>
                  <a:lnTo>
                    <a:pt x="2365" y="1841"/>
                  </a:lnTo>
                  <a:lnTo>
                    <a:pt x="2437" y="1885"/>
                  </a:lnTo>
                  <a:lnTo>
                    <a:pt x="2509" y="1929"/>
                  </a:lnTo>
                  <a:lnTo>
                    <a:pt x="2579" y="1976"/>
                  </a:lnTo>
                  <a:lnTo>
                    <a:pt x="2649" y="2023"/>
                  </a:lnTo>
                  <a:lnTo>
                    <a:pt x="2715" y="2073"/>
                  </a:lnTo>
                  <a:lnTo>
                    <a:pt x="2778" y="2118"/>
                  </a:lnTo>
                  <a:lnTo>
                    <a:pt x="2836" y="2164"/>
                  </a:lnTo>
                  <a:lnTo>
                    <a:pt x="2888" y="2204"/>
                  </a:lnTo>
                  <a:lnTo>
                    <a:pt x="2933" y="2240"/>
                  </a:lnTo>
                  <a:lnTo>
                    <a:pt x="2971" y="2276"/>
                  </a:lnTo>
                  <a:lnTo>
                    <a:pt x="3011" y="2321"/>
                  </a:lnTo>
                  <a:lnTo>
                    <a:pt x="3050" y="2378"/>
                  </a:lnTo>
                  <a:lnTo>
                    <a:pt x="3090" y="2443"/>
                  </a:lnTo>
                  <a:lnTo>
                    <a:pt x="3132" y="2513"/>
                  </a:lnTo>
                  <a:lnTo>
                    <a:pt x="3174" y="2589"/>
                  </a:lnTo>
                  <a:lnTo>
                    <a:pt x="3213" y="2668"/>
                  </a:lnTo>
                  <a:lnTo>
                    <a:pt x="3253" y="2750"/>
                  </a:lnTo>
                  <a:lnTo>
                    <a:pt x="3291" y="2831"/>
                  </a:lnTo>
                  <a:lnTo>
                    <a:pt x="3329" y="2913"/>
                  </a:lnTo>
                  <a:lnTo>
                    <a:pt x="3365" y="2992"/>
                  </a:lnTo>
                  <a:lnTo>
                    <a:pt x="3401" y="3066"/>
                  </a:lnTo>
                  <a:lnTo>
                    <a:pt x="3433" y="3137"/>
                  </a:lnTo>
                  <a:lnTo>
                    <a:pt x="3462" y="3199"/>
                  </a:lnTo>
                  <a:lnTo>
                    <a:pt x="3479" y="3245"/>
                  </a:lnTo>
                  <a:lnTo>
                    <a:pt x="3488" y="3288"/>
                  </a:lnTo>
                  <a:lnTo>
                    <a:pt x="3488" y="3330"/>
                  </a:lnTo>
                  <a:lnTo>
                    <a:pt x="3481" y="3370"/>
                  </a:lnTo>
                  <a:lnTo>
                    <a:pt x="3465" y="3406"/>
                  </a:lnTo>
                  <a:lnTo>
                    <a:pt x="3446" y="3440"/>
                  </a:lnTo>
                  <a:lnTo>
                    <a:pt x="3420" y="3470"/>
                  </a:lnTo>
                  <a:lnTo>
                    <a:pt x="3392" y="3495"/>
                  </a:lnTo>
                  <a:lnTo>
                    <a:pt x="3357" y="3518"/>
                  </a:lnTo>
                  <a:lnTo>
                    <a:pt x="3321" y="3535"/>
                  </a:lnTo>
                  <a:lnTo>
                    <a:pt x="3284" y="3546"/>
                  </a:lnTo>
                  <a:lnTo>
                    <a:pt x="3244" y="3552"/>
                  </a:lnTo>
                  <a:lnTo>
                    <a:pt x="3204" y="3554"/>
                  </a:lnTo>
                  <a:lnTo>
                    <a:pt x="3166" y="3548"/>
                  </a:lnTo>
                  <a:lnTo>
                    <a:pt x="3128" y="3535"/>
                  </a:lnTo>
                  <a:lnTo>
                    <a:pt x="3092" y="3516"/>
                  </a:lnTo>
                  <a:lnTo>
                    <a:pt x="3058" y="3489"/>
                  </a:lnTo>
                  <a:lnTo>
                    <a:pt x="3030" y="3455"/>
                  </a:lnTo>
                  <a:lnTo>
                    <a:pt x="3005" y="3413"/>
                  </a:lnTo>
                  <a:lnTo>
                    <a:pt x="2978" y="3358"/>
                  </a:lnTo>
                  <a:lnTo>
                    <a:pt x="2950" y="3298"/>
                  </a:lnTo>
                  <a:lnTo>
                    <a:pt x="2920" y="3231"/>
                  </a:lnTo>
                  <a:lnTo>
                    <a:pt x="2889" y="3163"/>
                  </a:lnTo>
                  <a:lnTo>
                    <a:pt x="2857" y="3091"/>
                  </a:lnTo>
                  <a:lnTo>
                    <a:pt x="2823" y="3021"/>
                  </a:lnTo>
                  <a:lnTo>
                    <a:pt x="2789" y="2951"/>
                  </a:lnTo>
                  <a:lnTo>
                    <a:pt x="2757" y="2883"/>
                  </a:lnTo>
                  <a:lnTo>
                    <a:pt x="2723" y="2818"/>
                  </a:lnTo>
                  <a:lnTo>
                    <a:pt x="2691" y="2757"/>
                  </a:lnTo>
                  <a:lnTo>
                    <a:pt x="2660" y="2704"/>
                  </a:lnTo>
                  <a:lnTo>
                    <a:pt x="2630" y="2659"/>
                  </a:lnTo>
                  <a:lnTo>
                    <a:pt x="2601" y="2623"/>
                  </a:lnTo>
                  <a:lnTo>
                    <a:pt x="2577" y="2596"/>
                  </a:lnTo>
                  <a:lnTo>
                    <a:pt x="2548" y="2573"/>
                  </a:lnTo>
                  <a:lnTo>
                    <a:pt x="2512" y="2547"/>
                  </a:lnTo>
                  <a:lnTo>
                    <a:pt x="2471" y="2516"/>
                  </a:lnTo>
                  <a:lnTo>
                    <a:pt x="2423" y="2482"/>
                  </a:lnTo>
                  <a:lnTo>
                    <a:pt x="2370" y="2446"/>
                  </a:lnTo>
                  <a:lnTo>
                    <a:pt x="2314" y="2408"/>
                  </a:lnTo>
                  <a:lnTo>
                    <a:pt x="2253" y="2369"/>
                  </a:lnTo>
                  <a:lnTo>
                    <a:pt x="2190" y="2331"/>
                  </a:lnTo>
                  <a:lnTo>
                    <a:pt x="2124" y="2291"/>
                  </a:lnTo>
                  <a:lnTo>
                    <a:pt x="2060" y="2255"/>
                  </a:lnTo>
                  <a:lnTo>
                    <a:pt x="1993" y="2221"/>
                  </a:lnTo>
                  <a:lnTo>
                    <a:pt x="1927" y="2188"/>
                  </a:lnTo>
                  <a:lnTo>
                    <a:pt x="1863" y="2160"/>
                  </a:lnTo>
                  <a:lnTo>
                    <a:pt x="1800" y="2135"/>
                  </a:lnTo>
                  <a:lnTo>
                    <a:pt x="1760" y="2118"/>
                  </a:lnTo>
                  <a:lnTo>
                    <a:pt x="1694" y="2196"/>
                  </a:lnTo>
                  <a:lnTo>
                    <a:pt x="1622" y="2266"/>
                  </a:lnTo>
                  <a:lnTo>
                    <a:pt x="1544" y="2331"/>
                  </a:lnTo>
                  <a:lnTo>
                    <a:pt x="1463" y="2391"/>
                  </a:lnTo>
                  <a:lnTo>
                    <a:pt x="1374" y="2443"/>
                  </a:lnTo>
                  <a:lnTo>
                    <a:pt x="1281" y="2490"/>
                  </a:lnTo>
                  <a:lnTo>
                    <a:pt x="1186" y="2528"/>
                  </a:lnTo>
                  <a:lnTo>
                    <a:pt x="1086" y="2558"/>
                  </a:lnTo>
                  <a:lnTo>
                    <a:pt x="984" y="2583"/>
                  </a:lnTo>
                  <a:lnTo>
                    <a:pt x="879" y="2596"/>
                  </a:lnTo>
                  <a:lnTo>
                    <a:pt x="775" y="2604"/>
                  </a:lnTo>
                  <a:lnTo>
                    <a:pt x="667" y="2600"/>
                  </a:lnTo>
                  <a:lnTo>
                    <a:pt x="559" y="2587"/>
                  </a:lnTo>
                  <a:lnTo>
                    <a:pt x="453" y="2564"/>
                  </a:lnTo>
                  <a:lnTo>
                    <a:pt x="345" y="2532"/>
                  </a:lnTo>
                  <a:lnTo>
                    <a:pt x="239" y="2488"/>
                  </a:lnTo>
                  <a:lnTo>
                    <a:pt x="135" y="2433"/>
                  </a:lnTo>
                  <a:lnTo>
                    <a:pt x="91" y="2403"/>
                  </a:lnTo>
                  <a:lnTo>
                    <a:pt x="55" y="2367"/>
                  </a:lnTo>
                  <a:lnTo>
                    <a:pt x="31" y="2331"/>
                  </a:lnTo>
                  <a:lnTo>
                    <a:pt x="12" y="2291"/>
                  </a:lnTo>
                  <a:lnTo>
                    <a:pt x="2" y="2251"/>
                  </a:lnTo>
                  <a:lnTo>
                    <a:pt x="0" y="2209"/>
                  </a:lnTo>
                  <a:lnTo>
                    <a:pt x="4" y="2169"/>
                  </a:lnTo>
                  <a:lnTo>
                    <a:pt x="15" y="2130"/>
                  </a:lnTo>
                  <a:lnTo>
                    <a:pt x="32" y="2092"/>
                  </a:lnTo>
                  <a:lnTo>
                    <a:pt x="55" y="2058"/>
                  </a:lnTo>
                  <a:lnTo>
                    <a:pt x="82" y="2025"/>
                  </a:lnTo>
                  <a:lnTo>
                    <a:pt x="112" y="1997"/>
                  </a:lnTo>
                  <a:lnTo>
                    <a:pt x="148" y="1974"/>
                  </a:lnTo>
                  <a:lnTo>
                    <a:pt x="186" y="1959"/>
                  </a:lnTo>
                  <a:lnTo>
                    <a:pt x="230" y="1948"/>
                  </a:lnTo>
                  <a:lnTo>
                    <a:pt x="273" y="1946"/>
                  </a:lnTo>
                  <a:lnTo>
                    <a:pt x="319" y="1949"/>
                  </a:lnTo>
                  <a:lnTo>
                    <a:pt x="366" y="1965"/>
                  </a:lnTo>
                  <a:lnTo>
                    <a:pt x="415" y="1987"/>
                  </a:lnTo>
                  <a:lnTo>
                    <a:pt x="497" y="2027"/>
                  </a:lnTo>
                  <a:lnTo>
                    <a:pt x="576" y="2056"/>
                  </a:lnTo>
                  <a:lnTo>
                    <a:pt x="658" y="2071"/>
                  </a:lnTo>
                  <a:lnTo>
                    <a:pt x="737" y="2077"/>
                  </a:lnTo>
                  <a:lnTo>
                    <a:pt x="815" y="2071"/>
                  </a:lnTo>
                  <a:lnTo>
                    <a:pt x="893" y="2054"/>
                  </a:lnTo>
                  <a:lnTo>
                    <a:pt x="966" y="2029"/>
                  </a:lnTo>
                  <a:lnTo>
                    <a:pt x="1040" y="1997"/>
                  </a:lnTo>
                  <a:lnTo>
                    <a:pt x="1110" y="1955"/>
                  </a:lnTo>
                  <a:lnTo>
                    <a:pt x="1177" y="1908"/>
                  </a:lnTo>
                  <a:lnTo>
                    <a:pt x="1241" y="1853"/>
                  </a:lnTo>
                  <a:lnTo>
                    <a:pt x="1300" y="1794"/>
                  </a:lnTo>
                  <a:lnTo>
                    <a:pt x="1357" y="1729"/>
                  </a:lnTo>
                  <a:lnTo>
                    <a:pt x="1408" y="1661"/>
                  </a:lnTo>
                  <a:lnTo>
                    <a:pt x="1453" y="1589"/>
                  </a:lnTo>
                  <a:lnTo>
                    <a:pt x="1495" y="1515"/>
                  </a:lnTo>
                  <a:lnTo>
                    <a:pt x="1559" y="1384"/>
                  </a:lnTo>
                  <a:lnTo>
                    <a:pt x="1622" y="1263"/>
                  </a:lnTo>
                  <a:lnTo>
                    <a:pt x="1681" y="1147"/>
                  </a:lnTo>
                  <a:lnTo>
                    <a:pt x="1736" y="1037"/>
                  </a:lnTo>
                  <a:lnTo>
                    <a:pt x="1791" y="933"/>
                  </a:lnTo>
                  <a:lnTo>
                    <a:pt x="1844" y="832"/>
                  </a:lnTo>
                  <a:lnTo>
                    <a:pt x="1897" y="734"/>
                  </a:lnTo>
                  <a:lnTo>
                    <a:pt x="1950" y="639"/>
                  </a:lnTo>
                  <a:lnTo>
                    <a:pt x="2005" y="542"/>
                  </a:lnTo>
                  <a:lnTo>
                    <a:pt x="1918" y="520"/>
                  </a:lnTo>
                  <a:lnTo>
                    <a:pt x="1832" y="506"/>
                  </a:lnTo>
                  <a:lnTo>
                    <a:pt x="1749" y="504"/>
                  </a:lnTo>
                  <a:lnTo>
                    <a:pt x="1667" y="510"/>
                  </a:lnTo>
                  <a:lnTo>
                    <a:pt x="1588" y="529"/>
                  </a:lnTo>
                  <a:lnTo>
                    <a:pt x="1510" y="556"/>
                  </a:lnTo>
                  <a:lnTo>
                    <a:pt x="1434" y="595"/>
                  </a:lnTo>
                  <a:lnTo>
                    <a:pt x="1362" y="643"/>
                  </a:lnTo>
                  <a:lnTo>
                    <a:pt x="1292" y="704"/>
                  </a:lnTo>
                  <a:lnTo>
                    <a:pt x="1224" y="776"/>
                  </a:lnTo>
                  <a:lnTo>
                    <a:pt x="1160" y="857"/>
                  </a:lnTo>
                  <a:lnTo>
                    <a:pt x="1128" y="897"/>
                  </a:lnTo>
                  <a:lnTo>
                    <a:pt x="1090" y="927"/>
                  </a:lnTo>
                  <a:lnTo>
                    <a:pt x="1050" y="948"/>
                  </a:lnTo>
                  <a:lnTo>
                    <a:pt x="1008" y="961"/>
                  </a:lnTo>
                  <a:lnTo>
                    <a:pt x="965" y="967"/>
                  </a:lnTo>
                  <a:lnTo>
                    <a:pt x="921" y="967"/>
                  </a:lnTo>
                  <a:lnTo>
                    <a:pt x="879" y="960"/>
                  </a:lnTo>
                  <a:lnTo>
                    <a:pt x="840" y="946"/>
                  </a:lnTo>
                  <a:lnTo>
                    <a:pt x="802" y="927"/>
                  </a:lnTo>
                  <a:lnTo>
                    <a:pt x="766" y="905"/>
                  </a:lnTo>
                  <a:lnTo>
                    <a:pt x="735" y="876"/>
                  </a:lnTo>
                  <a:lnTo>
                    <a:pt x="711" y="846"/>
                  </a:lnTo>
                  <a:lnTo>
                    <a:pt x="692" y="810"/>
                  </a:lnTo>
                  <a:lnTo>
                    <a:pt x="680" y="772"/>
                  </a:lnTo>
                  <a:lnTo>
                    <a:pt x="679" y="732"/>
                  </a:lnTo>
                  <a:lnTo>
                    <a:pt x="682" y="690"/>
                  </a:lnTo>
                  <a:lnTo>
                    <a:pt x="697" y="647"/>
                  </a:lnTo>
                  <a:lnTo>
                    <a:pt x="724" y="603"/>
                  </a:lnTo>
                  <a:lnTo>
                    <a:pt x="805" y="497"/>
                  </a:lnTo>
                  <a:lnTo>
                    <a:pt x="891" y="402"/>
                  </a:lnTo>
                  <a:lnTo>
                    <a:pt x="980" y="315"/>
                  </a:lnTo>
                  <a:lnTo>
                    <a:pt x="1073" y="241"/>
                  </a:lnTo>
                  <a:lnTo>
                    <a:pt x="1169" y="174"/>
                  </a:lnTo>
                  <a:lnTo>
                    <a:pt x="1270" y="119"/>
                  </a:lnTo>
                  <a:lnTo>
                    <a:pt x="1372" y="74"/>
                  </a:lnTo>
                  <a:lnTo>
                    <a:pt x="1476" y="40"/>
                  </a:lnTo>
                  <a:lnTo>
                    <a:pt x="1584" y="17"/>
                  </a:lnTo>
                  <a:lnTo>
                    <a:pt x="1694" y="4"/>
                  </a:lnTo>
                  <a:lnTo>
                    <a:pt x="180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" name="Content Placeholder 5"/>
          <p:cNvSpPr txBox="1">
            <a:spLocks/>
          </p:cNvSpPr>
          <p:nvPr/>
        </p:nvSpPr>
        <p:spPr>
          <a:xfrm>
            <a:off x="946484" y="1766054"/>
            <a:ext cx="8229600" cy="6096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smtClean="0">
                <a:solidFill>
                  <a:srgbClr val="0084CB"/>
                </a:solidFill>
                <a:latin typeface="Raleway" panose="020B0003030101060003" pitchFamily="34" charset="0"/>
              </a:rPr>
              <a:t>Automate inquiries as they meet your confidence threshold</a:t>
            </a:r>
            <a:endParaRPr lang="en-CA" sz="20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 flipV="1">
            <a:off x="4070684" y="2791326"/>
            <a:ext cx="0" cy="304800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070684" y="5839326"/>
            <a:ext cx="5867400" cy="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040416" y="2893417"/>
            <a:ext cx="2983203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84CB"/>
                </a:solidFill>
                <a:latin typeface="Raleway" panose="020B0003030101060003" pitchFamily="34" charset="0"/>
              </a:rPr>
              <a:t>Niche Requests</a:t>
            </a:r>
          </a:p>
          <a:p>
            <a:endParaRPr lang="en-US" sz="2400" dirty="0">
              <a:solidFill>
                <a:srgbClr val="0084CB"/>
              </a:solidFill>
              <a:latin typeface="Raleway" panose="020B0003030101060003" pitchFamily="34" charset="0"/>
            </a:endParaRPr>
          </a:p>
          <a:p>
            <a:r>
              <a:rPr lang="en-US" sz="24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Most Frequent Requests</a:t>
            </a:r>
            <a:endParaRPr lang="en-US" sz="2400" dirty="0">
              <a:solidFill>
                <a:srgbClr val="0084CB"/>
              </a:solidFill>
              <a:latin typeface="Raleway" panose="020B0003030101060003" pitchFamily="34" charset="0"/>
            </a:endParaRPr>
          </a:p>
          <a:p>
            <a:endParaRPr lang="en-US" sz="2400" dirty="0">
              <a:solidFill>
                <a:srgbClr val="0084CB"/>
              </a:solidFill>
              <a:latin typeface="Raleway" panose="020B0003030101060003" pitchFamily="34" charset="0"/>
            </a:endParaRPr>
          </a:p>
          <a:p>
            <a:endParaRPr lang="en-US" sz="800" dirty="0">
              <a:solidFill>
                <a:srgbClr val="0084CB"/>
              </a:solidFill>
              <a:latin typeface="Raleway" panose="020B0003030101060003" pitchFamily="34" charset="0"/>
            </a:endParaRPr>
          </a:p>
          <a:p>
            <a:r>
              <a:rPr lang="en-US" sz="24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FAQ Content</a:t>
            </a:r>
            <a:endParaRPr lang="en-CA" sz="24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4223084" y="5229726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4832684" y="5229726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5442284" y="5229726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6051884" y="5229726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6668741" y="5229726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7277422" y="5233355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4832684" y="4620126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5442284" y="4620126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6051884" y="4620126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6668741" y="4620126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7277422" y="4620126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7887022" y="5233355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8495703" y="5236984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887022" y="4623755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8495703" y="4623755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105303" y="5236984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9105303" y="4623755"/>
            <a:ext cx="457200" cy="457200"/>
          </a:xfrm>
          <a:prstGeom prst="ellipse">
            <a:avLst/>
          </a:prstGeom>
          <a:solidFill>
            <a:srgbClr val="008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5449541" y="4010526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6059141" y="4010526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6675998" y="4010526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7284679" y="4014155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6059141" y="3400926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6675998" y="3400926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7284679" y="3400926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7894279" y="4014155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8502960" y="4017784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7894279" y="3404555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48" name="Oval 47"/>
          <p:cNvSpPr/>
          <p:nvPr/>
        </p:nvSpPr>
        <p:spPr>
          <a:xfrm>
            <a:off x="8502960" y="3404555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49" name="Oval 48"/>
          <p:cNvSpPr/>
          <p:nvPr/>
        </p:nvSpPr>
        <p:spPr>
          <a:xfrm>
            <a:off x="9112560" y="4017784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9112560" y="3404555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7284679" y="2791326"/>
            <a:ext cx="457200" cy="4572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52" name="Oval 51"/>
          <p:cNvSpPr/>
          <p:nvPr/>
        </p:nvSpPr>
        <p:spPr>
          <a:xfrm>
            <a:off x="7894279" y="2794955"/>
            <a:ext cx="457200" cy="4572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53" name="Oval 52"/>
          <p:cNvSpPr/>
          <p:nvPr/>
        </p:nvSpPr>
        <p:spPr>
          <a:xfrm>
            <a:off x="8502960" y="2794955"/>
            <a:ext cx="457200" cy="4572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54" name="Oval 53"/>
          <p:cNvSpPr/>
          <p:nvPr/>
        </p:nvSpPr>
        <p:spPr>
          <a:xfrm>
            <a:off x="9112560" y="2794955"/>
            <a:ext cx="457200" cy="4572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 flipH="1">
            <a:off x="1860884" y="3324730"/>
            <a:ext cx="78486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H="1">
            <a:off x="1860884" y="4562071"/>
            <a:ext cx="7848600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/>
          <p:cNvSpPr/>
          <p:nvPr/>
        </p:nvSpPr>
        <p:spPr>
          <a:xfrm>
            <a:off x="4832684" y="4017784"/>
            <a:ext cx="457200" cy="457200"/>
          </a:xfrm>
          <a:prstGeom prst="ellipse">
            <a:avLst/>
          </a:prstGeom>
          <a:solidFill>
            <a:srgbClr val="0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070684" y="5925706"/>
            <a:ext cx="5867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0084CB"/>
                </a:solidFill>
                <a:latin typeface="Raleway" panose="020B0003030101060003" pitchFamily="34" charset="0"/>
              </a:rPr>
              <a:t>Time</a:t>
            </a:r>
            <a:endParaRPr lang="en-CA" sz="28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sp>
        <p:nvSpPr>
          <p:cNvPr id="59" name="Freeform 6"/>
          <p:cNvSpPr>
            <a:spLocks noChangeAspect="1" noEditPoints="1"/>
          </p:cNvSpPr>
          <p:nvPr/>
        </p:nvSpPr>
        <p:spPr bwMode="auto">
          <a:xfrm>
            <a:off x="669488" y="1815603"/>
            <a:ext cx="276996" cy="274320"/>
          </a:xfrm>
          <a:custGeom>
            <a:avLst/>
            <a:gdLst>
              <a:gd name="T0" fmla="*/ 2188 w 3309"/>
              <a:gd name="T1" fmla="*/ 922 h 3277"/>
              <a:gd name="T2" fmla="*/ 2136 w 3309"/>
              <a:gd name="T3" fmla="*/ 966 h 3277"/>
              <a:gd name="T4" fmla="*/ 1087 w 3309"/>
              <a:gd name="T5" fmla="*/ 1747 h 3277"/>
              <a:gd name="T6" fmla="*/ 1022 w 3309"/>
              <a:gd name="T7" fmla="*/ 1730 h 3277"/>
              <a:gd name="T8" fmla="*/ 959 w 3309"/>
              <a:gd name="T9" fmla="*/ 1758 h 3277"/>
              <a:gd name="T10" fmla="*/ 927 w 3309"/>
              <a:gd name="T11" fmla="*/ 1818 h 3277"/>
              <a:gd name="T12" fmla="*/ 940 w 3309"/>
              <a:gd name="T13" fmla="*/ 1883 h 3277"/>
              <a:gd name="T14" fmla="*/ 1445 w 3309"/>
              <a:gd name="T15" fmla="*/ 2349 h 3277"/>
              <a:gd name="T16" fmla="*/ 1510 w 3309"/>
              <a:gd name="T17" fmla="*/ 2366 h 3277"/>
              <a:gd name="T18" fmla="*/ 1574 w 3309"/>
              <a:gd name="T19" fmla="*/ 2339 h 3277"/>
              <a:gd name="T20" fmla="*/ 1590 w 3309"/>
              <a:gd name="T21" fmla="*/ 2314 h 3277"/>
              <a:gd name="T22" fmla="*/ 1628 w 3309"/>
              <a:gd name="T23" fmla="*/ 2250 h 3277"/>
              <a:gd name="T24" fmla="*/ 1684 w 3309"/>
              <a:gd name="T25" fmla="*/ 2155 h 3277"/>
              <a:gd name="T26" fmla="*/ 1755 w 3309"/>
              <a:gd name="T27" fmla="*/ 2034 h 3277"/>
              <a:gd name="T28" fmla="*/ 1835 w 3309"/>
              <a:gd name="T29" fmla="*/ 1897 h 3277"/>
              <a:gd name="T30" fmla="*/ 1921 w 3309"/>
              <a:gd name="T31" fmla="*/ 1749 h 3277"/>
              <a:gd name="T32" fmla="*/ 2007 w 3309"/>
              <a:gd name="T33" fmla="*/ 1601 h 3277"/>
              <a:gd name="T34" fmla="*/ 2091 w 3309"/>
              <a:gd name="T35" fmla="*/ 1456 h 3277"/>
              <a:gd name="T36" fmla="*/ 2167 w 3309"/>
              <a:gd name="T37" fmla="*/ 1324 h 3277"/>
              <a:gd name="T38" fmla="*/ 2233 w 3309"/>
              <a:gd name="T39" fmla="*/ 1213 h 3277"/>
              <a:gd name="T40" fmla="*/ 2281 w 3309"/>
              <a:gd name="T41" fmla="*/ 1128 h 3277"/>
              <a:gd name="T42" fmla="*/ 2310 w 3309"/>
              <a:gd name="T43" fmla="*/ 1079 h 3277"/>
              <a:gd name="T44" fmla="*/ 2326 w 3309"/>
              <a:gd name="T45" fmla="*/ 1047 h 3277"/>
              <a:gd name="T46" fmla="*/ 2322 w 3309"/>
              <a:gd name="T47" fmla="*/ 981 h 3277"/>
              <a:gd name="T48" fmla="*/ 2278 w 3309"/>
              <a:gd name="T49" fmla="*/ 928 h 3277"/>
              <a:gd name="T50" fmla="*/ 1655 w 3309"/>
              <a:gd name="T51" fmla="*/ 0 h 3277"/>
              <a:gd name="T52" fmla="*/ 1963 w 3309"/>
              <a:gd name="T53" fmla="*/ 29 h 3277"/>
              <a:gd name="T54" fmla="*/ 2253 w 3309"/>
              <a:gd name="T55" fmla="*/ 110 h 3277"/>
              <a:gd name="T56" fmla="*/ 2518 w 3309"/>
              <a:gd name="T57" fmla="*/ 240 h 3277"/>
              <a:gd name="T58" fmla="*/ 2754 w 3309"/>
              <a:gd name="T59" fmla="*/ 414 h 3277"/>
              <a:gd name="T60" fmla="*/ 2955 w 3309"/>
              <a:gd name="T61" fmla="*/ 624 h 3277"/>
              <a:gd name="T62" fmla="*/ 3116 w 3309"/>
              <a:gd name="T63" fmla="*/ 869 h 3277"/>
              <a:gd name="T64" fmla="*/ 3231 w 3309"/>
              <a:gd name="T65" fmla="*/ 1140 h 3277"/>
              <a:gd name="T66" fmla="*/ 3296 w 3309"/>
              <a:gd name="T67" fmla="*/ 1433 h 3277"/>
              <a:gd name="T68" fmla="*/ 3306 w 3309"/>
              <a:gd name="T69" fmla="*/ 1742 h 3277"/>
              <a:gd name="T70" fmla="*/ 3258 w 3309"/>
              <a:gd name="T71" fmla="*/ 2042 h 3277"/>
              <a:gd name="T72" fmla="*/ 3159 w 3309"/>
              <a:gd name="T73" fmla="*/ 2321 h 3277"/>
              <a:gd name="T74" fmla="*/ 3013 w 3309"/>
              <a:gd name="T75" fmla="*/ 2575 h 3277"/>
              <a:gd name="T76" fmla="*/ 2825 w 3309"/>
              <a:gd name="T77" fmla="*/ 2798 h 3277"/>
              <a:gd name="T78" fmla="*/ 2601 w 3309"/>
              <a:gd name="T79" fmla="*/ 2984 h 3277"/>
              <a:gd name="T80" fmla="*/ 2345 w 3309"/>
              <a:gd name="T81" fmla="*/ 3129 h 3277"/>
              <a:gd name="T82" fmla="*/ 2062 w 3309"/>
              <a:gd name="T83" fmla="*/ 3227 h 3277"/>
              <a:gd name="T84" fmla="*/ 1760 w 3309"/>
              <a:gd name="T85" fmla="*/ 3274 h 3277"/>
              <a:gd name="T86" fmla="*/ 1447 w 3309"/>
              <a:gd name="T87" fmla="*/ 3265 h 3277"/>
              <a:gd name="T88" fmla="*/ 1151 w 3309"/>
              <a:gd name="T89" fmla="*/ 3200 h 3277"/>
              <a:gd name="T90" fmla="*/ 877 w 3309"/>
              <a:gd name="T91" fmla="*/ 3086 h 3277"/>
              <a:gd name="T92" fmla="*/ 630 w 3309"/>
              <a:gd name="T93" fmla="*/ 2926 h 3277"/>
              <a:gd name="T94" fmla="*/ 418 w 3309"/>
              <a:gd name="T95" fmla="*/ 2727 h 3277"/>
              <a:gd name="T96" fmla="*/ 243 w 3309"/>
              <a:gd name="T97" fmla="*/ 2494 h 3277"/>
              <a:gd name="T98" fmla="*/ 111 w 3309"/>
              <a:gd name="T99" fmla="*/ 2231 h 3277"/>
              <a:gd name="T100" fmla="*/ 28 w 3309"/>
              <a:gd name="T101" fmla="*/ 1944 h 3277"/>
              <a:gd name="T102" fmla="*/ 0 w 3309"/>
              <a:gd name="T103" fmla="*/ 1638 h 3277"/>
              <a:gd name="T104" fmla="*/ 28 w 3309"/>
              <a:gd name="T105" fmla="*/ 1333 h 3277"/>
              <a:gd name="T106" fmla="*/ 111 w 3309"/>
              <a:gd name="T107" fmla="*/ 1047 h 3277"/>
              <a:gd name="T108" fmla="*/ 243 w 3309"/>
              <a:gd name="T109" fmla="*/ 784 h 3277"/>
              <a:gd name="T110" fmla="*/ 418 w 3309"/>
              <a:gd name="T111" fmla="*/ 550 h 3277"/>
              <a:gd name="T112" fmla="*/ 630 w 3309"/>
              <a:gd name="T113" fmla="*/ 351 h 3277"/>
              <a:gd name="T114" fmla="*/ 877 w 3309"/>
              <a:gd name="T115" fmla="*/ 192 h 3277"/>
              <a:gd name="T116" fmla="*/ 1151 w 3309"/>
              <a:gd name="T117" fmla="*/ 78 h 3277"/>
              <a:gd name="T118" fmla="*/ 1447 w 3309"/>
              <a:gd name="T119" fmla="*/ 13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09" h="3277">
                <a:moveTo>
                  <a:pt x="2234" y="915"/>
                </a:moveTo>
                <a:lnTo>
                  <a:pt x="2210" y="916"/>
                </a:lnTo>
                <a:lnTo>
                  <a:pt x="2188" y="922"/>
                </a:lnTo>
                <a:lnTo>
                  <a:pt x="2168" y="932"/>
                </a:lnTo>
                <a:lnTo>
                  <a:pt x="2151" y="947"/>
                </a:lnTo>
                <a:lnTo>
                  <a:pt x="2136" y="966"/>
                </a:lnTo>
                <a:lnTo>
                  <a:pt x="1475" y="2100"/>
                </a:lnTo>
                <a:lnTo>
                  <a:pt x="1105" y="1763"/>
                </a:lnTo>
                <a:lnTo>
                  <a:pt x="1087" y="1747"/>
                </a:lnTo>
                <a:lnTo>
                  <a:pt x="1066" y="1737"/>
                </a:lnTo>
                <a:lnTo>
                  <a:pt x="1045" y="1731"/>
                </a:lnTo>
                <a:lnTo>
                  <a:pt x="1022" y="1730"/>
                </a:lnTo>
                <a:lnTo>
                  <a:pt x="999" y="1735"/>
                </a:lnTo>
                <a:lnTo>
                  <a:pt x="978" y="1744"/>
                </a:lnTo>
                <a:lnTo>
                  <a:pt x="959" y="1758"/>
                </a:lnTo>
                <a:lnTo>
                  <a:pt x="943" y="1775"/>
                </a:lnTo>
                <a:lnTo>
                  <a:pt x="933" y="1796"/>
                </a:lnTo>
                <a:lnTo>
                  <a:pt x="927" y="1818"/>
                </a:lnTo>
                <a:lnTo>
                  <a:pt x="926" y="1840"/>
                </a:lnTo>
                <a:lnTo>
                  <a:pt x="931" y="1862"/>
                </a:lnTo>
                <a:lnTo>
                  <a:pt x="940" y="1883"/>
                </a:lnTo>
                <a:lnTo>
                  <a:pt x="954" y="1902"/>
                </a:lnTo>
                <a:lnTo>
                  <a:pt x="1427" y="2334"/>
                </a:lnTo>
                <a:lnTo>
                  <a:pt x="1445" y="2349"/>
                </a:lnTo>
                <a:lnTo>
                  <a:pt x="1466" y="2360"/>
                </a:lnTo>
                <a:lnTo>
                  <a:pt x="1488" y="2366"/>
                </a:lnTo>
                <a:lnTo>
                  <a:pt x="1510" y="2366"/>
                </a:lnTo>
                <a:lnTo>
                  <a:pt x="1532" y="2362"/>
                </a:lnTo>
                <a:lnTo>
                  <a:pt x="1555" y="2354"/>
                </a:lnTo>
                <a:lnTo>
                  <a:pt x="1574" y="2339"/>
                </a:lnTo>
                <a:lnTo>
                  <a:pt x="1576" y="2336"/>
                </a:lnTo>
                <a:lnTo>
                  <a:pt x="1581" y="2327"/>
                </a:lnTo>
                <a:lnTo>
                  <a:pt x="1590" y="2314"/>
                </a:lnTo>
                <a:lnTo>
                  <a:pt x="1600" y="2297"/>
                </a:lnTo>
                <a:lnTo>
                  <a:pt x="1613" y="2275"/>
                </a:lnTo>
                <a:lnTo>
                  <a:pt x="1628" y="2250"/>
                </a:lnTo>
                <a:lnTo>
                  <a:pt x="1645" y="2222"/>
                </a:lnTo>
                <a:lnTo>
                  <a:pt x="1664" y="2189"/>
                </a:lnTo>
                <a:lnTo>
                  <a:pt x="1684" y="2155"/>
                </a:lnTo>
                <a:lnTo>
                  <a:pt x="1706" y="2117"/>
                </a:lnTo>
                <a:lnTo>
                  <a:pt x="1729" y="2076"/>
                </a:lnTo>
                <a:lnTo>
                  <a:pt x="1755" y="2034"/>
                </a:lnTo>
                <a:lnTo>
                  <a:pt x="1780" y="1989"/>
                </a:lnTo>
                <a:lnTo>
                  <a:pt x="1807" y="1944"/>
                </a:lnTo>
                <a:lnTo>
                  <a:pt x="1835" y="1897"/>
                </a:lnTo>
                <a:lnTo>
                  <a:pt x="1862" y="1848"/>
                </a:lnTo>
                <a:lnTo>
                  <a:pt x="1891" y="1798"/>
                </a:lnTo>
                <a:lnTo>
                  <a:pt x="1921" y="1749"/>
                </a:lnTo>
                <a:lnTo>
                  <a:pt x="1949" y="1699"/>
                </a:lnTo>
                <a:lnTo>
                  <a:pt x="1979" y="1650"/>
                </a:lnTo>
                <a:lnTo>
                  <a:pt x="2007" y="1601"/>
                </a:lnTo>
                <a:lnTo>
                  <a:pt x="2036" y="1551"/>
                </a:lnTo>
                <a:lnTo>
                  <a:pt x="2063" y="1503"/>
                </a:lnTo>
                <a:lnTo>
                  <a:pt x="2091" y="1456"/>
                </a:lnTo>
                <a:lnTo>
                  <a:pt x="2117" y="1410"/>
                </a:lnTo>
                <a:lnTo>
                  <a:pt x="2143" y="1366"/>
                </a:lnTo>
                <a:lnTo>
                  <a:pt x="2167" y="1324"/>
                </a:lnTo>
                <a:lnTo>
                  <a:pt x="2190" y="1284"/>
                </a:lnTo>
                <a:lnTo>
                  <a:pt x="2212" y="1248"/>
                </a:lnTo>
                <a:lnTo>
                  <a:pt x="2233" y="1213"/>
                </a:lnTo>
                <a:lnTo>
                  <a:pt x="2251" y="1182"/>
                </a:lnTo>
                <a:lnTo>
                  <a:pt x="2266" y="1153"/>
                </a:lnTo>
                <a:lnTo>
                  <a:pt x="2281" y="1128"/>
                </a:lnTo>
                <a:lnTo>
                  <a:pt x="2293" y="1107"/>
                </a:lnTo>
                <a:lnTo>
                  <a:pt x="2302" y="1091"/>
                </a:lnTo>
                <a:lnTo>
                  <a:pt x="2310" y="1079"/>
                </a:lnTo>
                <a:lnTo>
                  <a:pt x="2314" y="1072"/>
                </a:lnTo>
                <a:lnTo>
                  <a:pt x="2316" y="1069"/>
                </a:lnTo>
                <a:lnTo>
                  <a:pt x="2326" y="1047"/>
                </a:lnTo>
                <a:lnTo>
                  <a:pt x="2330" y="1025"/>
                </a:lnTo>
                <a:lnTo>
                  <a:pt x="2329" y="1003"/>
                </a:lnTo>
                <a:lnTo>
                  <a:pt x="2322" y="981"/>
                </a:lnTo>
                <a:lnTo>
                  <a:pt x="2312" y="961"/>
                </a:lnTo>
                <a:lnTo>
                  <a:pt x="2297" y="943"/>
                </a:lnTo>
                <a:lnTo>
                  <a:pt x="2278" y="928"/>
                </a:lnTo>
                <a:lnTo>
                  <a:pt x="2256" y="919"/>
                </a:lnTo>
                <a:lnTo>
                  <a:pt x="2234" y="915"/>
                </a:lnTo>
                <a:close/>
                <a:moveTo>
                  <a:pt x="1655" y="0"/>
                </a:moveTo>
                <a:lnTo>
                  <a:pt x="1760" y="3"/>
                </a:lnTo>
                <a:lnTo>
                  <a:pt x="1862" y="13"/>
                </a:lnTo>
                <a:lnTo>
                  <a:pt x="1963" y="29"/>
                </a:lnTo>
                <a:lnTo>
                  <a:pt x="2062" y="51"/>
                </a:lnTo>
                <a:lnTo>
                  <a:pt x="2159" y="78"/>
                </a:lnTo>
                <a:lnTo>
                  <a:pt x="2253" y="110"/>
                </a:lnTo>
                <a:lnTo>
                  <a:pt x="2345" y="149"/>
                </a:lnTo>
                <a:lnTo>
                  <a:pt x="2432" y="192"/>
                </a:lnTo>
                <a:lnTo>
                  <a:pt x="2518" y="240"/>
                </a:lnTo>
                <a:lnTo>
                  <a:pt x="2601" y="294"/>
                </a:lnTo>
                <a:lnTo>
                  <a:pt x="2679" y="351"/>
                </a:lnTo>
                <a:lnTo>
                  <a:pt x="2754" y="414"/>
                </a:lnTo>
                <a:lnTo>
                  <a:pt x="2825" y="480"/>
                </a:lnTo>
                <a:lnTo>
                  <a:pt x="2891" y="550"/>
                </a:lnTo>
                <a:lnTo>
                  <a:pt x="2955" y="624"/>
                </a:lnTo>
                <a:lnTo>
                  <a:pt x="3013" y="703"/>
                </a:lnTo>
                <a:lnTo>
                  <a:pt x="3067" y="784"/>
                </a:lnTo>
                <a:lnTo>
                  <a:pt x="3116" y="869"/>
                </a:lnTo>
                <a:lnTo>
                  <a:pt x="3159" y="956"/>
                </a:lnTo>
                <a:lnTo>
                  <a:pt x="3198" y="1047"/>
                </a:lnTo>
                <a:lnTo>
                  <a:pt x="3231" y="1140"/>
                </a:lnTo>
                <a:lnTo>
                  <a:pt x="3258" y="1235"/>
                </a:lnTo>
                <a:lnTo>
                  <a:pt x="3281" y="1333"/>
                </a:lnTo>
                <a:lnTo>
                  <a:pt x="3296" y="1433"/>
                </a:lnTo>
                <a:lnTo>
                  <a:pt x="3306" y="1535"/>
                </a:lnTo>
                <a:lnTo>
                  <a:pt x="3309" y="1638"/>
                </a:lnTo>
                <a:lnTo>
                  <a:pt x="3306" y="1742"/>
                </a:lnTo>
                <a:lnTo>
                  <a:pt x="3296" y="1845"/>
                </a:lnTo>
                <a:lnTo>
                  <a:pt x="3281" y="1944"/>
                </a:lnTo>
                <a:lnTo>
                  <a:pt x="3258" y="2042"/>
                </a:lnTo>
                <a:lnTo>
                  <a:pt x="3231" y="2138"/>
                </a:lnTo>
                <a:lnTo>
                  <a:pt x="3198" y="2231"/>
                </a:lnTo>
                <a:lnTo>
                  <a:pt x="3159" y="2321"/>
                </a:lnTo>
                <a:lnTo>
                  <a:pt x="3116" y="2409"/>
                </a:lnTo>
                <a:lnTo>
                  <a:pt x="3067" y="2494"/>
                </a:lnTo>
                <a:lnTo>
                  <a:pt x="3013" y="2575"/>
                </a:lnTo>
                <a:lnTo>
                  <a:pt x="2955" y="2653"/>
                </a:lnTo>
                <a:lnTo>
                  <a:pt x="2891" y="2727"/>
                </a:lnTo>
                <a:lnTo>
                  <a:pt x="2825" y="2798"/>
                </a:lnTo>
                <a:lnTo>
                  <a:pt x="2754" y="2864"/>
                </a:lnTo>
                <a:lnTo>
                  <a:pt x="2679" y="2926"/>
                </a:lnTo>
                <a:lnTo>
                  <a:pt x="2601" y="2984"/>
                </a:lnTo>
                <a:lnTo>
                  <a:pt x="2518" y="3036"/>
                </a:lnTo>
                <a:lnTo>
                  <a:pt x="2432" y="3086"/>
                </a:lnTo>
                <a:lnTo>
                  <a:pt x="2345" y="3129"/>
                </a:lnTo>
                <a:lnTo>
                  <a:pt x="2253" y="3167"/>
                </a:lnTo>
                <a:lnTo>
                  <a:pt x="2159" y="3200"/>
                </a:lnTo>
                <a:lnTo>
                  <a:pt x="2062" y="3227"/>
                </a:lnTo>
                <a:lnTo>
                  <a:pt x="1963" y="3249"/>
                </a:lnTo>
                <a:lnTo>
                  <a:pt x="1862" y="3265"/>
                </a:lnTo>
                <a:lnTo>
                  <a:pt x="1760" y="3274"/>
                </a:lnTo>
                <a:lnTo>
                  <a:pt x="1655" y="3277"/>
                </a:lnTo>
                <a:lnTo>
                  <a:pt x="1550" y="3274"/>
                </a:lnTo>
                <a:lnTo>
                  <a:pt x="1447" y="3265"/>
                </a:lnTo>
                <a:lnTo>
                  <a:pt x="1346" y="3249"/>
                </a:lnTo>
                <a:lnTo>
                  <a:pt x="1247" y="3227"/>
                </a:lnTo>
                <a:lnTo>
                  <a:pt x="1151" y="3200"/>
                </a:lnTo>
                <a:lnTo>
                  <a:pt x="1056" y="3167"/>
                </a:lnTo>
                <a:lnTo>
                  <a:pt x="966" y="3129"/>
                </a:lnTo>
                <a:lnTo>
                  <a:pt x="877" y="3086"/>
                </a:lnTo>
                <a:lnTo>
                  <a:pt x="791" y="3036"/>
                </a:lnTo>
                <a:lnTo>
                  <a:pt x="710" y="2984"/>
                </a:lnTo>
                <a:lnTo>
                  <a:pt x="630" y="2926"/>
                </a:lnTo>
                <a:lnTo>
                  <a:pt x="556" y="2864"/>
                </a:lnTo>
                <a:lnTo>
                  <a:pt x="484" y="2798"/>
                </a:lnTo>
                <a:lnTo>
                  <a:pt x="418" y="2727"/>
                </a:lnTo>
                <a:lnTo>
                  <a:pt x="355" y="2653"/>
                </a:lnTo>
                <a:lnTo>
                  <a:pt x="296" y="2575"/>
                </a:lnTo>
                <a:lnTo>
                  <a:pt x="243" y="2494"/>
                </a:lnTo>
                <a:lnTo>
                  <a:pt x="193" y="2409"/>
                </a:lnTo>
                <a:lnTo>
                  <a:pt x="150" y="2321"/>
                </a:lnTo>
                <a:lnTo>
                  <a:pt x="111" y="2231"/>
                </a:lnTo>
                <a:lnTo>
                  <a:pt x="78" y="2138"/>
                </a:lnTo>
                <a:lnTo>
                  <a:pt x="51" y="2042"/>
                </a:lnTo>
                <a:lnTo>
                  <a:pt x="28" y="1944"/>
                </a:lnTo>
                <a:lnTo>
                  <a:pt x="13" y="1845"/>
                </a:lnTo>
                <a:lnTo>
                  <a:pt x="3" y="1742"/>
                </a:lnTo>
                <a:lnTo>
                  <a:pt x="0" y="1638"/>
                </a:lnTo>
                <a:lnTo>
                  <a:pt x="3" y="1535"/>
                </a:lnTo>
                <a:lnTo>
                  <a:pt x="13" y="1433"/>
                </a:lnTo>
                <a:lnTo>
                  <a:pt x="28" y="1333"/>
                </a:lnTo>
                <a:lnTo>
                  <a:pt x="51" y="1235"/>
                </a:lnTo>
                <a:lnTo>
                  <a:pt x="78" y="1140"/>
                </a:lnTo>
                <a:lnTo>
                  <a:pt x="111" y="1047"/>
                </a:lnTo>
                <a:lnTo>
                  <a:pt x="150" y="956"/>
                </a:lnTo>
                <a:lnTo>
                  <a:pt x="193" y="869"/>
                </a:lnTo>
                <a:lnTo>
                  <a:pt x="243" y="784"/>
                </a:lnTo>
                <a:lnTo>
                  <a:pt x="296" y="703"/>
                </a:lnTo>
                <a:lnTo>
                  <a:pt x="355" y="624"/>
                </a:lnTo>
                <a:lnTo>
                  <a:pt x="418" y="550"/>
                </a:lnTo>
                <a:lnTo>
                  <a:pt x="484" y="480"/>
                </a:lnTo>
                <a:lnTo>
                  <a:pt x="556" y="414"/>
                </a:lnTo>
                <a:lnTo>
                  <a:pt x="630" y="351"/>
                </a:lnTo>
                <a:lnTo>
                  <a:pt x="710" y="294"/>
                </a:lnTo>
                <a:lnTo>
                  <a:pt x="791" y="240"/>
                </a:lnTo>
                <a:lnTo>
                  <a:pt x="877" y="192"/>
                </a:lnTo>
                <a:lnTo>
                  <a:pt x="966" y="149"/>
                </a:lnTo>
                <a:lnTo>
                  <a:pt x="1056" y="110"/>
                </a:lnTo>
                <a:lnTo>
                  <a:pt x="1151" y="78"/>
                </a:lnTo>
                <a:lnTo>
                  <a:pt x="1247" y="51"/>
                </a:lnTo>
                <a:lnTo>
                  <a:pt x="1346" y="29"/>
                </a:lnTo>
                <a:lnTo>
                  <a:pt x="1447" y="13"/>
                </a:lnTo>
                <a:lnTo>
                  <a:pt x="1550" y="3"/>
                </a:lnTo>
                <a:lnTo>
                  <a:pt x="1655" y="0"/>
                </a:lnTo>
                <a:close/>
              </a:path>
            </a:pathLst>
          </a:cu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728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481253" y="34056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50476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Accelerated Speed to Impact</a:t>
            </a:r>
          </a:p>
        </p:txBody>
      </p:sp>
      <p:grpSp>
        <p:nvGrpSpPr>
          <p:cNvPr id="10" name="Group 50"/>
          <p:cNvGrpSpPr>
            <a:grpSpLocks noChangeAspect="1"/>
          </p:cNvGrpSpPr>
          <p:nvPr/>
        </p:nvGrpSpPr>
        <p:grpSpPr bwMode="auto">
          <a:xfrm>
            <a:off x="418957" y="772554"/>
            <a:ext cx="531519" cy="365760"/>
            <a:chOff x="2277" y="1085"/>
            <a:chExt cx="3120" cy="2147"/>
          </a:xfr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</p:grpSpPr>
        <p:sp>
          <p:nvSpPr>
            <p:cNvPr id="11" name="Freeform 52"/>
            <p:cNvSpPr>
              <a:spLocks/>
            </p:cNvSpPr>
            <p:nvPr/>
          </p:nvSpPr>
          <p:spPr bwMode="auto">
            <a:xfrm>
              <a:off x="3194" y="1207"/>
              <a:ext cx="1054" cy="91"/>
            </a:xfrm>
            <a:custGeom>
              <a:avLst/>
              <a:gdLst>
                <a:gd name="T0" fmla="*/ 91 w 2109"/>
                <a:gd name="T1" fmla="*/ 0 h 182"/>
                <a:gd name="T2" fmla="*/ 2016 w 2109"/>
                <a:gd name="T3" fmla="*/ 0 h 182"/>
                <a:gd name="T4" fmla="*/ 2044 w 2109"/>
                <a:gd name="T5" fmla="*/ 4 h 182"/>
                <a:gd name="T6" fmla="*/ 2071 w 2109"/>
                <a:gd name="T7" fmla="*/ 17 h 182"/>
                <a:gd name="T8" fmla="*/ 2090 w 2109"/>
                <a:gd name="T9" fmla="*/ 36 h 182"/>
                <a:gd name="T10" fmla="*/ 2103 w 2109"/>
                <a:gd name="T11" fmla="*/ 63 h 182"/>
                <a:gd name="T12" fmla="*/ 2109 w 2109"/>
                <a:gd name="T13" fmla="*/ 91 h 182"/>
                <a:gd name="T14" fmla="*/ 2103 w 2109"/>
                <a:gd name="T15" fmla="*/ 120 h 182"/>
                <a:gd name="T16" fmla="*/ 2090 w 2109"/>
                <a:gd name="T17" fmla="*/ 144 h 182"/>
                <a:gd name="T18" fmla="*/ 2071 w 2109"/>
                <a:gd name="T19" fmla="*/ 165 h 182"/>
                <a:gd name="T20" fmla="*/ 2044 w 2109"/>
                <a:gd name="T21" fmla="*/ 178 h 182"/>
                <a:gd name="T22" fmla="*/ 2016 w 2109"/>
                <a:gd name="T23" fmla="*/ 182 h 182"/>
                <a:gd name="T24" fmla="*/ 91 w 2109"/>
                <a:gd name="T25" fmla="*/ 182 h 182"/>
                <a:gd name="T26" fmla="*/ 62 w 2109"/>
                <a:gd name="T27" fmla="*/ 178 h 182"/>
                <a:gd name="T28" fmla="*/ 36 w 2109"/>
                <a:gd name="T29" fmla="*/ 165 h 182"/>
                <a:gd name="T30" fmla="*/ 17 w 2109"/>
                <a:gd name="T31" fmla="*/ 144 h 182"/>
                <a:gd name="T32" fmla="*/ 4 w 2109"/>
                <a:gd name="T33" fmla="*/ 120 h 182"/>
                <a:gd name="T34" fmla="*/ 0 w 2109"/>
                <a:gd name="T35" fmla="*/ 91 h 182"/>
                <a:gd name="T36" fmla="*/ 4 w 2109"/>
                <a:gd name="T37" fmla="*/ 63 h 182"/>
                <a:gd name="T38" fmla="*/ 17 w 2109"/>
                <a:gd name="T39" fmla="*/ 36 h 182"/>
                <a:gd name="T40" fmla="*/ 36 w 2109"/>
                <a:gd name="T41" fmla="*/ 17 h 182"/>
                <a:gd name="T42" fmla="*/ 62 w 2109"/>
                <a:gd name="T43" fmla="*/ 4 h 182"/>
                <a:gd name="T44" fmla="*/ 91 w 2109"/>
                <a:gd name="T45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9" h="182">
                  <a:moveTo>
                    <a:pt x="91" y="0"/>
                  </a:moveTo>
                  <a:lnTo>
                    <a:pt x="2016" y="0"/>
                  </a:lnTo>
                  <a:lnTo>
                    <a:pt x="2044" y="4"/>
                  </a:lnTo>
                  <a:lnTo>
                    <a:pt x="2071" y="17"/>
                  </a:lnTo>
                  <a:lnTo>
                    <a:pt x="2090" y="36"/>
                  </a:lnTo>
                  <a:lnTo>
                    <a:pt x="2103" y="63"/>
                  </a:lnTo>
                  <a:lnTo>
                    <a:pt x="2109" y="91"/>
                  </a:lnTo>
                  <a:lnTo>
                    <a:pt x="2103" y="120"/>
                  </a:lnTo>
                  <a:lnTo>
                    <a:pt x="2090" y="144"/>
                  </a:lnTo>
                  <a:lnTo>
                    <a:pt x="2071" y="165"/>
                  </a:lnTo>
                  <a:lnTo>
                    <a:pt x="2044" y="178"/>
                  </a:lnTo>
                  <a:lnTo>
                    <a:pt x="2016" y="182"/>
                  </a:lnTo>
                  <a:lnTo>
                    <a:pt x="91" y="182"/>
                  </a:lnTo>
                  <a:lnTo>
                    <a:pt x="62" y="178"/>
                  </a:lnTo>
                  <a:lnTo>
                    <a:pt x="36" y="165"/>
                  </a:lnTo>
                  <a:lnTo>
                    <a:pt x="17" y="144"/>
                  </a:lnTo>
                  <a:lnTo>
                    <a:pt x="4" y="120"/>
                  </a:lnTo>
                  <a:lnTo>
                    <a:pt x="0" y="91"/>
                  </a:lnTo>
                  <a:lnTo>
                    <a:pt x="4" y="63"/>
                  </a:lnTo>
                  <a:lnTo>
                    <a:pt x="17" y="36"/>
                  </a:lnTo>
                  <a:lnTo>
                    <a:pt x="36" y="17"/>
                  </a:lnTo>
                  <a:lnTo>
                    <a:pt x="62" y="4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3"/>
            <p:cNvSpPr>
              <a:spLocks/>
            </p:cNvSpPr>
            <p:nvPr/>
          </p:nvSpPr>
          <p:spPr bwMode="auto">
            <a:xfrm>
              <a:off x="2333" y="1655"/>
              <a:ext cx="1054" cy="92"/>
            </a:xfrm>
            <a:custGeom>
              <a:avLst/>
              <a:gdLst>
                <a:gd name="T0" fmla="*/ 91 w 2108"/>
                <a:gd name="T1" fmla="*/ 0 h 184"/>
                <a:gd name="T2" fmla="*/ 2016 w 2108"/>
                <a:gd name="T3" fmla="*/ 0 h 184"/>
                <a:gd name="T4" fmla="*/ 2046 w 2108"/>
                <a:gd name="T5" fmla="*/ 6 h 184"/>
                <a:gd name="T6" fmla="*/ 2071 w 2108"/>
                <a:gd name="T7" fmla="*/ 19 h 184"/>
                <a:gd name="T8" fmla="*/ 2089 w 2108"/>
                <a:gd name="T9" fmla="*/ 38 h 184"/>
                <a:gd name="T10" fmla="*/ 2103 w 2108"/>
                <a:gd name="T11" fmla="*/ 63 h 184"/>
                <a:gd name="T12" fmla="*/ 2108 w 2108"/>
                <a:gd name="T13" fmla="*/ 93 h 184"/>
                <a:gd name="T14" fmla="*/ 2103 w 2108"/>
                <a:gd name="T15" fmla="*/ 122 h 184"/>
                <a:gd name="T16" fmla="*/ 2089 w 2108"/>
                <a:gd name="T17" fmla="*/ 146 h 184"/>
                <a:gd name="T18" fmla="*/ 2071 w 2108"/>
                <a:gd name="T19" fmla="*/ 167 h 184"/>
                <a:gd name="T20" fmla="*/ 2046 w 2108"/>
                <a:gd name="T21" fmla="*/ 178 h 184"/>
                <a:gd name="T22" fmla="*/ 2016 w 2108"/>
                <a:gd name="T23" fmla="*/ 184 h 184"/>
                <a:gd name="T24" fmla="*/ 91 w 2108"/>
                <a:gd name="T25" fmla="*/ 184 h 184"/>
                <a:gd name="T26" fmla="*/ 62 w 2108"/>
                <a:gd name="T27" fmla="*/ 178 h 184"/>
                <a:gd name="T28" fmla="*/ 36 w 2108"/>
                <a:gd name="T29" fmla="*/ 167 h 184"/>
                <a:gd name="T30" fmla="*/ 17 w 2108"/>
                <a:gd name="T31" fmla="*/ 146 h 184"/>
                <a:gd name="T32" fmla="*/ 4 w 2108"/>
                <a:gd name="T33" fmla="*/ 122 h 184"/>
                <a:gd name="T34" fmla="*/ 0 w 2108"/>
                <a:gd name="T35" fmla="*/ 93 h 184"/>
                <a:gd name="T36" fmla="*/ 4 w 2108"/>
                <a:gd name="T37" fmla="*/ 63 h 184"/>
                <a:gd name="T38" fmla="*/ 17 w 2108"/>
                <a:gd name="T39" fmla="*/ 38 h 184"/>
                <a:gd name="T40" fmla="*/ 36 w 2108"/>
                <a:gd name="T41" fmla="*/ 19 h 184"/>
                <a:gd name="T42" fmla="*/ 62 w 2108"/>
                <a:gd name="T43" fmla="*/ 6 h 184"/>
                <a:gd name="T44" fmla="*/ 91 w 2108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8" h="184">
                  <a:moveTo>
                    <a:pt x="91" y="0"/>
                  </a:moveTo>
                  <a:lnTo>
                    <a:pt x="2016" y="0"/>
                  </a:lnTo>
                  <a:lnTo>
                    <a:pt x="2046" y="6"/>
                  </a:lnTo>
                  <a:lnTo>
                    <a:pt x="2071" y="19"/>
                  </a:lnTo>
                  <a:lnTo>
                    <a:pt x="2089" y="38"/>
                  </a:lnTo>
                  <a:lnTo>
                    <a:pt x="2103" y="63"/>
                  </a:lnTo>
                  <a:lnTo>
                    <a:pt x="2108" y="93"/>
                  </a:lnTo>
                  <a:lnTo>
                    <a:pt x="2103" y="122"/>
                  </a:lnTo>
                  <a:lnTo>
                    <a:pt x="2089" y="146"/>
                  </a:lnTo>
                  <a:lnTo>
                    <a:pt x="2071" y="167"/>
                  </a:lnTo>
                  <a:lnTo>
                    <a:pt x="2046" y="178"/>
                  </a:lnTo>
                  <a:lnTo>
                    <a:pt x="2016" y="184"/>
                  </a:lnTo>
                  <a:lnTo>
                    <a:pt x="91" y="184"/>
                  </a:lnTo>
                  <a:lnTo>
                    <a:pt x="62" y="178"/>
                  </a:lnTo>
                  <a:lnTo>
                    <a:pt x="36" y="167"/>
                  </a:lnTo>
                  <a:lnTo>
                    <a:pt x="17" y="146"/>
                  </a:lnTo>
                  <a:lnTo>
                    <a:pt x="4" y="122"/>
                  </a:lnTo>
                  <a:lnTo>
                    <a:pt x="0" y="93"/>
                  </a:lnTo>
                  <a:lnTo>
                    <a:pt x="4" y="63"/>
                  </a:lnTo>
                  <a:lnTo>
                    <a:pt x="17" y="38"/>
                  </a:lnTo>
                  <a:lnTo>
                    <a:pt x="36" y="19"/>
                  </a:lnTo>
                  <a:lnTo>
                    <a:pt x="62" y="6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4"/>
            <p:cNvSpPr>
              <a:spLocks/>
            </p:cNvSpPr>
            <p:nvPr/>
          </p:nvSpPr>
          <p:spPr bwMode="auto">
            <a:xfrm>
              <a:off x="2637" y="2172"/>
              <a:ext cx="1054" cy="92"/>
            </a:xfrm>
            <a:custGeom>
              <a:avLst/>
              <a:gdLst>
                <a:gd name="T0" fmla="*/ 91 w 2109"/>
                <a:gd name="T1" fmla="*/ 0 h 184"/>
                <a:gd name="T2" fmla="*/ 2016 w 2109"/>
                <a:gd name="T3" fmla="*/ 0 h 184"/>
                <a:gd name="T4" fmla="*/ 2046 w 2109"/>
                <a:gd name="T5" fmla="*/ 5 h 184"/>
                <a:gd name="T6" fmla="*/ 2071 w 2109"/>
                <a:gd name="T7" fmla="*/ 17 h 184"/>
                <a:gd name="T8" fmla="*/ 2090 w 2109"/>
                <a:gd name="T9" fmla="*/ 38 h 184"/>
                <a:gd name="T10" fmla="*/ 2103 w 2109"/>
                <a:gd name="T11" fmla="*/ 62 h 184"/>
                <a:gd name="T12" fmla="*/ 2109 w 2109"/>
                <a:gd name="T13" fmla="*/ 91 h 184"/>
                <a:gd name="T14" fmla="*/ 2103 w 2109"/>
                <a:gd name="T15" fmla="*/ 121 h 184"/>
                <a:gd name="T16" fmla="*/ 2090 w 2109"/>
                <a:gd name="T17" fmla="*/ 146 h 184"/>
                <a:gd name="T18" fmla="*/ 2071 w 2109"/>
                <a:gd name="T19" fmla="*/ 165 h 184"/>
                <a:gd name="T20" fmla="*/ 2046 w 2109"/>
                <a:gd name="T21" fmla="*/ 178 h 184"/>
                <a:gd name="T22" fmla="*/ 2016 w 2109"/>
                <a:gd name="T23" fmla="*/ 184 h 184"/>
                <a:gd name="T24" fmla="*/ 91 w 2109"/>
                <a:gd name="T25" fmla="*/ 184 h 184"/>
                <a:gd name="T26" fmla="*/ 62 w 2109"/>
                <a:gd name="T27" fmla="*/ 178 h 184"/>
                <a:gd name="T28" fmla="*/ 38 w 2109"/>
                <a:gd name="T29" fmla="*/ 165 h 184"/>
                <a:gd name="T30" fmla="*/ 17 w 2109"/>
                <a:gd name="T31" fmla="*/ 146 h 184"/>
                <a:gd name="T32" fmla="*/ 4 w 2109"/>
                <a:gd name="T33" fmla="*/ 121 h 184"/>
                <a:gd name="T34" fmla="*/ 0 w 2109"/>
                <a:gd name="T35" fmla="*/ 91 h 184"/>
                <a:gd name="T36" fmla="*/ 4 w 2109"/>
                <a:gd name="T37" fmla="*/ 62 h 184"/>
                <a:gd name="T38" fmla="*/ 17 w 2109"/>
                <a:gd name="T39" fmla="*/ 38 h 184"/>
                <a:gd name="T40" fmla="*/ 38 w 2109"/>
                <a:gd name="T41" fmla="*/ 17 h 184"/>
                <a:gd name="T42" fmla="*/ 62 w 2109"/>
                <a:gd name="T43" fmla="*/ 5 h 184"/>
                <a:gd name="T44" fmla="*/ 91 w 2109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9" h="184">
                  <a:moveTo>
                    <a:pt x="91" y="0"/>
                  </a:moveTo>
                  <a:lnTo>
                    <a:pt x="2016" y="0"/>
                  </a:lnTo>
                  <a:lnTo>
                    <a:pt x="2046" y="5"/>
                  </a:lnTo>
                  <a:lnTo>
                    <a:pt x="2071" y="17"/>
                  </a:lnTo>
                  <a:lnTo>
                    <a:pt x="2090" y="38"/>
                  </a:lnTo>
                  <a:lnTo>
                    <a:pt x="2103" y="62"/>
                  </a:lnTo>
                  <a:lnTo>
                    <a:pt x="2109" y="91"/>
                  </a:lnTo>
                  <a:lnTo>
                    <a:pt x="2103" y="121"/>
                  </a:lnTo>
                  <a:lnTo>
                    <a:pt x="2090" y="146"/>
                  </a:lnTo>
                  <a:lnTo>
                    <a:pt x="2071" y="165"/>
                  </a:lnTo>
                  <a:lnTo>
                    <a:pt x="2046" y="178"/>
                  </a:lnTo>
                  <a:lnTo>
                    <a:pt x="2016" y="184"/>
                  </a:lnTo>
                  <a:lnTo>
                    <a:pt x="91" y="184"/>
                  </a:lnTo>
                  <a:lnTo>
                    <a:pt x="62" y="178"/>
                  </a:lnTo>
                  <a:lnTo>
                    <a:pt x="38" y="165"/>
                  </a:lnTo>
                  <a:lnTo>
                    <a:pt x="17" y="146"/>
                  </a:lnTo>
                  <a:lnTo>
                    <a:pt x="4" y="121"/>
                  </a:lnTo>
                  <a:lnTo>
                    <a:pt x="0" y="91"/>
                  </a:lnTo>
                  <a:lnTo>
                    <a:pt x="4" y="62"/>
                  </a:lnTo>
                  <a:lnTo>
                    <a:pt x="17" y="38"/>
                  </a:lnTo>
                  <a:lnTo>
                    <a:pt x="38" y="17"/>
                  </a:lnTo>
                  <a:lnTo>
                    <a:pt x="62" y="5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5"/>
            <p:cNvSpPr>
              <a:spLocks/>
            </p:cNvSpPr>
            <p:nvPr/>
          </p:nvSpPr>
          <p:spPr bwMode="auto">
            <a:xfrm>
              <a:off x="2277" y="2751"/>
              <a:ext cx="957" cy="92"/>
            </a:xfrm>
            <a:custGeom>
              <a:avLst/>
              <a:gdLst>
                <a:gd name="T0" fmla="*/ 91 w 1913"/>
                <a:gd name="T1" fmla="*/ 0 h 184"/>
                <a:gd name="T2" fmla="*/ 1821 w 1913"/>
                <a:gd name="T3" fmla="*/ 0 h 184"/>
                <a:gd name="T4" fmla="*/ 1851 w 1913"/>
                <a:gd name="T5" fmla="*/ 6 h 184"/>
                <a:gd name="T6" fmla="*/ 1876 w 1913"/>
                <a:gd name="T7" fmla="*/ 19 h 184"/>
                <a:gd name="T8" fmla="*/ 1895 w 1913"/>
                <a:gd name="T9" fmla="*/ 38 h 184"/>
                <a:gd name="T10" fmla="*/ 1908 w 1913"/>
                <a:gd name="T11" fmla="*/ 63 h 184"/>
                <a:gd name="T12" fmla="*/ 1913 w 1913"/>
                <a:gd name="T13" fmla="*/ 93 h 184"/>
                <a:gd name="T14" fmla="*/ 1908 w 1913"/>
                <a:gd name="T15" fmla="*/ 122 h 184"/>
                <a:gd name="T16" fmla="*/ 1895 w 1913"/>
                <a:gd name="T17" fmla="*/ 146 h 184"/>
                <a:gd name="T18" fmla="*/ 1876 w 1913"/>
                <a:gd name="T19" fmla="*/ 167 h 184"/>
                <a:gd name="T20" fmla="*/ 1851 w 1913"/>
                <a:gd name="T21" fmla="*/ 181 h 184"/>
                <a:gd name="T22" fmla="*/ 1821 w 1913"/>
                <a:gd name="T23" fmla="*/ 184 h 184"/>
                <a:gd name="T24" fmla="*/ 91 w 1913"/>
                <a:gd name="T25" fmla="*/ 184 h 184"/>
                <a:gd name="T26" fmla="*/ 63 w 1913"/>
                <a:gd name="T27" fmla="*/ 181 h 184"/>
                <a:gd name="T28" fmla="*/ 38 w 1913"/>
                <a:gd name="T29" fmla="*/ 167 h 184"/>
                <a:gd name="T30" fmla="*/ 17 w 1913"/>
                <a:gd name="T31" fmla="*/ 146 h 184"/>
                <a:gd name="T32" fmla="*/ 4 w 1913"/>
                <a:gd name="T33" fmla="*/ 122 h 184"/>
                <a:gd name="T34" fmla="*/ 0 w 1913"/>
                <a:gd name="T35" fmla="*/ 93 h 184"/>
                <a:gd name="T36" fmla="*/ 4 w 1913"/>
                <a:gd name="T37" fmla="*/ 63 h 184"/>
                <a:gd name="T38" fmla="*/ 17 w 1913"/>
                <a:gd name="T39" fmla="*/ 38 h 184"/>
                <a:gd name="T40" fmla="*/ 38 w 1913"/>
                <a:gd name="T41" fmla="*/ 19 h 184"/>
                <a:gd name="T42" fmla="*/ 63 w 1913"/>
                <a:gd name="T43" fmla="*/ 6 h 184"/>
                <a:gd name="T44" fmla="*/ 91 w 1913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13" h="184">
                  <a:moveTo>
                    <a:pt x="91" y="0"/>
                  </a:moveTo>
                  <a:lnTo>
                    <a:pt x="1821" y="0"/>
                  </a:lnTo>
                  <a:lnTo>
                    <a:pt x="1851" y="6"/>
                  </a:lnTo>
                  <a:lnTo>
                    <a:pt x="1876" y="19"/>
                  </a:lnTo>
                  <a:lnTo>
                    <a:pt x="1895" y="38"/>
                  </a:lnTo>
                  <a:lnTo>
                    <a:pt x="1908" y="63"/>
                  </a:lnTo>
                  <a:lnTo>
                    <a:pt x="1913" y="93"/>
                  </a:lnTo>
                  <a:lnTo>
                    <a:pt x="1908" y="122"/>
                  </a:lnTo>
                  <a:lnTo>
                    <a:pt x="1895" y="146"/>
                  </a:lnTo>
                  <a:lnTo>
                    <a:pt x="1876" y="167"/>
                  </a:lnTo>
                  <a:lnTo>
                    <a:pt x="1851" y="181"/>
                  </a:lnTo>
                  <a:lnTo>
                    <a:pt x="1821" y="184"/>
                  </a:lnTo>
                  <a:lnTo>
                    <a:pt x="91" y="184"/>
                  </a:lnTo>
                  <a:lnTo>
                    <a:pt x="63" y="181"/>
                  </a:lnTo>
                  <a:lnTo>
                    <a:pt x="38" y="167"/>
                  </a:lnTo>
                  <a:lnTo>
                    <a:pt x="17" y="146"/>
                  </a:lnTo>
                  <a:lnTo>
                    <a:pt x="4" y="122"/>
                  </a:lnTo>
                  <a:lnTo>
                    <a:pt x="0" y="93"/>
                  </a:lnTo>
                  <a:lnTo>
                    <a:pt x="4" y="63"/>
                  </a:lnTo>
                  <a:lnTo>
                    <a:pt x="17" y="38"/>
                  </a:lnTo>
                  <a:lnTo>
                    <a:pt x="38" y="19"/>
                  </a:lnTo>
                  <a:lnTo>
                    <a:pt x="63" y="6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6"/>
            <p:cNvSpPr>
              <a:spLocks/>
            </p:cNvSpPr>
            <p:nvPr/>
          </p:nvSpPr>
          <p:spPr bwMode="auto">
            <a:xfrm>
              <a:off x="4494" y="1085"/>
              <a:ext cx="500" cy="500"/>
            </a:xfrm>
            <a:custGeom>
              <a:avLst/>
              <a:gdLst>
                <a:gd name="T0" fmla="*/ 500 w 1001"/>
                <a:gd name="T1" fmla="*/ 0 h 1002"/>
                <a:gd name="T2" fmla="*/ 500 w 1001"/>
                <a:gd name="T3" fmla="*/ 0 h 1002"/>
                <a:gd name="T4" fmla="*/ 574 w 1001"/>
                <a:gd name="T5" fmla="*/ 6 h 1002"/>
                <a:gd name="T6" fmla="*/ 646 w 1001"/>
                <a:gd name="T7" fmla="*/ 21 h 1002"/>
                <a:gd name="T8" fmla="*/ 713 w 1001"/>
                <a:gd name="T9" fmla="*/ 48 h 1002"/>
                <a:gd name="T10" fmla="*/ 773 w 1001"/>
                <a:gd name="T11" fmla="*/ 82 h 1002"/>
                <a:gd name="T12" fmla="*/ 830 w 1001"/>
                <a:gd name="T13" fmla="*/ 124 h 1002"/>
                <a:gd name="T14" fmla="*/ 879 w 1001"/>
                <a:gd name="T15" fmla="*/ 173 h 1002"/>
                <a:gd name="T16" fmla="*/ 921 w 1001"/>
                <a:gd name="T17" fmla="*/ 228 h 1002"/>
                <a:gd name="T18" fmla="*/ 955 w 1001"/>
                <a:gd name="T19" fmla="*/ 291 h 1002"/>
                <a:gd name="T20" fmla="*/ 980 w 1001"/>
                <a:gd name="T21" fmla="*/ 357 h 1002"/>
                <a:gd name="T22" fmla="*/ 997 w 1001"/>
                <a:gd name="T23" fmla="*/ 427 h 1002"/>
                <a:gd name="T24" fmla="*/ 1001 w 1001"/>
                <a:gd name="T25" fmla="*/ 501 h 1002"/>
                <a:gd name="T26" fmla="*/ 997 w 1001"/>
                <a:gd name="T27" fmla="*/ 575 h 1002"/>
                <a:gd name="T28" fmla="*/ 980 w 1001"/>
                <a:gd name="T29" fmla="*/ 647 h 1002"/>
                <a:gd name="T30" fmla="*/ 955 w 1001"/>
                <a:gd name="T31" fmla="*/ 714 h 1002"/>
                <a:gd name="T32" fmla="*/ 921 w 1001"/>
                <a:gd name="T33" fmla="*/ 774 h 1002"/>
                <a:gd name="T34" fmla="*/ 879 w 1001"/>
                <a:gd name="T35" fmla="*/ 831 h 1002"/>
                <a:gd name="T36" fmla="*/ 830 w 1001"/>
                <a:gd name="T37" fmla="*/ 880 h 1002"/>
                <a:gd name="T38" fmla="*/ 773 w 1001"/>
                <a:gd name="T39" fmla="*/ 922 h 1002"/>
                <a:gd name="T40" fmla="*/ 713 w 1001"/>
                <a:gd name="T41" fmla="*/ 956 h 1002"/>
                <a:gd name="T42" fmla="*/ 646 w 1001"/>
                <a:gd name="T43" fmla="*/ 981 h 1002"/>
                <a:gd name="T44" fmla="*/ 574 w 1001"/>
                <a:gd name="T45" fmla="*/ 996 h 1002"/>
                <a:gd name="T46" fmla="*/ 500 w 1001"/>
                <a:gd name="T47" fmla="*/ 1002 h 1002"/>
                <a:gd name="T48" fmla="*/ 427 w 1001"/>
                <a:gd name="T49" fmla="*/ 996 h 1002"/>
                <a:gd name="T50" fmla="*/ 356 w 1001"/>
                <a:gd name="T51" fmla="*/ 981 h 1002"/>
                <a:gd name="T52" fmla="*/ 290 w 1001"/>
                <a:gd name="T53" fmla="*/ 956 h 1002"/>
                <a:gd name="T54" fmla="*/ 229 w 1001"/>
                <a:gd name="T55" fmla="*/ 922 h 1002"/>
                <a:gd name="T56" fmla="*/ 173 w 1001"/>
                <a:gd name="T57" fmla="*/ 880 h 1002"/>
                <a:gd name="T58" fmla="*/ 123 w 1001"/>
                <a:gd name="T59" fmla="*/ 831 h 1002"/>
                <a:gd name="T60" fmla="*/ 82 w 1001"/>
                <a:gd name="T61" fmla="*/ 774 h 1002"/>
                <a:gd name="T62" fmla="*/ 48 w 1001"/>
                <a:gd name="T63" fmla="*/ 714 h 1002"/>
                <a:gd name="T64" fmla="*/ 21 w 1001"/>
                <a:gd name="T65" fmla="*/ 647 h 1002"/>
                <a:gd name="T66" fmla="*/ 6 w 1001"/>
                <a:gd name="T67" fmla="*/ 575 h 1002"/>
                <a:gd name="T68" fmla="*/ 0 w 1001"/>
                <a:gd name="T69" fmla="*/ 501 h 1002"/>
                <a:gd name="T70" fmla="*/ 6 w 1001"/>
                <a:gd name="T71" fmla="*/ 427 h 1002"/>
                <a:gd name="T72" fmla="*/ 21 w 1001"/>
                <a:gd name="T73" fmla="*/ 357 h 1002"/>
                <a:gd name="T74" fmla="*/ 48 w 1001"/>
                <a:gd name="T75" fmla="*/ 291 h 1002"/>
                <a:gd name="T76" fmla="*/ 82 w 1001"/>
                <a:gd name="T77" fmla="*/ 228 h 1002"/>
                <a:gd name="T78" fmla="*/ 123 w 1001"/>
                <a:gd name="T79" fmla="*/ 173 h 1002"/>
                <a:gd name="T80" fmla="*/ 173 w 1001"/>
                <a:gd name="T81" fmla="*/ 124 h 1002"/>
                <a:gd name="T82" fmla="*/ 229 w 1001"/>
                <a:gd name="T83" fmla="*/ 82 h 1002"/>
                <a:gd name="T84" fmla="*/ 290 w 1001"/>
                <a:gd name="T85" fmla="*/ 48 h 1002"/>
                <a:gd name="T86" fmla="*/ 356 w 1001"/>
                <a:gd name="T87" fmla="*/ 21 h 1002"/>
                <a:gd name="T88" fmla="*/ 427 w 1001"/>
                <a:gd name="T89" fmla="*/ 6 h 1002"/>
                <a:gd name="T90" fmla="*/ 500 w 1001"/>
                <a:gd name="T91" fmla="*/ 0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01" h="1002">
                  <a:moveTo>
                    <a:pt x="500" y="0"/>
                  </a:moveTo>
                  <a:lnTo>
                    <a:pt x="500" y="0"/>
                  </a:lnTo>
                  <a:lnTo>
                    <a:pt x="574" y="6"/>
                  </a:lnTo>
                  <a:lnTo>
                    <a:pt x="646" y="21"/>
                  </a:lnTo>
                  <a:lnTo>
                    <a:pt x="713" y="48"/>
                  </a:lnTo>
                  <a:lnTo>
                    <a:pt x="773" y="82"/>
                  </a:lnTo>
                  <a:lnTo>
                    <a:pt x="830" y="124"/>
                  </a:lnTo>
                  <a:lnTo>
                    <a:pt x="879" y="173"/>
                  </a:lnTo>
                  <a:lnTo>
                    <a:pt x="921" y="228"/>
                  </a:lnTo>
                  <a:lnTo>
                    <a:pt x="955" y="291"/>
                  </a:lnTo>
                  <a:lnTo>
                    <a:pt x="980" y="357"/>
                  </a:lnTo>
                  <a:lnTo>
                    <a:pt x="997" y="427"/>
                  </a:lnTo>
                  <a:lnTo>
                    <a:pt x="1001" y="501"/>
                  </a:lnTo>
                  <a:lnTo>
                    <a:pt x="997" y="575"/>
                  </a:lnTo>
                  <a:lnTo>
                    <a:pt x="980" y="647"/>
                  </a:lnTo>
                  <a:lnTo>
                    <a:pt x="955" y="714"/>
                  </a:lnTo>
                  <a:lnTo>
                    <a:pt x="921" y="774"/>
                  </a:lnTo>
                  <a:lnTo>
                    <a:pt x="879" y="831"/>
                  </a:lnTo>
                  <a:lnTo>
                    <a:pt x="830" y="880"/>
                  </a:lnTo>
                  <a:lnTo>
                    <a:pt x="773" y="922"/>
                  </a:lnTo>
                  <a:lnTo>
                    <a:pt x="713" y="956"/>
                  </a:lnTo>
                  <a:lnTo>
                    <a:pt x="646" y="981"/>
                  </a:lnTo>
                  <a:lnTo>
                    <a:pt x="574" y="996"/>
                  </a:lnTo>
                  <a:lnTo>
                    <a:pt x="500" y="1002"/>
                  </a:lnTo>
                  <a:lnTo>
                    <a:pt x="427" y="996"/>
                  </a:lnTo>
                  <a:lnTo>
                    <a:pt x="356" y="981"/>
                  </a:lnTo>
                  <a:lnTo>
                    <a:pt x="290" y="956"/>
                  </a:lnTo>
                  <a:lnTo>
                    <a:pt x="229" y="922"/>
                  </a:lnTo>
                  <a:lnTo>
                    <a:pt x="173" y="880"/>
                  </a:lnTo>
                  <a:lnTo>
                    <a:pt x="123" y="831"/>
                  </a:lnTo>
                  <a:lnTo>
                    <a:pt x="82" y="774"/>
                  </a:lnTo>
                  <a:lnTo>
                    <a:pt x="48" y="714"/>
                  </a:lnTo>
                  <a:lnTo>
                    <a:pt x="21" y="647"/>
                  </a:lnTo>
                  <a:lnTo>
                    <a:pt x="6" y="575"/>
                  </a:lnTo>
                  <a:lnTo>
                    <a:pt x="0" y="501"/>
                  </a:lnTo>
                  <a:lnTo>
                    <a:pt x="6" y="427"/>
                  </a:lnTo>
                  <a:lnTo>
                    <a:pt x="21" y="357"/>
                  </a:lnTo>
                  <a:lnTo>
                    <a:pt x="48" y="291"/>
                  </a:lnTo>
                  <a:lnTo>
                    <a:pt x="82" y="228"/>
                  </a:lnTo>
                  <a:lnTo>
                    <a:pt x="123" y="173"/>
                  </a:lnTo>
                  <a:lnTo>
                    <a:pt x="173" y="124"/>
                  </a:lnTo>
                  <a:lnTo>
                    <a:pt x="229" y="82"/>
                  </a:lnTo>
                  <a:lnTo>
                    <a:pt x="290" y="48"/>
                  </a:lnTo>
                  <a:lnTo>
                    <a:pt x="356" y="21"/>
                  </a:lnTo>
                  <a:lnTo>
                    <a:pt x="427" y="6"/>
                  </a:lnTo>
                  <a:lnTo>
                    <a:pt x="5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7"/>
            <p:cNvSpPr>
              <a:spLocks/>
            </p:cNvSpPr>
            <p:nvPr/>
          </p:nvSpPr>
          <p:spPr bwMode="auto">
            <a:xfrm>
              <a:off x="3272" y="1455"/>
              <a:ext cx="2125" cy="1777"/>
            </a:xfrm>
            <a:custGeom>
              <a:avLst/>
              <a:gdLst>
                <a:gd name="T0" fmla="*/ 2151 w 4252"/>
                <a:gd name="T1" fmla="*/ 59 h 3554"/>
                <a:gd name="T2" fmla="*/ 2516 w 4252"/>
                <a:gd name="T3" fmla="*/ 226 h 3554"/>
                <a:gd name="T4" fmla="*/ 2620 w 4252"/>
                <a:gd name="T5" fmla="*/ 284 h 3554"/>
                <a:gd name="T6" fmla="*/ 2770 w 4252"/>
                <a:gd name="T7" fmla="*/ 368 h 3554"/>
                <a:gd name="T8" fmla="*/ 3111 w 4252"/>
                <a:gd name="T9" fmla="*/ 468 h 3554"/>
                <a:gd name="T10" fmla="*/ 3426 w 4252"/>
                <a:gd name="T11" fmla="*/ 415 h 3554"/>
                <a:gd name="T12" fmla="*/ 3706 w 4252"/>
                <a:gd name="T13" fmla="*/ 197 h 3554"/>
                <a:gd name="T14" fmla="*/ 3878 w 4252"/>
                <a:gd name="T15" fmla="*/ 25 h 3554"/>
                <a:gd name="T16" fmla="*/ 4049 w 4252"/>
                <a:gd name="T17" fmla="*/ 13 h 3554"/>
                <a:gd name="T18" fmla="*/ 4193 w 4252"/>
                <a:gd name="T19" fmla="*/ 97 h 3554"/>
                <a:gd name="T20" fmla="*/ 4252 w 4252"/>
                <a:gd name="T21" fmla="*/ 243 h 3554"/>
                <a:gd name="T22" fmla="*/ 4123 w 4252"/>
                <a:gd name="T23" fmla="*/ 476 h 3554"/>
                <a:gd name="T24" fmla="*/ 3761 w 4252"/>
                <a:gd name="T25" fmla="*/ 798 h 3554"/>
                <a:gd name="T26" fmla="*/ 3346 w 4252"/>
                <a:gd name="T27" fmla="*/ 956 h 3554"/>
                <a:gd name="T28" fmla="*/ 2897 w 4252"/>
                <a:gd name="T29" fmla="*/ 944 h 3554"/>
                <a:gd name="T30" fmla="*/ 2296 w 4252"/>
                <a:gd name="T31" fmla="*/ 1805 h 3554"/>
                <a:gd name="T32" fmla="*/ 2579 w 4252"/>
                <a:gd name="T33" fmla="*/ 1976 h 3554"/>
                <a:gd name="T34" fmla="*/ 2836 w 4252"/>
                <a:gd name="T35" fmla="*/ 2164 h 3554"/>
                <a:gd name="T36" fmla="*/ 3011 w 4252"/>
                <a:gd name="T37" fmla="*/ 2321 h 3554"/>
                <a:gd name="T38" fmla="*/ 3174 w 4252"/>
                <a:gd name="T39" fmla="*/ 2589 h 3554"/>
                <a:gd name="T40" fmla="*/ 3329 w 4252"/>
                <a:gd name="T41" fmla="*/ 2913 h 3554"/>
                <a:gd name="T42" fmla="*/ 3462 w 4252"/>
                <a:gd name="T43" fmla="*/ 3199 h 3554"/>
                <a:gd name="T44" fmla="*/ 3481 w 4252"/>
                <a:gd name="T45" fmla="*/ 3370 h 3554"/>
                <a:gd name="T46" fmla="*/ 3392 w 4252"/>
                <a:gd name="T47" fmla="*/ 3495 h 3554"/>
                <a:gd name="T48" fmla="*/ 3244 w 4252"/>
                <a:gd name="T49" fmla="*/ 3552 h 3554"/>
                <a:gd name="T50" fmla="*/ 3092 w 4252"/>
                <a:gd name="T51" fmla="*/ 3516 h 3554"/>
                <a:gd name="T52" fmla="*/ 2978 w 4252"/>
                <a:gd name="T53" fmla="*/ 3358 h 3554"/>
                <a:gd name="T54" fmla="*/ 2857 w 4252"/>
                <a:gd name="T55" fmla="*/ 3091 h 3554"/>
                <a:gd name="T56" fmla="*/ 2723 w 4252"/>
                <a:gd name="T57" fmla="*/ 2818 h 3554"/>
                <a:gd name="T58" fmla="*/ 2601 w 4252"/>
                <a:gd name="T59" fmla="*/ 2623 h 3554"/>
                <a:gd name="T60" fmla="*/ 2471 w 4252"/>
                <a:gd name="T61" fmla="*/ 2516 h 3554"/>
                <a:gd name="T62" fmla="*/ 2253 w 4252"/>
                <a:gd name="T63" fmla="*/ 2369 h 3554"/>
                <a:gd name="T64" fmla="*/ 1993 w 4252"/>
                <a:gd name="T65" fmla="*/ 2221 h 3554"/>
                <a:gd name="T66" fmla="*/ 1760 w 4252"/>
                <a:gd name="T67" fmla="*/ 2118 h 3554"/>
                <a:gd name="T68" fmla="*/ 1463 w 4252"/>
                <a:gd name="T69" fmla="*/ 2391 h 3554"/>
                <a:gd name="T70" fmla="*/ 1086 w 4252"/>
                <a:gd name="T71" fmla="*/ 2558 h 3554"/>
                <a:gd name="T72" fmla="*/ 667 w 4252"/>
                <a:gd name="T73" fmla="*/ 2600 h 3554"/>
                <a:gd name="T74" fmla="*/ 239 w 4252"/>
                <a:gd name="T75" fmla="*/ 2488 h 3554"/>
                <a:gd name="T76" fmla="*/ 31 w 4252"/>
                <a:gd name="T77" fmla="*/ 2331 h 3554"/>
                <a:gd name="T78" fmla="*/ 4 w 4252"/>
                <a:gd name="T79" fmla="*/ 2169 h 3554"/>
                <a:gd name="T80" fmla="*/ 82 w 4252"/>
                <a:gd name="T81" fmla="*/ 2025 h 3554"/>
                <a:gd name="T82" fmla="*/ 230 w 4252"/>
                <a:gd name="T83" fmla="*/ 1948 h 3554"/>
                <a:gd name="T84" fmla="*/ 415 w 4252"/>
                <a:gd name="T85" fmla="*/ 1987 h 3554"/>
                <a:gd name="T86" fmla="*/ 737 w 4252"/>
                <a:gd name="T87" fmla="*/ 2077 h 3554"/>
                <a:gd name="T88" fmla="*/ 1040 w 4252"/>
                <a:gd name="T89" fmla="*/ 1997 h 3554"/>
                <a:gd name="T90" fmla="*/ 1300 w 4252"/>
                <a:gd name="T91" fmla="*/ 1794 h 3554"/>
                <a:gd name="T92" fmla="*/ 1495 w 4252"/>
                <a:gd name="T93" fmla="*/ 1515 h 3554"/>
                <a:gd name="T94" fmla="*/ 1736 w 4252"/>
                <a:gd name="T95" fmla="*/ 1037 h 3554"/>
                <a:gd name="T96" fmla="*/ 1950 w 4252"/>
                <a:gd name="T97" fmla="*/ 639 h 3554"/>
                <a:gd name="T98" fmla="*/ 1749 w 4252"/>
                <a:gd name="T99" fmla="*/ 504 h 3554"/>
                <a:gd name="T100" fmla="*/ 1434 w 4252"/>
                <a:gd name="T101" fmla="*/ 595 h 3554"/>
                <a:gd name="T102" fmla="*/ 1160 w 4252"/>
                <a:gd name="T103" fmla="*/ 857 h 3554"/>
                <a:gd name="T104" fmla="*/ 1008 w 4252"/>
                <a:gd name="T105" fmla="*/ 961 h 3554"/>
                <a:gd name="T106" fmla="*/ 840 w 4252"/>
                <a:gd name="T107" fmla="*/ 946 h 3554"/>
                <a:gd name="T108" fmla="*/ 711 w 4252"/>
                <a:gd name="T109" fmla="*/ 846 h 3554"/>
                <a:gd name="T110" fmla="*/ 682 w 4252"/>
                <a:gd name="T111" fmla="*/ 690 h 3554"/>
                <a:gd name="T112" fmla="*/ 891 w 4252"/>
                <a:gd name="T113" fmla="*/ 402 h 3554"/>
                <a:gd name="T114" fmla="*/ 1270 w 4252"/>
                <a:gd name="T115" fmla="*/ 119 h 3554"/>
                <a:gd name="T116" fmla="*/ 1694 w 4252"/>
                <a:gd name="T117" fmla="*/ 4 h 3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52" h="3554">
                  <a:moveTo>
                    <a:pt x="1806" y="0"/>
                  </a:moveTo>
                  <a:lnTo>
                    <a:pt x="1919" y="9"/>
                  </a:lnTo>
                  <a:lnTo>
                    <a:pt x="2035" y="28"/>
                  </a:lnTo>
                  <a:lnTo>
                    <a:pt x="2151" y="59"/>
                  </a:lnTo>
                  <a:lnTo>
                    <a:pt x="2266" y="100"/>
                  </a:lnTo>
                  <a:lnTo>
                    <a:pt x="2384" y="154"/>
                  </a:lnTo>
                  <a:lnTo>
                    <a:pt x="2501" y="218"/>
                  </a:lnTo>
                  <a:lnTo>
                    <a:pt x="2516" y="226"/>
                  </a:lnTo>
                  <a:lnTo>
                    <a:pt x="2537" y="239"/>
                  </a:lnTo>
                  <a:lnTo>
                    <a:pt x="2564" y="252"/>
                  </a:lnTo>
                  <a:lnTo>
                    <a:pt x="2592" y="269"/>
                  </a:lnTo>
                  <a:lnTo>
                    <a:pt x="2620" y="284"/>
                  </a:lnTo>
                  <a:lnTo>
                    <a:pt x="2645" y="300"/>
                  </a:lnTo>
                  <a:lnTo>
                    <a:pt x="2668" y="311"/>
                  </a:lnTo>
                  <a:lnTo>
                    <a:pt x="2683" y="320"/>
                  </a:lnTo>
                  <a:lnTo>
                    <a:pt x="2770" y="368"/>
                  </a:lnTo>
                  <a:lnTo>
                    <a:pt x="2857" y="408"/>
                  </a:lnTo>
                  <a:lnTo>
                    <a:pt x="2944" y="436"/>
                  </a:lnTo>
                  <a:lnTo>
                    <a:pt x="3028" y="457"/>
                  </a:lnTo>
                  <a:lnTo>
                    <a:pt x="3111" y="468"/>
                  </a:lnTo>
                  <a:lnTo>
                    <a:pt x="3193" y="470"/>
                  </a:lnTo>
                  <a:lnTo>
                    <a:pt x="3272" y="461"/>
                  </a:lnTo>
                  <a:lnTo>
                    <a:pt x="3350" y="444"/>
                  </a:lnTo>
                  <a:lnTo>
                    <a:pt x="3426" y="415"/>
                  </a:lnTo>
                  <a:lnTo>
                    <a:pt x="3499" y="375"/>
                  </a:lnTo>
                  <a:lnTo>
                    <a:pt x="3571" y="326"/>
                  </a:lnTo>
                  <a:lnTo>
                    <a:pt x="3640" y="267"/>
                  </a:lnTo>
                  <a:lnTo>
                    <a:pt x="3706" y="197"/>
                  </a:lnTo>
                  <a:lnTo>
                    <a:pt x="3769" y="116"/>
                  </a:lnTo>
                  <a:lnTo>
                    <a:pt x="3801" y="78"/>
                  </a:lnTo>
                  <a:lnTo>
                    <a:pt x="3839" y="47"/>
                  </a:lnTo>
                  <a:lnTo>
                    <a:pt x="3878" y="25"/>
                  </a:lnTo>
                  <a:lnTo>
                    <a:pt x="3920" y="11"/>
                  </a:lnTo>
                  <a:lnTo>
                    <a:pt x="3964" y="6"/>
                  </a:lnTo>
                  <a:lnTo>
                    <a:pt x="4007" y="6"/>
                  </a:lnTo>
                  <a:lnTo>
                    <a:pt x="4049" y="13"/>
                  </a:lnTo>
                  <a:lnTo>
                    <a:pt x="4091" y="27"/>
                  </a:lnTo>
                  <a:lnTo>
                    <a:pt x="4128" y="45"/>
                  </a:lnTo>
                  <a:lnTo>
                    <a:pt x="4163" y="68"/>
                  </a:lnTo>
                  <a:lnTo>
                    <a:pt x="4193" y="97"/>
                  </a:lnTo>
                  <a:lnTo>
                    <a:pt x="4218" y="129"/>
                  </a:lnTo>
                  <a:lnTo>
                    <a:pt x="4236" y="163"/>
                  </a:lnTo>
                  <a:lnTo>
                    <a:pt x="4248" y="201"/>
                  </a:lnTo>
                  <a:lnTo>
                    <a:pt x="4252" y="243"/>
                  </a:lnTo>
                  <a:lnTo>
                    <a:pt x="4246" y="284"/>
                  </a:lnTo>
                  <a:lnTo>
                    <a:pt x="4231" y="328"/>
                  </a:lnTo>
                  <a:lnTo>
                    <a:pt x="4204" y="372"/>
                  </a:lnTo>
                  <a:lnTo>
                    <a:pt x="4123" y="476"/>
                  </a:lnTo>
                  <a:lnTo>
                    <a:pt x="4039" y="573"/>
                  </a:lnTo>
                  <a:lnTo>
                    <a:pt x="3950" y="658"/>
                  </a:lnTo>
                  <a:lnTo>
                    <a:pt x="3858" y="732"/>
                  </a:lnTo>
                  <a:lnTo>
                    <a:pt x="3761" y="798"/>
                  </a:lnTo>
                  <a:lnTo>
                    <a:pt x="3661" y="853"/>
                  </a:lnTo>
                  <a:lnTo>
                    <a:pt x="3558" y="899"/>
                  </a:lnTo>
                  <a:lnTo>
                    <a:pt x="3454" y="933"/>
                  </a:lnTo>
                  <a:lnTo>
                    <a:pt x="3346" y="956"/>
                  </a:lnTo>
                  <a:lnTo>
                    <a:pt x="3236" y="969"/>
                  </a:lnTo>
                  <a:lnTo>
                    <a:pt x="3124" y="973"/>
                  </a:lnTo>
                  <a:lnTo>
                    <a:pt x="3013" y="963"/>
                  </a:lnTo>
                  <a:lnTo>
                    <a:pt x="2897" y="944"/>
                  </a:lnTo>
                  <a:lnTo>
                    <a:pt x="2781" y="914"/>
                  </a:lnTo>
                  <a:lnTo>
                    <a:pt x="2615" y="1208"/>
                  </a:lnTo>
                  <a:lnTo>
                    <a:pt x="2452" y="1506"/>
                  </a:lnTo>
                  <a:lnTo>
                    <a:pt x="2296" y="1805"/>
                  </a:lnTo>
                  <a:lnTo>
                    <a:pt x="2365" y="1841"/>
                  </a:lnTo>
                  <a:lnTo>
                    <a:pt x="2437" y="1885"/>
                  </a:lnTo>
                  <a:lnTo>
                    <a:pt x="2509" y="1929"/>
                  </a:lnTo>
                  <a:lnTo>
                    <a:pt x="2579" y="1976"/>
                  </a:lnTo>
                  <a:lnTo>
                    <a:pt x="2649" y="2023"/>
                  </a:lnTo>
                  <a:lnTo>
                    <a:pt x="2715" y="2073"/>
                  </a:lnTo>
                  <a:lnTo>
                    <a:pt x="2778" y="2118"/>
                  </a:lnTo>
                  <a:lnTo>
                    <a:pt x="2836" y="2164"/>
                  </a:lnTo>
                  <a:lnTo>
                    <a:pt x="2888" y="2204"/>
                  </a:lnTo>
                  <a:lnTo>
                    <a:pt x="2933" y="2240"/>
                  </a:lnTo>
                  <a:lnTo>
                    <a:pt x="2971" y="2276"/>
                  </a:lnTo>
                  <a:lnTo>
                    <a:pt x="3011" y="2321"/>
                  </a:lnTo>
                  <a:lnTo>
                    <a:pt x="3050" y="2378"/>
                  </a:lnTo>
                  <a:lnTo>
                    <a:pt x="3090" y="2443"/>
                  </a:lnTo>
                  <a:lnTo>
                    <a:pt x="3132" y="2513"/>
                  </a:lnTo>
                  <a:lnTo>
                    <a:pt x="3174" y="2589"/>
                  </a:lnTo>
                  <a:lnTo>
                    <a:pt x="3213" y="2668"/>
                  </a:lnTo>
                  <a:lnTo>
                    <a:pt x="3253" y="2750"/>
                  </a:lnTo>
                  <a:lnTo>
                    <a:pt x="3291" y="2831"/>
                  </a:lnTo>
                  <a:lnTo>
                    <a:pt x="3329" y="2913"/>
                  </a:lnTo>
                  <a:lnTo>
                    <a:pt x="3365" y="2992"/>
                  </a:lnTo>
                  <a:lnTo>
                    <a:pt x="3401" y="3066"/>
                  </a:lnTo>
                  <a:lnTo>
                    <a:pt x="3433" y="3137"/>
                  </a:lnTo>
                  <a:lnTo>
                    <a:pt x="3462" y="3199"/>
                  </a:lnTo>
                  <a:lnTo>
                    <a:pt x="3479" y="3245"/>
                  </a:lnTo>
                  <a:lnTo>
                    <a:pt x="3488" y="3288"/>
                  </a:lnTo>
                  <a:lnTo>
                    <a:pt x="3488" y="3330"/>
                  </a:lnTo>
                  <a:lnTo>
                    <a:pt x="3481" y="3370"/>
                  </a:lnTo>
                  <a:lnTo>
                    <a:pt x="3465" y="3406"/>
                  </a:lnTo>
                  <a:lnTo>
                    <a:pt x="3446" y="3440"/>
                  </a:lnTo>
                  <a:lnTo>
                    <a:pt x="3420" y="3470"/>
                  </a:lnTo>
                  <a:lnTo>
                    <a:pt x="3392" y="3495"/>
                  </a:lnTo>
                  <a:lnTo>
                    <a:pt x="3357" y="3518"/>
                  </a:lnTo>
                  <a:lnTo>
                    <a:pt x="3321" y="3535"/>
                  </a:lnTo>
                  <a:lnTo>
                    <a:pt x="3284" y="3546"/>
                  </a:lnTo>
                  <a:lnTo>
                    <a:pt x="3244" y="3552"/>
                  </a:lnTo>
                  <a:lnTo>
                    <a:pt x="3204" y="3554"/>
                  </a:lnTo>
                  <a:lnTo>
                    <a:pt x="3166" y="3548"/>
                  </a:lnTo>
                  <a:lnTo>
                    <a:pt x="3128" y="3535"/>
                  </a:lnTo>
                  <a:lnTo>
                    <a:pt x="3092" y="3516"/>
                  </a:lnTo>
                  <a:lnTo>
                    <a:pt x="3058" y="3489"/>
                  </a:lnTo>
                  <a:lnTo>
                    <a:pt x="3030" y="3455"/>
                  </a:lnTo>
                  <a:lnTo>
                    <a:pt x="3005" y="3413"/>
                  </a:lnTo>
                  <a:lnTo>
                    <a:pt x="2978" y="3358"/>
                  </a:lnTo>
                  <a:lnTo>
                    <a:pt x="2950" y="3298"/>
                  </a:lnTo>
                  <a:lnTo>
                    <a:pt x="2920" y="3231"/>
                  </a:lnTo>
                  <a:lnTo>
                    <a:pt x="2889" y="3163"/>
                  </a:lnTo>
                  <a:lnTo>
                    <a:pt x="2857" y="3091"/>
                  </a:lnTo>
                  <a:lnTo>
                    <a:pt x="2823" y="3021"/>
                  </a:lnTo>
                  <a:lnTo>
                    <a:pt x="2789" y="2951"/>
                  </a:lnTo>
                  <a:lnTo>
                    <a:pt x="2757" y="2883"/>
                  </a:lnTo>
                  <a:lnTo>
                    <a:pt x="2723" y="2818"/>
                  </a:lnTo>
                  <a:lnTo>
                    <a:pt x="2691" y="2757"/>
                  </a:lnTo>
                  <a:lnTo>
                    <a:pt x="2660" y="2704"/>
                  </a:lnTo>
                  <a:lnTo>
                    <a:pt x="2630" y="2659"/>
                  </a:lnTo>
                  <a:lnTo>
                    <a:pt x="2601" y="2623"/>
                  </a:lnTo>
                  <a:lnTo>
                    <a:pt x="2577" y="2596"/>
                  </a:lnTo>
                  <a:lnTo>
                    <a:pt x="2548" y="2573"/>
                  </a:lnTo>
                  <a:lnTo>
                    <a:pt x="2512" y="2547"/>
                  </a:lnTo>
                  <a:lnTo>
                    <a:pt x="2471" y="2516"/>
                  </a:lnTo>
                  <a:lnTo>
                    <a:pt x="2423" y="2482"/>
                  </a:lnTo>
                  <a:lnTo>
                    <a:pt x="2370" y="2446"/>
                  </a:lnTo>
                  <a:lnTo>
                    <a:pt x="2314" y="2408"/>
                  </a:lnTo>
                  <a:lnTo>
                    <a:pt x="2253" y="2369"/>
                  </a:lnTo>
                  <a:lnTo>
                    <a:pt x="2190" y="2331"/>
                  </a:lnTo>
                  <a:lnTo>
                    <a:pt x="2124" y="2291"/>
                  </a:lnTo>
                  <a:lnTo>
                    <a:pt x="2060" y="2255"/>
                  </a:lnTo>
                  <a:lnTo>
                    <a:pt x="1993" y="2221"/>
                  </a:lnTo>
                  <a:lnTo>
                    <a:pt x="1927" y="2188"/>
                  </a:lnTo>
                  <a:lnTo>
                    <a:pt x="1863" y="2160"/>
                  </a:lnTo>
                  <a:lnTo>
                    <a:pt x="1800" y="2135"/>
                  </a:lnTo>
                  <a:lnTo>
                    <a:pt x="1760" y="2118"/>
                  </a:lnTo>
                  <a:lnTo>
                    <a:pt x="1694" y="2196"/>
                  </a:lnTo>
                  <a:lnTo>
                    <a:pt x="1622" y="2266"/>
                  </a:lnTo>
                  <a:lnTo>
                    <a:pt x="1544" y="2331"/>
                  </a:lnTo>
                  <a:lnTo>
                    <a:pt x="1463" y="2391"/>
                  </a:lnTo>
                  <a:lnTo>
                    <a:pt x="1374" y="2443"/>
                  </a:lnTo>
                  <a:lnTo>
                    <a:pt x="1281" y="2490"/>
                  </a:lnTo>
                  <a:lnTo>
                    <a:pt x="1186" y="2528"/>
                  </a:lnTo>
                  <a:lnTo>
                    <a:pt x="1086" y="2558"/>
                  </a:lnTo>
                  <a:lnTo>
                    <a:pt x="984" y="2583"/>
                  </a:lnTo>
                  <a:lnTo>
                    <a:pt x="879" y="2596"/>
                  </a:lnTo>
                  <a:lnTo>
                    <a:pt x="775" y="2604"/>
                  </a:lnTo>
                  <a:lnTo>
                    <a:pt x="667" y="2600"/>
                  </a:lnTo>
                  <a:lnTo>
                    <a:pt x="559" y="2587"/>
                  </a:lnTo>
                  <a:lnTo>
                    <a:pt x="453" y="2564"/>
                  </a:lnTo>
                  <a:lnTo>
                    <a:pt x="345" y="2532"/>
                  </a:lnTo>
                  <a:lnTo>
                    <a:pt x="239" y="2488"/>
                  </a:lnTo>
                  <a:lnTo>
                    <a:pt x="135" y="2433"/>
                  </a:lnTo>
                  <a:lnTo>
                    <a:pt x="91" y="2403"/>
                  </a:lnTo>
                  <a:lnTo>
                    <a:pt x="55" y="2367"/>
                  </a:lnTo>
                  <a:lnTo>
                    <a:pt x="31" y="2331"/>
                  </a:lnTo>
                  <a:lnTo>
                    <a:pt x="12" y="2291"/>
                  </a:lnTo>
                  <a:lnTo>
                    <a:pt x="2" y="2251"/>
                  </a:lnTo>
                  <a:lnTo>
                    <a:pt x="0" y="2209"/>
                  </a:lnTo>
                  <a:lnTo>
                    <a:pt x="4" y="2169"/>
                  </a:lnTo>
                  <a:lnTo>
                    <a:pt x="15" y="2130"/>
                  </a:lnTo>
                  <a:lnTo>
                    <a:pt x="32" y="2092"/>
                  </a:lnTo>
                  <a:lnTo>
                    <a:pt x="55" y="2058"/>
                  </a:lnTo>
                  <a:lnTo>
                    <a:pt x="82" y="2025"/>
                  </a:lnTo>
                  <a:lnTo>
                    <a:pt x="112" y="1997"/>
                  </a:lnTo>
                  <a:lnTo>
                    <a:pt x="148" y="1974"/>
                  </a:lnTo>
                  <a:lnTo>
                    <a:pt x="186" y="1959"/>
                  </a:lnTo>
                  <a:lnTo>
                    <a:pt x="230" y="1948"/>
                  </a:lnTo>
                  <a:lnTo>
                    <a:pt x="273" y="1946"/>
                  </a:lnTo>
                  <a:lnTo>
                    <a:pt x="319" y="1949"/>
                  </a:lnTo>
                  <a:lnTo>
                    <a:pt x="366" y="1965"/>
                  </a:lnTo>
                  <a:lnTo>
                    <a:pt x="415" y="1987"/>
                  </a:lnTo>
                  <a:lnTo>
                    <a:pt x="497" y="2027"/>
                  </a:lnTo>
                  <a:lnTo>
                    <a:pt x="576" y="2056"/>
                  </a:lnTo>
                  <a:lnTo>
                    <a:pt x="658" y="2071"/>
                  </a:lnTo>
                  <a:lnTo>
                    <a:pt x="737" y="2077"/>
                  </a:lnTo>
                  <a:lnTo>
                    <a:pt x="815" y="2071"/>
                  </a:lnTo>
                  <a:lnTo>
                    <a:pt x="893" y="2054"/>
                  </a:lnTo>
                  <a:lnTo>
                    <a:pt x="966" y="2029"/>
                  </a:lnTo>
                  <a:lnTo>
                    <a:pt x="1040" y="1997"/>
                  </a:lnTo>
                  <a:lnTo>
                    <a:pt x="1110" y="1955"/>
                  </a:lnTo>
                  <a:lnTo>
                    <a:pt x="1177" y="1908"/>
                  </a:lnTo>
                  <a:lnTo>
                    <a:pt x="1241" y="1853"/>
                  </a:lnTo>
                  <a:lnTo>
                    <a:pt x="1300" y="1794"/>
                  </a:lnTo>
                  <a:lnTo>
                    <a:pt x="1357" y="1729"/>
                  </a:lnTo>
                  <a:lnTo>
                    <a:pt x="1408" y="1661"/>
                  </a:lnTo>
                  <a:lnTo>
                    <a:pt x="1453" y="1589"/>
                  </a:lnTo>
                  <a:lnTo>
                    <a:pt x="1495" y="1515"/>
                  </a:lnTo>
                  <a:lnTo>
                    <a:pt x="1559" y="1384"/>
                  </a:lnTo>
                  <a:lnTo>
                    <a:pt x="1622" y="1263"/>
                  </a:lnTo>
                  <a:lnTo>
                    <a:pt x="1681" y="1147"/>
                  </a:lnTo>
                  <a:lnTo>
                    <a:pt x="1736" y="1037"/>
                  </a:lnTo>
                  <a:lnTo>
                    <a:pt x="1791" y="933"/>
                  </a:lnTo>
                  <a:lnTo>
                    <a:pt x="1844" y="832"/>
                  </a:lnTo>
                  <a:lnTo>
                    <a:pt x="1897" y="734"/>
                  </a:lnTo>
                  <a:lnTo>
                    <a:pt x="1950" y="639"/>
                  </a:lnTo>
                  <a:lnTo>
                    <a:pt x="2005" y="542"/>
                  </a:lnTo>
                  <a:lnTo>
                    <a:pt x="1918" y="520"/>
                  </a:lnTo>
                  <a:lnTo>
                    <a:pt x="1832" y="506"/>
                  </a:lnTo>
                  <a:lnTo>
                    <a:pt x="1749" y="504"/>
                  </a:lnTo>
                  <a:lnTo>
                    <a:pt x="1667" y="510"/>
                  </a:lnTo>
                  <a:lnTo>
                    <a:pt x="1588" y="529"/>
                  </a:lnTo>
                  <a:lnTo>
                    <a:pt x="1510" y="556"/>
                  </a:lnTo>
                  <a:lnTo>
                    <a:pt x="1434" y="595"/>
                  </a:lnTo>
                  <a:lnTo>
                    <a:pt x="1362" y="643"/>
                  </a:lnTo>
                  <a:lnTo>
                    <a:pt x="1292" y="704"/>
                  </a:lnTo>
                  <a:lnTo>
                    <a:pt x="1224" y="776"/>
                  </a:lnTo>
                  <a:lnTo>
                    <a:pt x="1160" y="857"/>
                  </a:lnTo>
                  <a:lnTo>
                    <a:pt x="1128" y="897"/>
                  </a:lnTo>
                  <a:lnTo>
                    <a:pt x="1090" y="927"/>
                  </a:lnTo>
                  <a:lnTo>
                    <a:pt x="1050" y="948"/>
                  </a:lnTo>
                  <a:lnTo>
                    <a:pt x="1008" y="961"/>
                  </a:lnTo>
                  <a:lnTo>
                    <a:pt x="965" y="967"/>
                  </a:lnTo>
                  <a:lnTo>
                    <a:pt x="921" y="967"/>
                  </a:lnTo>
                  <a:lnTo>
                    <a:pt x="879" y="960"/>
                  </a:lnTo>
                  <a:lnTo>
                    <a:pt x="840" y="946"/>
                  </a:lnTo>
                  <a:lnTo>
                    <a:pt x="802" y="927"/>
                  </a:lnTo>
                  <a:lnTo>
                    <a:pt x="766" y="905"/>
                  </a:lnTo>
                  <a:lnTo>
                    <a:pt x="735" y="876"/>
                  </a:lnTo>
                  <a:lnTo>
                    <a:pt x="711" y="846"/>
                  </a:lnTo>
                  <a:lnTo>
                    <a:pt x="692" y="810"/>
                  </a:lnTo>
                  <a:lnTo>
                    <a:pt x="680" y="772"/>
                  </a:lnTo>
                  <a:lnTo>
                    <a:pt x="679" y="732"/>
                  </a:lnTo>
                  <a:lnTo>
                    <a:pt x="682" y="690"/>
                  </a:lnTo>
                  <a:lnTo>
                    <a:pt x="697" y="647"/>
                  </a:lnTo>
                  <a:lnTo>
                    <a:pt x="724" y="603"/>
                  </a:lnTo>
                  <a:lnTo>
                    <a:pt x="805" y="497"/>
                  </a:lnTo>
                  <a:lnTo>
                    <a:pt x="891" y="402"/>
                  </a:lnTo>
                  <a:lnTo>
                    <a:pt x="980" y="315"/>
                  </a:lnTo>
                  <a:lnTo>
                    <a:pt x="1073" y="241"/>
                  </a:lnTo>
                  <a:lnTo>
                    <a:pt x="1169" y="174"/>
                  </a:lnTo>
                  <a:lnTo>
                    <a:pt x="1270" y="119"/>
                  </a:lnTo>
                  <a:lnTo>
                    <a:pt x="1372" y="74"/>
                  </a:lnTo>
                  <a:lnTo>
                    <a:pt x="1476" y="40"/>
                  </a:lnTo>
                  <a:lnTo>
                    <a:pt x="1584" y="17"/>
                  </a:lnTo>
                  <a:lnTo>
                    <a:pt x="1694" y="4"/>
                  </a:lnTo>
                  <a:lnTo>
                    <a:pt x="180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" name="Content Placeholder 5"/>
          <p:cNvSpPr txBox="1">
            <a:spLocks/>
          </p:cNvSpPr>
          <p:nvPr/>
        </p:nvSpPr>
        <p:spPr>
          <a:xfrm>
            <a:off x="946484" y="1766054"/>
            <a:ext cx="8229600" cy="6096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rgbClr val="0084CB"/>
                </a:solidFill>
                <a:latin typeface="Raleway" panose="020B0003030101060003" pitchFamily="34" charset="0"/>
              </a:rPr>
              <a:t>Risk elimination via accuracy threshold</a:t>
            </a:r>
          </a:p>
        </p:txBody>
      </p:sp>
      <p:sp>
        <p:nvSpPr>
          <p:cNvPr id="59" name="Freeform 6"/>
          <p:cNvSpPr>
            <a:spLocks noChangeAspect="1" noEditPoints="1"/>
          </p:cNvSpPr>
          <p:nvPr/>
        </p:nvSpPr>
        <p:spPr bwMode="auto">
          <a:xfrm>
            <a:off x="669488" y="1815603"/>
            <a:ext cx="276996" cy="274320"/>
          </a:xfrm>
          <a:custGeom>
            <a:avLst/>
            <a:gdLst>
              <a:gd name="T0" fmla="*/ 2188 w 3309"/>
              <a:gd name="T1" fmla="*/ 922 h 3277"/>
              <a:gd name="T2" fmla="*/ 2136 w 3309"/>
              <a:gd name="T3" fmla="*/ 966 h 3277"/>
              <a:gd name="T4" fmla="*/ 1087 w 3309"/>
              <a:gd name="T5" fmla="*/ 1747 h 3277"/>
              <a:gd name="T6" fmla="*/ 1022 w 3309"/>
              <a:gd name="T7" fmla="*/ 1730 h 3277"/>
              <a:gd name="T8" fmla="*/ 959 w 3309"/>
              <a:gd name="T9" fmla="*/ 1758 h 3277"/>
              <a:gd name="T10" fmla="*/ 927 w 3309"/>
              <a:gd name="T11" fmla="*/ 1818 h 3277"/>
              <a:gd name="T12" fmla="*/ 940 w 3309"/>
              <a:gd name="T13" fmla="*/ 1883 h 3277"/>
              <a:gd name="T14" fmla="*/ 1445 w 3309"/>
              <a:gd name="T15" fmla="*/ 2349 h 3277"/>
              <a:gd name="T16" fmla="*/ 1510 w 3309"/>
              <a:gd name="T17" fmla="*/ 2366 h 3277"/>
              <a:gd name="T18" fmla="*/ 1574 w 3309"/>
              <a:gd name="T19" fmla="*/ 2339 h 3277"/>
              <a:gd name="T20" fmla="*/ 1590 w 3309"/>
              <a:gd name="T21" fmla="*/ 2314 h 3277"/>
              <a:gd name="T22" fmla="*/ 1628 w 3309"/>
              <a:gd name="T23" fmla="*/ 2250 h 3277"/>
              <a:gd name="T24" fmla="*/ 1684 w 3309"/>
              <a:gd name="T25" fmla="*/ 2155 h 3277"/>
              <a:gd name="T26" fmla="*/ 1755 w 3309"/>
              <a:gd name="T27" fmla="*/ 2034 h 3277"/>
              <a:gd name="T28" fmla="*/ 1835 w 3309"/>
              <a:gd name="T29" fmla="*/ 1897 h 3277"/>
              <a:gd name="T30" fmla="*/ 1921 w 3309"/>
              <a:gd name="T31" fmla="*/ 1749 h 3277"/>
              <a:gd name="T32" fmla="*/ 2007 w 3309"/>
              <a:gd name="T33" fmla="*/ 1601 h 3277"/>
              <a:gd name="T34" fmla="*/ 2091 w 3309"/>
              <a:gd name="T35" fmla="*/ 1456 h 3277"/>
              <a:gd name="T36" fmla="*/ 2167 w 3309"/>
              <a:gd name="T37" fmla="*/ 1324 h 3277"/>
              <a:gd name="T38" fmla="*/ 2233 w 3309"/>
              <a:gd name="T39" fmla="*/ 1213 h 3277"/>
              <a:gd name="T40" fmla="*/ 2281 w 3309"/>
              <a:gd name="T41" fmla="*/ 1128 h 3277"/>
              <a:gd name="T42" fmla="*/ 2310 w 3309"/>
              <a:gd name="T43" fmla="*/ 1079 h 3277"/>
              <a:gd name="T44" fmla="*/ 2326 w 3309"/>
              <a:gd name="T45" fmla="*/ 1047 h 3277"/>
              <a:gd name="T46" fmla="*/ 2322 w 3309"/>
              <a:gd name="T47" fmla="*/ 981 h 3277"/>
              <a:gd name="T48" fmla="*/ 2278 w 3309"/>
              <a:gd name="T49" fmla="*/ 928 h 3277"/>
              <a:gd name="T50" fmla="*/ 1655 w 3309"/>
              <a:gd name="T51" fmla="*/ 0 h 3277"/>
              <a:gd name="T52" fmla="*/ 1963 w 3309"/>
              <a:gd name="T53" fmla="*/ 29 h 3277"/>
              <a:gd name="T54" fmla="*/ 2253 w 3309"/>
              <a:gd name="T55" fmla="*/ 110 h 3277"/>
              <a:gd name="T56" fmla="*/ 2518 w 3309"/>
              <a:gd name="T57" fmla="*/ 240 h 3277"/>
              <a:gd name="T58" fmla="*/ 2754 w 3309"/>
              <a:gd name="T59" fmla="*/ 414 h 3277"/>
              <a:gd name="T60" fmla="*/ 2955 w 3309"/>
              <a:gd name="T61" fmla="*/ 624 h 3277"/>
              <a:gd name="T62" fmla="*/ 3116 w 3309"/>
              <a:gd name="T63" fmla="*/ 869 h 3277"/>
              <a:gd name="T64" fmla="*/ 3231 w 3309"/>
              <a:gd name="T65" fmla="*/ 1140 h 3277"/>
              <a:gd name="T66" fmla="*/ 3296 w 3309"/>
              <a:gd name="T67" fmla="*/ 1433 h 3277"/>
              <a:gd name="T68" fmla="*/ 3306 w 3309"/>
              <a:gd name="T69" fmla="*/ 1742 h 3277"/>
              <a:gd name="T70" fmla="*/ 3258 w 3309"/>
              <a:gd name="T71" fmla="*/ 2042 h 3277"/>
              <a:gd name="T72" fmla="*/ 3159 w 3309"/>
              <a:gd name="T73" fmla="*/ 2321 h 3277"/>
              <a:gd name="T74" fmla="*/ 3013 w 3309"/>
              <a:gd name="T75" fmla="*/ 2575 h 3277"/>
              <a:gd name="T76" fmla="*/ 2825 w 3309"/>
              <a:gd name="T77" fmla="*/ 2798 h 3277"/>
              <a:gd name="T78" fmla="*/ 2601 w 3309"/>
              <a:gd name="T79" fmla="*/ 2984 h 3277"/>
              <a:gd name="T80" fmla="*/ 2345 w 3309"/>
              <a:gd name="T81" fmla="*/ 3129 h 3277"/>
              <a:gd name="T82" fmla="*/ 2062 w 3309"/>
              <a:gd name="T83" fmla="*/ 3227 h 3277"/>
              <a:gd name="T84" fmla="*/ 1760 w 3309"/>
              <a:gd name="T85" fmla="*/ 3274 h 3277"/>
              <a:gd name="T86" fmla="*/ 1447 w 3309"/>
              <a:gd name="T87" fmla="*/ 3265 h 3277"/>
              <a:gd name="T88" fmla="*/ 1151 w 3309"/>
              <a:gd name="T89" fmla="*/ 3200 h 3277"/>
              <a:gd name="T90" fmla="*/ 877 w 3309"/>
              <a:gd name="T91" fmla="*/ 3086 h 3277"/>
              <a:gd name="T92" fmla="*/ 630 w 3309"/>
              <a:gd name="T93" fmla="*/ 2926 h 3277"/>
              <a:gd name="T94" fmla="*/ 418 w 3309"/>
              <a:gd name="T95" fmla="*/ 2727 h 3277"/>
              <a:gd name="T96" fmla="*/ 243 w 3309"/>
              <a:gd name="T97" fmla="*/ 2494 h 3277"/>
              <a:gd name="T98" fmla="*/ 111 w 3309"/>
              <a:gd name="T99" fmla="*/ 2231 h 3277"/>
              <a:gd name="T100" fmla="*/ 28 w 3309"/>
              <a:gd name="T101" fmla="*/ 1944 h 3277"/>
              <a:gd name="T102" fmla="*/ 0 w 3309"/>
              <a:gd name="T103" fmla="*/ 1638 h 3277"/>
              <a:gd name="T104" fmla="*/ 28 w 3309"/>
              <a:gd name="T105" fmla="*/ 1333 h 3277"/>
              <a:gd name="T106" fmla="*/ 111 w 3309"/>
              <a:gd name="T107" fmla="*/ 1047 h 3277"/>
              <a:gd name="T108" fmla="*/ 243 w 3309"/>
              <a:gd name="T109" fmla="*/ 784 h 3277"/>
              <a:gd name="T110" fmla="*/ 418 w 3309"/>
              <a:gd name="T111" fmla="*/ 550 h 3277"/>
              <a:gd name="T112" fmla="*/ 630 w 3309"/>
              <a:gd name="T113" fmla="*/ 351 h 3277"/>
              <a:gd name="T114" fmla="*/ 877 w 3309"/>
              <a:gd name="T115" fmla="*/ 192 h 3277"/>
              <a:gd name="T116" fmla="*/ 1151 w 3309"/>
              <a:gd name="T117" fmla="*/ 78 h 3277"/>
              <a:gd name="T118" fmla="*/ 1447 w 3309"/>
              <a:gd name="T119" fmla="*/ 13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09" h="3277">
                <a:moveTo>
                  <a:pt x="2234" y="915"/>
                </a:moveTo>
                <a:lnTo>
                  <a:pt x="2210" y="916"/>
                </a:lnTo>
                <a:lnTo>
                  <a:pt x="2188" y="922"/>
                </a:lnTo>
                <a:lnTo>
                  <a:pt x="2168" y="932"/>
                </a:lnTo>
                <a:lnTo>
                  <a:pt x="2151" y="947"/>
                </a:lnTo>
                <a:lnTo>
                  <a:pt x="2136" y="966"/>
                </a:lnTo>
                <a:lnTo>
                  <a:pt x="1475" y="2100"/>
                </a:lnTo>
                <a:lnTo>
                  <a:pt x="1105" y="1763"/>
                </a:lnTo>
                <a:lnTo>
                  <a:pt x="1087" y="1747"/>
                </a:lnTo>
                <a:lnTo>
                  <a:pt x="1066" y="1737"/>
                </a:lnTo>
                <a:lnTo>
                  <a:pt x="1045" y="1731"/>
                </a:lnTo>
                <a:lnTo>
                  <a:pt x="1022" y="1730"/>
                </a:lnTo>
                <a:lnTo>
                  <a:pt x="999" y="1735"/>
                </a:lnTo>
                <a:lnTo>
                  <a:pt x="978" y="1744"/>
                </a:lnTo>
                <a:lnTo>
                  <a:pt x="959" y="1758"/>
                </a:lnTo>
                <a:lnTo>
                  <a:pt x="943" y="1775"/>
                </a:lnTo>
                <a:lnTo>
                  <a:pt x="933" y="1796"/>
                </a:lnTo>
                <a:lnTo>
                  <a:pt x="927" y="1818"/>
                </a:lnTo>
                <a:lnTo>
                  <a:pt x="926" y="1840"/>
                </a:lnTo>
                <a:lnTo>
                  <a:pt x="931" y="1862"/>
                </a:lnTo>
                <a:lnTo>
                  <a:pt x="940" y="1883"/>
                </a:lnTo>
                <a:lnTo>
                  <a:pt x="954" y="1902"/>
                </a:lnTo>
                <a:lnTo>
                  <a:pt x="1427" y="2334"/>
                </a:lnTo>
                <a:lnTo>
                  <a:pt x="1445" y="2349"/>
                </a:lnTo>
                <a:lnTo>
                  <a:pt x="1466" y="2360"/>
                </a:lnTo>
                <a:lnTo>
                  <a:pt x="1488" y="2366"/>
                </a:lnTo>
                <a:lnTo>
                  <a:pt x="1510" y="2366"/>
                </a:lnTo>
                <a:lnTo>
                  <a:pt x="1532" y="2362"/>
                </a:lnTo>
                <a:lnTo>
                  <a:pt x="1555" y="2354"/>
                </a:lnTo>
                <a:lnTo>
                  <a:pt x="1574" y="2339"/>
                </a:lnTo>
                <a:lnTo>
                  <a:pt x="1576" y="2336"/>
                </a:lnTo>
                <a:lnTo>
                  <a:pt x="1581" y="2327"/>
                </a:lnTo>
                <a:lnTo>
                  <a:pt x="1590" y="2314"/>
                </a:lnTo>
                <a:lnTo>
                  <a:pt x="1600" y="2297"/>
                </a:lnTo>
                <a:lnTo>
                  <a:pt x="1613" y="2275"/>
                </a:lnTo>
                <a:lnTo>
                  <a:pt x="1628" y="2250"/>
                </a:lnTo>
                <a:lnTo>
                  <a:pt x="1645" y="2222"/>
                </a:lnTo>
                <a:lnTo>
                  <a:pt x="1664" y="2189"/>
                </a:lnTo>
                <a:lnTo>
                  <a:pt x="1684" y="2155"/>
                </a:lnTo>
                <a:lnTo>
                  <a:pt x="1706" y="2117"/>
                </a:lnTo>
                <a:lnTo>
                  <a:pt x="1729" y="2076"/>
                </a:lnTo>
                <a:lnTo>
                  <a:pt x="1755" y="2034"/>
                </a:lnTo>
                <a:lnTo>
                  <a:pt x="1780" y="1989"/>
                </a:lnTo>
                <a:lnTo>
                  <a:pt x="1807" y="1944"/>
                </a:lnTo>
                <a:lnTo>
                  <a:pt x="1835" y="1897"/>
                </a:lnTo>
                <a:lnTo>
                  <a:pt x="1862" y="1848"/>
                </a:lnTo>
                <a:lnTo>
                  <a:pt x="1891" y="1798"/>
                </a:lnTo>
                <a:lnTo>
                  <a:pt x="1921" y="1749"/>
                </a:lnTo>
                <a:lnTo>
                  <a:pt x="1949" y="1699"/>
                </a:lnTo>
                <a:lnTo>
                  <a:pt x="1979" y="1650"/>
                </a:lnTo>
                <a:lnTo>
                  <a:pt x="2007" y="1601"/>
                </a:lnTo>
                <a:lnTo>
                  <a:pt x="2036" y="1551"/>
                </a:lnTo>
                <a:lnTo>
                  <a:pt x="2063" y="1503"/>
                </a:lnTo>
                <a:lnTo>
                  <a:pt x="2091" y="1456"/>
                </a:lnTo>
                <a:lnTo>
                  <a:pt x="2117" y="1410"/>
                </a:lnTo>
                <a:lnTo>
                  <a:pt x="2143" y="1366"/>
                </a:lnTo>
                <a:lnTo>
                  <a:pt x="2167" y="1324"/>
                </a:lnTo>
                <a:lnTo>
                  <a:pt x="2190" y="1284"/>
                </a:lnTo>
                <a:lnTo>
                  <a:pt x="2212" y="1248"/>
                </a:lnTo>
                <a:lnTo>
                  <a:pt x="2233" y="1213"/>
                </a:lnTo>
                <a:lnTo>
                  <a:pt x="2251" y="1182"/>
                </a:lnTo>
                <a:lnTo>
                  <a:pt x="2266" y="1153"/>
                </a:lnTo>
                <a:lnTo>
                  <a:pt x="2281" y="1128"/>
                </a:lnTo>
                <a:lnTo>
                  <a:pt x="2293" y="1107"/>
                </a:lnTo>
                <a:lnTo>
                  <a:pt x="2302" y="1091"/>
                </a:lnTo>
                <a:lnTo>
                  <a:pt x="2310" y="1079"/>
                </a:lnTo>
                <a:lnTo>
                  <a:pt x="2314" y="1072"/>
                </a:lnTo>
                <a:lnTo>
                  <a:pt x="2316" y="1069"/>
                </a:lnTo>
                <a:lnTo>
                  <a:pt x="2326" y="1047"/>
                </a:lnTo>
                <a:lnTo>
                  <a:pt x="2330" y="1025"/>
                </a:lnTo>
                <a:lnTo>
                  <a:pt x="2329" y="1003"/>
                </a:lnTo>
                <a:lnTo>
                  <a:pt x="2322" y="981"/>
                </a:lnTo>
                <a:lnTo>
                  <a:pt x="2312" y="961"/>
                </a:lnTo>
                <a:lnTo>
                  <a:pt x="2297" y="943"/>
                </a:lnTo>
                <a:lnTo>
                  <a:pt x="2278" y="928"/>
                </a:lnTo>
                <a:lnTo>
                  <a:pt x="2256" y="919"/>
                </a:lnTo>
                <a:lnTo>
                  <a:pt x="2234" y="915"/>
                </a:lnTo>
                <a:close/>
                <a:moveTo>
                  <a:pt x="1655" y="0"/>
                </a:moveTo>
                <a:lnTo>
                  <a:pt x="1760" y="3"/>
                </a:lnTo>
                <a:lnTo>
                  <a:pt x="1862" y="13"/>
                </a:lnTo>
                <a:lnTo>
                  <a:pt x="1963" y="29"/>
                </a:lnTo>
                <a:lnTo>
                  <a:pt x="2062" y="51"/>
                </a:lnTo>
                <a:lnTo>
                  <a:pt x="2159" y="78"/>
                </a:lnTo>
                <a:lnTo>
                  <a:pt x="2253" y="110"/>
                </a:lnTo>
                <a:lnTo>
                  <a:pt x="2345" y="149"/>
                </a:lnTo>
                <a:lnTo>
                  <a:pt x="2432" y="192"/>
                </a:lnTo>
                <a:lnTo>
                  <a:pt x="2518" y="240"/>
                </a:lnTo>
                <a:lnTo>
                  <a:pt x="2601" y="294"/>
                </a:lnTo>
                <a:lnTo>
                  <a:pt x="2679" y="351"/>
                </a:lnTo>
                <a:lnTo>
                  <a:pt x="2754" y="414"/>
                </a:lnTo>
                <a:lnTo>
                  <a:pt x="2825" y="480"/>
                </a:lnTo>
                <a:lnTo>
                  <a:pt x="2891" y="550"/>
                </a:lnTo>
                <a:lnTo>
                  <a:pt x="2955" y="624"/>
                </a:lnTo>
                <a:lnTo>
                  <a:pt x="3013" y="703"/>
                </a:lnTo>
                <a:lnTo>
                  <a:pt x="3067" y="784"/>
                </a:lnTo>
                <a:lnTo>
                  <a:pt x="3116" y="869"/>
                </a:lnTo>
                <a:lnTo>
                  <a:pt x="3159" y="956"/>
                </a:lnTo>
                <a:lnTo>
                  <a:pt x="3198" y="1047"/>
                </a:lnTo>
                <a:lnTo>
                  <a:pt x="3231" y="1140"/>
                </a:lnTo>
                <a:lnTo>
                  <a:pt x="3258" y="1235"/>
                </a:lnTo>
                <a:lnTo>
                  <a:pt x="3281" y="1333"/>
                </a:lnTo>
                <a:lnTo>
                  <a:pt x="3296" y="1433"/>
                </a:lnTo>
                <a:lnTo>
                  <a:pt x="3306" y="1535"/>
                </a:lnTo>
                <a:lnTo>
                  <a:pt x="3309" y="1638"/>
                </a:lnTo>
                <a:lnTo>
                  <a:pt x="3306" y="1742"/>
                </a:lnTo>
                <a:lnTo>
                  <a:pt x="3296" y="1845"/>
                </a:lnTo>
                <a:lnTo>
                  <a:pt x="3281" y="1944"/>
                </a:lnTo>
                <a:lnTo>
                  <a:pt x="3258" y="2042"/>
                </a:lnTo>
                <a:lnTo>
                  <a:pt x="3231" y="2138"/>
                </a:lnTo>
                <a:lnTo>
                  <a:pt x="3198" y="2231"/>
                </a:lnTo>
                <a:lnTo>
                  <a:pt x="3159" y="2321"/>
                </a:lnTo>
                <a:lnTo>
                  <a:pt x="3116" y="2409"/>
                </a:lnTo>
                <a:lnTo>
                  <a:pt x="3067" y="2494"/>
                </a:lnTo>
                <a:lnTo>
                  <a:pt x="3013" y="2575"/>
                </a:lnTo>
                <a:lnTo>
                  <a:pt x="2955" y="2653"/>
                </a:lnTo>
                <a:lnTo>
                  <a:pt x="2891" y="2727"/>
                </a:lnTo>
                <a:lnTo>
                  <a:pt x="2825" y="2798"/>
                </a:lnTo>
                <a:lnTo>
                  <a:pt x="2754" y="2864"/>
                </a:lnTo>
                <a:lnTo>
                  <a:pt x="2679" y="2926"/>
                </a:lnTo>
                <a:lnTo>
                  <a:pt x="2601" y="2984"/>
                </a:lnTo>
                <a:lnTo>
                  <a:pt x="2518" y="3036"/>
                </a:lnTo>
                <a:lnTo>
                  <a:pt x="2432" y="3086"/>
                </a:lnTo>
                <a:lnTo>
                  <a:pt x="2345" y="3129"/>
                </a:lnTo>
                <a:lnTo>
                  <a:pt x="2253" y="3167"/>
                </a:lnTo>
                <a:lnTo>
                  <a:pt x="2159" y="3200"/>
                </a:lnTo>
                <a:lnTo>
                  <a:pt x="2062" y="3227"/>
                </a:lnTo>
                <a:lnTo>
                  <a:pt x="1963" y="3249"/>
                </a:lnTo>
                <a:lnTo>
                  <a:pt x="1862" y="3265"/>
                </a:lnTo>
                <a:lnTo>
                  <a:pt x="1760" y="3274"/>
                </a:lnTo>
                <a:lnTo>
                  <a:pt x="1655" y="3277"/>
                </a:lnTo>
                <a:lnTo>
                  <a:pt x="1550" y="3274"/>
                </a:lnTo>
                <a:lnTo>
                  <a:pt x="1447" y="3265"/>
                </a:lnTo>
                <a:lnTo>
                  <a:pt x="1346" y="3249"/>
                </a:lnTo>
                <a:lnTo>
                  <a:pt x="1247" y="3227"/>
                </a:lnTo>
                <a:lnTo>
                  <a:pt x="1151" y="3200"/>
                </a:lnTo>
                <a:lnTo>
                  <a:pt x="1056" y="3167"/>
                </a:lnTo>
                <a:lnTo>
                  <a:pt x="966" y="3129"/>
                </a:lnTo>
                <a:lnTo>
                  <a:pt x="877" y="3086"/>
                </a:lnTo>
                <a:lnTo>
                  <a:pt x="791" y="3036"/>
                </a:lnTo>
                <a:lnTo>
                  <a:pt x="710" y="2984"/>
                </a:lnTo>
                <a:lnTo>
                  <a:pt x="630" y="2926"/>
                </a:lnTo>
                <a:lnTo>
                  <a:pt x="556" y="2864"/>
                </a:lnTo>
                <a:lnTo>
                  <a:pt x="484" y="2798"/>
                </a:lnTo>
                <a:lnTo>
                  <a:pt x="418" y="2727"/>
                </a:lnTo>
                <a:lnTo>
                  <a:pt x="355" y="2653"/>
                </a:lnTo>
                <a:lnTo>
                  <a:pt x="296" y="2575"/>
                </a:lnTo>
                <a:lnTo>
                  <a:pt x="243" y="2494"/>
                </a:lnTo>
                <a:lnTo>
                  <a:pt x="193" y="2409"/>
                </a:lnTo>
                <a:lnTo>
                  <a:pt x="150" y="2321"/>
                </a:lnTo>
                <a:lnTo>
                  <a:pt x="111" y="2231"/>
                </a:lnTo>
                <a:lnTo>
                  <a:pt x="78" y="2138"/>
                </a:lnTo>
                <a:lnTo>
                  <a:pt x="51" y="2042"/>
                </a:lnTo>
                <a:lnTo>
                  <a:pt x="28" y="1944"/>
                </a:lnTo>
                <a:lnTo>
                  <a:pt x="13" y="1845"/>
                </a:lnTo>
                <a:lnTo>
                  <a:pt x="3" y="1742"/>
                </a:lnTo>
                <a:lnTo>
                  <a:pt x="0" y="1638"/>
                </a:lnTo>
                <a:lnTo>
                  <a:pt x="3" y="1535"/>
                </a:lnTo>
                <a:lnTo>
                  <a:pt x="13" y="1433"/>
                </a:lnTo>
                <a:lnTo>
                  <a:pt x="28" y="1333"/>
                </a:lnTo>
                <a:lnTo>
                  <a:pt x="51" y="1235"/>
                </a:lnTo>
                <a:lnTo>
                  <a:pt x="78" y="1140"/>
                </a:lnTo>
                <a:lnTo>
                  <a:pt x="111" y="1047"/>
                </a:lnTo>
                <a:lnTo>
                  <a:pt x="150" y="956"/>
                </a:lnTo>
                <a:lnTo>
                  <a:pt x="193" y="869"/>
                </a:lnTo>
                <a:lnTo>
                  <a:pt x="243" y="784"/>
                </a:lnTo>
                <a:lnTo>
                  <a:pt x="296" y="703"/>
                </a:lnTo>
                <a:lnTo>
                  <a:pt x="355" y="624"/>
                </a:lnTo>
                <a:lnTo>
                  <a:pt x="418" y="550"/>
                </a:lnTo>
                <a:lnTo>
                  <a:pt x="484" y="480"/>
                </a:lnTo>
                <a:lnTo>
                  <a:pt x="556" y="414"/>
                </a:lnTo>
                <a:lnTo>
                  <a:pt x="630" y="351"/>
                </a:lnTo>
                <a:lnTo>
                  <a:pt x="710" y="294"/>
                </a:lnTo>
                <a:lnTo>
                  <a:pt x="791" y="240"/>
                </a:lnTo>
                <a:lnTo>
                  <a:pt x="877" y="192"/>
                </a:lnTo>
                <a:lnTo>
                  <a:pt x="966" y="149"/>
                </a:lnTo>
                <a:lnTo>
                  <a:pt x="1056" y="110"/>
                </a:lnTo>
                <a:lnTo>
                  <a:pt x="1151" y="78"/>
                </a:lnTo>
                <a:lnTo>
                  <a:pt x="1247" y="51"/>
                </a:lnTo>
                <a:lnTo>
                  <a:pt x="1346" y="29"/>
                </a:lnTo>
                <a:lnTo>
                  <a:pt x="1447" y="13"/>
                </a:lnTo>
                <a:lnTo>
                  <a:pt x="1550" y="3"/>
                </a:lnTo>
                <a:lnTo>
                  <a:pt x="1655" y="0"/>
                </a:lnTo>
                <a:close/>
              </a:path>
            </a:pathLst>
          </a:cu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0" name="Group 59"/>
          <p:cNvGrpSpPr/>
          <p:nvPr/>
        </p:nvGrpSpPr>
        <p:grpSpPr>
          <a:xfrm>
            <a:off x="3264694" y="2166678"/>
            <a:ext cx="5740003" cy="3914251"/>
            <a:chOff x="1825584" y="1318606"/>
            <a:chExt cx="5413416" cy="3691544"/>
          </a:xfrm>
        </p:grpSpPr>
        <p:pic>
          <p:nvPicPr>
            <p:cNvPr id="61" name="Picture 60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66052" y="1318606"/>
              <a:ext cx="1948489" cy="3691544"/>
            </a:xfrm>
            <a:prstGeom prst="rect">
              <a:avLst/>
            </a:prstGeom>
          </p:spPr>
        </p:pic>
        <p:sp>
          <p:nvSpPr>
            <p:cNvPr id="62" name="Rectangle 61"/>
            <p:cNvSpPr/>
            <p:nvPr/>
          </p:nvSpPr>
          <p:spPr>
            <a:xfrm>
              <a:off x="3701622" y="1941543"/>
              <a:ext cx="1596194" cy="2445670"/>
            </a:xfrm>
            <a:prstGeom prst="rect">
              <a:avLst/>
            </a:pr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Raleway" panose="020B0003030101060003" pitchFamily="34" charset="0"/>
              </a:endParaRPr>
            </a:p>
          </p:txBody>
        </p:sp>
        <p:pic>
          <p:nvPicPr>
            <p:cNvPr id="63" name="Picture 62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"/>
            <a:stretch/>
          </p:blipFill>
          <p:spPr>
            <a:xfrm>
              <a:off x="1825584" y="1461221"/>
              <a:ext cx="1799838" cy="3406315"/>
            </a:xfrm>
            <a:prstGeom prst="rect">
              <a:avLst/>
            </a:prstGeom>
          </p:spPr>
        </p:pic>
        <p:sp>
          <p:nvSpPr>
            <p:cNvPr id="64" name="Rectangle 63"/>
            <p:cNvSpPr/>
            <p:nvPr/>
          </p:nvSpPr>
          <p:spPr>
            <a:xfrm>
              <a:off x="1952579" y="2040036"/>
              <a:ext cx="1472864" cy="2256704"/>
            </a:xfrm>
            <a:prstGeom prst="rect">
              <a:avLst/>
            </a:pr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Raleway" panose="020B0003030101060003" pitchFamily="34" charset="0"/>
              </a:endParaRPr>
            </a:p>
          </p:txBody>
        </p:sp>
        <p:pic>
          <p:nvPicPr>
            <p:cNvPr id="65" name="Picture 64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45757" y="1461221"/>
              <a:ext cx="1793243" cy="3406315"/>
            </a:xfrm>
            <a:prstGeom prst="rect">
              <a:avLst/>
            </a:prstGeom>
          </p:spPr>
        </p:pic>
        <p:sp>
          <p:nvSpPr>
            <p:cNvPr id="66" name="Rectangle 65"/>
            <p:cNvSpPr/>
            <p:nvPr/>
          </p:nvSpPr>
          <p:spPr>
            <a:xfrm>
              <a:off x="5566157" y="2040036"/>
              <a:ext cx="1472864" cy="2256704"/>
            </a:xfrm>
            <a:prstGeom prst="rect">
              <a:avLst/>
            </a:pr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Raleway" panose="020B0003030101060003" pitchFamily="34" charset="0"/>
              </a:endParaRPr>
            </a:p>
          </p:txBody>
        </p:sp>
      </p:grpSp>
      <p:pic>
        <p:nvPicPr>
          <p:cNvPr id="67" name="Picture 5"/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9350" y="3706844"/>
            <a:ext cx="1543964" cy="1258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Rounded Rectangular Callout 67"/>
          <p:cNvSpPr/>
          <p:nvPr/>
        </p:nvSpPr>
        <p:spPr>
          <a:xfrm>
            <a:off x="3515691" y="3137874"/>
            <a:ext cx="1367846" cy="505268"/>
          </a:xfrm>
          <a:prstGeom prst="wedgeRoundRectCallout">
            <a:avLst>
              <a:gd name="adj1" fmla="val -22010"/>
              <a:gd name="adj2" fmla="val 84811"/>
              <a:gd name="adj3" fmla="val 16667"/>
            </a:avLst>
          </a:prstGeom>
          <a:solidFill>
            <a:srgbClr val="212A2C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 panose="020B0003030101060003" pitchFamily="34" charset="0"/>
              </a:rPr>
              <a:t>I am 99.18% confident in this response</a:t>
            </a:r>
            <a:endParaRPr kumimoji="0" lang="en-CA" sz="90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 panose="020B0003030101060003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328513" y="5892936"/>
            <a:ext cx="17476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003030101060003" pitchFamily="34" charset="0"/>
              </a:rPr>
              <a:t>Self-assessment capability</a:t>
            </a:r>
            <a:endParaRPr kumimoji="0" lang="en-CA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aleway" panose="020B0003030101060003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238205" y="6043039"/>
            <a:ext cx="17476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b="1" kern="0" dirty="0">
                <a:solidFill>
                  <a:schemeClr val="bg1"/>
                </a:solidFill>
                <a:latin typeface="Raleway" panose="020B0003030101060003" pitchFamily="34" charset="0"/>
              </a:rPr>
              <a:t>Escalation processes</a:t>
            </a:r>
          </a:p>
        </p:txBody>
      </p:sp>
      <p:sp>
        <p:nvSpPr>
          <p:cNvPr id="78" name="Rectangle 77"/>
          <p:cNvSpPr/>
          <p:nvPr/>
        </p:nvSpPr>
        <p:spPr>
          <a:xfrm>
            <a:off x="7141386" y="5869947"/>
            <a:ext cx="17476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b="1" kern="0" dirty="0" smtClean="0">
                <a:solidFill>
                  <a:schemeClr val="bg1"/>
                </a:solidFill>
                <a:latin typeface="Raleway" panose="020B0003030101060003" pitchFamily="34" charset="0"/>
              </a:rPr>
              <a:t>On-the-job training console</a:t>
            </a:r>
            <a:endParaRPr lang="en-US" b="1" kern="0" dirty="0">
              <a:solidFill>
                <a:schemeClr val="bg1"/>
              </a:solidFill>
              <a:latin typeface="Raleway" panose="020B0003030101060003" pitchFamily="34" charset="0"/>
            </a:endParaRPr>
          </a:p>
        </p:txBody>
      </p:sp>
      <p:pic>
        <p:nvPicPr>
          <p:cNvPr id="1034" name="Picture 10" descr="\\10.10.1.18\Projects\Korah\Ccr\doc\ccRobot Logo\ccRobot Icon High Resolution.png"/>
          <p:cNvPicPr>
            <a:picLocks noChangeAspect="1" noChangeArrowheads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53911" y="4336266"/>
            <a:ext cx="1040101" cy="108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\\10.10.1.18\Projects\Korah\Ccr\doc\PowerPoint slides\Source images\headset service-1660848_960_720.jpg"/>
          <p:cNvPicPr>
            <a:picLocks noChangeAspect="1" noChangeArrowheads="1"/>
          </p:cNvPicPr>
          <p:nvPr/>
        </p:nvPicPr>
        <p:blipFill rotWithShape="1">
          <a:blip r:embed="rId8" cstate="screen">
            <a:clrChange>
              <a:clrFrom>
                <a:srgbClr val="FBF2ED"/>
              </a:clrFrom>
              <a:clrTo>
                <a:srgbClr val="FBF2E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812928" y="2827195"/>
            <a:ext cx="1133475" cy="95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Elbow Connector 6"/>
          <p:cNvCxnSpPr/>
          <p:nvPr/>
        </p:nvCxnSpPr>
        <p:spPr>
          <a:xfrm rot="5400000" flipH="1" flipV="1">
            <a:off x="5856870" y="4332870"/>
            <a:ext cx="1300162" cy="425875"/>
          </a:xfrm>
          <a:prstGeom prst="bentConnector3">
            <a:avLst>
              <a:gd name="adj1" fmla="val -2200"/>
            </a:avLst>
          </a:prstGeom>
          <a:ln w="5715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Picture 6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30933" y="2931631"/>
            <a:ext cx="1554552" cy="240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Rectangle 40"/>
          <p:cNvSpPr/>
          <p:nvPr/>
        </p:nvSpPr>
        <p:spPr>
          <a:xfrm>
            <a:off x="5821767" y="3643142"/>
            <a:ext cx="1115112" cy="13746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58926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481253" y="34056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50476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Accelerated Speed to Impact</a:t>
            </a:r>
          </a:p>
        </p:txBody>
      </p:sp>
      <p:grpSp>
        <p:nvGrpSpPr>
          <p:cNvPr id="10" name="Group 50"/>
          <p:cNvGrpSpPr>
            <a:grpSpLocks noChangeAspect="1"/>
          </p:cNvGrpSpPr>
          <p:nvPr/>
        </p:nvGrpSpPr>
        <p:grpSpPr bwMode="auto">
          <a:xfrm>
            <a:off x="418957" y="772554"/>
            <a:ext cx="531519" cy="365760"/>
            <a:chOff x="2277" y="1085"/>
            <a:chExt cx="3120" cy="2147"/>
          </a:xfr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</p:grpSpPr>
        <p:sp>
          <p:nvSpPr>
            <p:cNvPr id="11" name="Freeform 52"/>
            <p:cNvSpPr>
              <a:spLocks/>
            </p:cNvSpPr>
            <p:nvPr/>
          </p:nvSpPr>
          <p:spPr bwMode="auto">
            <a:xfrm>
              <a:off x="3194" y="1207"/>
              <a:ext cx="1054" cy="91"/>
            </a:xfrm>
            <a:custGeom>
              <a:avLst/>
              <a:gdLst>
                <a:gd name="T0" fmla="*/ 91 w 2109"/>
                <a:gd name="T1" fmla="*/ 0 h 182"/>
                <a:gd name="T2" fmla="*/ 2016 w 2109"/>
                <a:gd name="T3" fmla="*/ 0 h 182"/>
                <a:gd name="T4" fmla="*/ 2044 w 2109"/>
                <a:gd name="T5" fmla="*/ 4 h 182"/>
                <a:gd name="T6" fmla="*/ 2071 w 2109"/>
                <a:gd name="T7" fmla="*/ 17 h 182"/>
                <a:gd name="T8" fmla="*/ 2090 w 2109"/>
                <a:gd name="T9" fmla="*/ 36 h 182"/>
                <a:gd name="T10" fmla="*/ 2103 w 2109"/>
                <a:gd name="T11" fmla="*/ 63 h 182"/>
                <a:gd name="T12" fmla="*/ 2109 w 2109"/>
                <a:gd name="T13" fmla="*/ 91 h 182"/>
                <a:gd name="T14" fmla="*/ 2103 w 2109"/>
                <a:gd name="T15" fmla="*/ 120 h 182"/>
                <a:gd name="T16" fmla="*/ 2090 w 2109"/>
                <a:gd name="T17" fmla="*/ 144 h 182"/>
                <a:gd name="T18" fmla="*/ 2071 w 2109"/>
                <a:gd name="T19" fmla="*/ 165 h 182"/>
                <a:gd name="T20" fmla="*/ 2044 w 2109"/>
                <a:gd name="T21" fmla="*/ 178 h 182"/>
                <a:gd name="T22" fmla="*/ 2016 w 2109"/>
                <a:gd name="T23" fmla="*/ 182 h 182"/>
                <a:gd name="T24" fmla="*/ 91 w 2109"/>
                <a:gd name="T25" fmla="*/ 182 h 182"/>
                <a:gd name="T26" fmla="*/ 62 w 2109"/>
                <a:gd name="T27" fmla="*/ 178 h 182"/>
                <a:gd name="T28" fmla="*/ 36 w 2109"/>
                <a:gd name="T29" fmla="*/ 165 h 182"/>
                <a:gd name="T30" fmla="*/ 17 w 2109"/>
                <a:gd name="T31" fmla="*/ 144 h 182"/>
                <a:gd name="T32" fmla="*/ 4 w 2109"/>
                <a:gd name="T33" fmla="*/ 120 h 182"/>
                <a:gd name="T34" fmla="*/ 0 w 2109"/>
                <a:gd name="T35" fmla="*/ 91 h 182"/>
                <a:gd name="T36" fmla="*/ 4 w 2109"/>
                <a:gd name="T37" fmla="*/ 63 h 182"/>
                <a:gd name="T38" fmla="*/ 17 w 2109"/>
                <a:gd name="T39" fmla="*/ 36 h 182"/>
                <a:gd name="T40" fmla="*/ 36 w 2109"/>
                <a:gd name="T41" fmla="*/ 17 h 182"/>
                <a:gd name="T42" fmla="*/ 62 w 2109"/>
                <a:gd name="T43" fmla="*/ 4 h 182"/>
                <a:gd name="T44" fmla="*/ 91 w 2109"/>
                <a:gd name="T45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9" h="182">
                  <a:moveTo>
                    <a:pt x="91" y="0"/>
                  </a:moveTo>
                  <a:lnTo>
                    <a:pt x="2016" y="0"/>
                  </a:lnTo>
                  <a:lnTo>
                    <a:pt x="2044" y="4"/>
                  </a:lnTo>
                  <a:lnTo>
                    <a:pt x="2071" y="17"/>
                  </a:lnTo>
                  <a:lnTo>
                    <a:pt x="2090" y="36"/>
                  </a:lnTo>
                  <a:lnTo>
                    <a:pt x="2103" y="63"/>
                  </a:lnTo>
                  <a:lnTo>
                    <a:pt x="2109" y="91"/>
                  </a:lnTo>
                  <a:lnTo>
                    <a:pt x="2103" y="120"/>
                  </a:lnTo>
                  <a:lnTo>
                    <a:pt x="2090" y="144"/>
                  </a:lnTo>
                  <a:lnTo>
                    <a:pt x="2071" y="165"/>
                  </a:lnTo>
                  <a:lnTo>
                    <a:pt x="2044" y="178"/>
                  </a:lnTo>
                  <a:lnTo>
                    <a:pt x="2016" y="182"/>
                  </a:lnTo>
                  <a:lnTo>
                    <a:pt x="91" y="182"/>
                  </a:lnTo>
                  <a:lnTo>
                    <a:pt x="62" y="178"/>
                  </a:lnTo>
                  <a:lnTo>
                    <a:pt x="36" y="165"/>
                  </a:lnTo>
                  <a:lnTo>
                    <a:pt x="17" y="144"/>
                  </a:lnTo>
                  <a:lnTo>
                    <a:pt x="4" y="120"/>
                  </a:lnTo>
                  <a:lnTo>
                    <a:pt x="0" y="91"/>
                  </a:lnTo>
                  <a:lnTo>
                    <a:pt x="4" y="63"/>
                  </a:lnTo>
                  <a:lnTo>
                    <a:pt x="17" y="36"/>
                  </a:lnTo>
                  <a:lnTo>
                    <a:pt x="36" y="17"/>
                  </a:lnTo>
                  <a:lnTo>
                    <a:pt x="62" y="4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3"/>
            <p:cNvSpPr>
              <a:spLocks/>
            </p:cNvSpPr>
            <p:nvPr/>
          </p:nvSpPr>
          <p:spPr bwMode="auto">
            <a:xfrm>
              <a:off x="2333" y="1655"/>
              <a:ext cx="1054" cy="92"/>
            </a:xfrm>
            <a:custGeom>
              <a:avLst/>
              <a:gdLst>
                <a:gd name="T0" fmla="*/ 91 w 2108"/>
                <a:gd name="T1" fmla="*/ 0 h 184"/>
                <a:gd name="T2" fmla="*/ 2016 w 2108"/>
                <a:gd name="T3" fmla="*/ 0 h 184"/>
                <a:gd name="T4" fmla="*/ 2046 w 2108"/>
                <a:gd name="T5" fmla="*/ 6 h 184"/>
                <a:gd name="T6" fmla="*/ 2071 w 2108"/>
                <a:gd name="T7" fmla="*/ 19 h 184"/>
                <a:gd name="T8" fmla="*/ 2089 w 2108"/>
                <a:gd name="T9" fmla="*/ 38 h 184"/>
                <a:gd name="T10" fmla="*/ 2103 w 2108"/>
                <a:gd name="T11" fmla="*/ 63 h 184"/>
                <a:gd name="T12" fmla="*/ 2108 w 2108"/>
                <a:gd name="T13" fmla="*/ 93 h 184"/>
                <a:gd name="T14" fmla="*/ 2103 w 2108"/>
                <a:gd name="T15" fmla="*/ 122 h 184"/>
                <a:gd name="T16" fmla="*/ 2089 w 2108"/>
                <a:gd name="T17" fmla="*/ 146 h 184"/>
                <a:gd name="T18" fmla="*/ 2071 w 2108"/>
                <a:gd name="T19" fmla="*/ 167 h 184"/>
                <a:gd name="T20" fmla="*/ 2046 w 2108"/>
                <a:gd name="T21" fmla="*/ 178 h 184"/>
                <a:gd name="T22" fmla="*/ 2016 w 2108"/>
                <a:gd name="T23" fmla="*/ 184 h 184"/>
                <a:gd name="T24" fmla="*/ 91 w 2108"/>
                <a:gd name="T25" fmla="*/ 184 h 184"/>
                <a:gd name="T26" fmla="*/ 62 w 2108"/>
                <a:gd name="T27" fmla="*/ 178 h 184"/>
                <a:gd name="T28" fmla="*/ 36 w 2108"/>
                <a:gd name="T29" fmla="*/ 167 h 184"/>
                <a:gd name="T30" fmla="*/ 17 w 2108"/>
                <a:gd name="T31" fmla="*/ 146 h 184"/>
                <a:gd name="T32" fmla="*/ 4 w 2108"/>
                <a:gd name="T33" fmla="*/ 122 h 184"/>
                <a:gd name="T34" fmla="*/ 0 w 2108"/>
                <a:gd name="T35" fmla="*/ 93 h 184"/>
                <a:gd name="T36" fmla="*/ 4 w 2108"/>
                <a:gd name="T37" fmla="*/ 63 h 184"/>
                <a:gd name="T38" fmla="*/ 17 w 2108"/>
                <a:gd name="T39" fmla="*/ 38 h 184"/>
                <a:gd name="T40" fmla="*/ 36 w 2108"/>
                <a:gd name="T41" fmla="*/ 19 h 184"/>
                <a:gd name="T42" fmla="*/ 62 w 2108"/>
                <a:gd name="T43" fmla="*/ 6 h 184"/>
                <a:gd name="T44" fmla="*/ 91 w 2108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8" h="184">
                  <a:moveTo>
                    <a:pt x="91" y="0"/>
                  </a:moveTo>
                  <a:lnTo>
                    <a:pt x="2016" y="0"/>
                  </a:lnTo>
                  <a:lnTo>
                    <a:pt x="2046" y="6"/>
                  </a:lnTo>
                  <a:lnTo>
                    <a:pt x="2071" y="19"/>
                  </a:lnTo>
                  <a:lnTo>
                    <a:pt x="2089" y="38"/>
                  </a:lnTo>
                  <a:lnTo>
                    <a:pt x="2103" y="63"/>
                  </a:lnTo>
                  <a:lnTo>
                    <a:pt x="2108" y="93"/>
                  </a:lnTo>
                  <a:lnTo>
                    <a:pt x="2103" y="122"/>
                  </a:lnTo>
                  <a:lnTo>
                    <a:pt x="2089" y="146"/>
                  </a:lnTo>
                  <a:lnTo>
                    <a:pt x="2071" y="167"/>
                  </a:lnTo>
                  <a:lnTo>
                    <a:pt x="2046" y="178"/>
                  </a:lnTo>
                  <a:lnTo>
                    <a:pt x="2016" y="184"/>
                  </a:lnTo>
                  <a:lnTo>
                    <a:pt x="91" y="184"/>
                  </a:lnTo>
                  <a:lnTo>
                    <a:pt x="62" y="178"/>
                  </a:lnTo>
                  <a:lnTo>
                    <a:pt x="36" y="167"/>
                  </a:lnTo>
                  <a:lnTo>
                    <a:pt x="17" y="146"/>
                  </a:lnTo>
                  <a:lnTo>
                    <a:pt x="4" y="122"/>
                  </a:lnTo>
                  <a:lnTo>
                    <a:pt x="0" y="93"/>
                  </a:lnTo>
                  <a:lnTo>
                    <a:pt x="4" y="63"/>
                  </a:lnTo>
                  <a:lnTo>
                    <a:pt x="17" y="38"/>
                  </a:lnTo>
                  <a:lnTo>
                    <a:pt x="36" y="19"/>
                  </a:lnTo>
                  <a:lnTo>
                    <a:pt x="62" y="6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4"/>
            <p:cNvSpPr>
              <a:spLocks/>
            </p:cNvSpPr>
            <p:nvPr/>
          </p:nvSpPr>
          <p:spPr bwMode="auto">
            <a:xfrm>
              <a:off x="2637" y="2172"/>
              <a:ext cx="1054" cy="92"/>
            </a:xfrm>
            <a:custGeom>
              <a:avLst/>
              <a:gdLst>
                <a:gd name="T0" fmla="*/ 91 w 2109"/>
                <a:gd name="T1" fmla="*/ 0 h 184"/>
                <a:gd name="T2" fmla="*/ 2016 w 2109"/>
                <a:gd name="T3" fmla="*/ 0 h 184"/>
                <a:gd name="T4" fmla="*/ 2046 w 2109"/>
                <a:gd name="T5" fmla="*/ 5 h 184"/>
                <a:gd name="T6" fmla="*/ 2071 w 2109"/>
                <a:gd name="T7" fmla="*/ 17 h 184"/>
                <a:gd name="T8" fmla="*/ 2090 w 2109"/>
                <a:gd name="T9" fmla="*/ 38 h 184"/>
                <a:gd name="T10" fmla="*/ 2103 w 2109"/>
                <a:gd name="T11" fmla="*/ 62 h 184"/>
                <a:gd name="T12" fmla="*/ 2109 w 2109"/>
                <a:gd name="T13" fmla="*/ 91 h 184"/>
                <a:gd name="T14" fmla="*/ 2103 w 2109"/>
                <a:gd name="T15" fmla="*/ 121 h 184"/>
                <a:gd name="T16" fmla="*/ 2090 w 2109"/>
                <a:gd name="T17" fmla="*/ 146 h 184"/>
                <a:gd name="T18" fmla="*/ 2071 w 2109"/>
                <a:gd name="T19" fmla="*/ 165 h 184"/>
                <a:gd name="T20" fmla="*/ 2046 w 2109"/>
                <a:gd name="T21" fmla="*/ 178 h 184"/>
                <a:gd name="T22" fmla="*/ 2016 w 2109"/>
                <a:gd name="T23" fmla="*/ 184 h 184"/>
                <a:gd name="T24" fmla="*/ 91 w 2109"/>
                <a:gd name="T25" fmla="*/ 184 h 184"/>
                <a:gd name="T26" fmla="*/ 62 w 2109"/>
                <a:gd name="T27" fmla="*/ 178 h 184"/>
                <a:gd name="T28" fmla="*/ 38 w 2109"/>
                <a:gd name="T29" fmla="*/ 165 h 184"/>
                <a:gd name="T30" fmla="*/ 17 w 2109"/>
                <a:gd name="T31" fmla="*/ 146 h 184"/>
                <a:gd name="T32" fmla="*/ 4 w 2109"/>
                <a:gd name="T33" fmla="*/ 121 h 184"/>
                <a:gd name="T34" fmla="*/ 0 w 2109"/>
                <a:gd name="T35" fmla="*/ 91 h 184"/>
                <a:gd name="T36" fmla="*/ 4 w 2109"/>
                <a:gd name="T37" fmla="*/ 62 h 184"/>
                <a:gd name="T38" fmla="*/ 17 w 2109"/>
                <a:gd name="T39" fmla="*/ 38 h 184"/>
                <a:gd name="T40" fmla="*/ 38 w 2109"/>
                <a:gd name="T41" fmla="*/ 17 h 184"/>
                <a:gd name="T42" fmla="*/ 62 w 2109"/>
                <a:gd name="T43" fmla="*/ 5 h 184"/>
                <a:gd name="T44" fmla="*/ 91 w 2109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9" h="184">
                  <a:moveTo>
                    <a:pt x="91" y="0"/>
                  </a:moveTo>
                  <a:lnTo>
                    <a:pt x="2016" y="0"/>
                  </a:lnTo>
                  <a:lnTo>
                    <a:pt x="2046" y="5"/>
                  </a:lnTo>
                  <a:lnTo>
                    <a:pt x="2071" y="17"/>
                  </a:lnTo>
                  <a:lnTo>
                    <a:pt x="2090" y="38"/>
                  </a:lnTo>
                  <a:lnTo>
                    <a:pt x="2103" y="62"/>
                  </a:lnTo>
                  <a:lnTo>
                    <a:pt x="2109" y="91"/>
                  </a:lnTo>
                  <a:lnTo>
                    <a:pt x="2103" y="121"/>
                  </a:lnTo>
                  <a:lnTo>
                    <a:pt x="2090" y="146"/>
                  </a:lnTo>
                  <a:lnTo>
                    <a:pt x="2071" y="165"/>
                  </a:lnTo>
                  <a:lnTo>
                    <a:pt x="2046" y="178"/>
                  </a:lnTo>
                  <a:lnTo>
                    <a:pt x="2016" y="184"/>
                  </a:lnTo>
                  <a:lnTo>
                    <a:pt x="91" y="184"/>
                  </a:lnTo>
                  <a:lnTo>
                    <a:pt x="62" y="178"/>
                  </a:lnTo>
                  <a:lnTo>
                    <a:pt x="38" y="165"/>
                  </a:lnTo>
                  <a:lnTo>
                    <a:pt x="17" y="146"/>
                  </a:lnTo>
                  <a:lnTo>
                    <a:pt x="4" y="121"/>
                  </a:lnTo>
                  <a:lnTo>
                    <a:pt x="0" y="91"/>
                  </a:lnTo>
                  <a:lnTo>
                    <a:pt x="4" y="62"/>
                  </a:lnTo>
                  <a:lnTo>
                    <a:pt x="17" y="38"/>
                  </a:lnTo>
                  <a:lnTo>
                    <a:pt x="38" y="17"/>
                  </a:lnTo>
                  <a:lnTo>
                    <a:pt x="62" y="5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5"/>
            <p:cNvSpPr>
              <a:spLocks/>
            </p:cNvSpPr>
            <p:nvPr/>
          </p:nvSpPr>
          <p:spPr bwMode="auto">
            <a:xfrm>
              <a:off x="2277" y="2751"/>
              <a:ext cx="957" cy="92"/>
            </a:xfrm>
            <a:custGeom>
              <a:avLst/>
              <a:gdLst>
                <a:gd name="T0" fmla="*/ 91 w 1913"/>
                <a:gd name="T1" fmla="*/ 0 h 184"/>
                <a:gd name="T2" fmla="*/ 1821 w 1913"/>
                <a:gd name="T3" fmla="*/ 0 h 184"/>
                <a:gd name="T4" fmla="*/ 1851 w 1913"/>
                <a:gd name="T5" fmla="*/ 6 h 184"/>
                <a:gd name="T6" fmla="*/ 1876 w 1913"/>
                <a:gd name="T7" fmla="*/ 19 h 184"/>
                <a:gd name="T8" fmla="*/ 1895 w 1913"/>
                <a:gd name="T9" fmla="*/ 38 h 184"/>
                <a:gd name="T10" fmla="*/ 1908 w 1913"/>
                <a:gd name="T11" fmla="*/ 63 h 184"/>
                <a:gd name="T12" fmla="*/ 1913 w 1913"/>
                <a:gd name="T13" fmla="*/ 93 h 184"/>
                <a:gd name="T14" fmla="*/ 1908 w 1913"/>
                <a:gd name="T15" fmla="*/ 122 h 184"/>
                <a:gd name="T16" fmla="*/ 1895 w 1913"/>
                <a:gd name="T17" fmla="*/ 146 h 184"/>
                <a:gd name="T18" fmla="*/ 1876 w 1913"/>
                <a:gd name="T19" fmla="*/ 167 h 184"/>
                <a:gd name="T20" fmla="*/ 1851 w 1913"/>
                <a:gd name="T21" fmla="*/ 181 h 184"/>
                <a:gd name="T22" fmla="*/ 1821 w 1913"/>
                <a:gd name="T23" fmla="*/ 184 h 184"/>
                <a:gd name="T24" fmla="*/ 91 w 1913"/>
                <a:gd name="T25" fmla="*/ 184 h 184"/>
                <a:gd name="T26" fmla="*/ 63 w 1913"/>
                <a:gd name="T27" fmla="*/ 181 h 184"/>
                <a:gd name="T28" fmla="*/ 38 w 1913"/>
                <a:gd name="T29" fmla="*/ 167 h 184"/>
                <a:gd name="T30" fmla="*/ 17 w 1913"/>
                <a:gd name="T31" fmla="*/ 146 h 184"/>
                <a:gd name="T32" fmla="*/ 4 w 1913"/>
                <a:gd name="T33" fmla="*/ 122 h 184"/>
                <a:gd name="T34" fmla="*/ 0 w 1913"/>
                <a:gd name="T35" fmla="*/ 93 h 184"/>
                <a:gd name="T36" fmla="*/ 4 w 1913"/>
                <a:gd name="T37" fmla="*/ 63 h 184"/>
                <a:gd name="T38" fmla="*/ 17 w 1913"/>
                <a:gd name="T39" fmla="*/ 38 h 184"/>
                <a:gd name="T40" fmla="*/ 38 w 1913"/>
                <a:gd name="T41" fmla="*/ 19 h 184"/>
                <a:gd name="T42" fmla="*/ 63 w 1913"/>
                <a:gd name="T43" fmla="*/ 6 h 184"/>
                <a:gd name="T44" fmla="*/ 91 w 1913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13" h="184">
                  <a:moveTo>
                    <a:pt x="91" y="0"/>
                  </a:moveTo>
                  <a:lnTo>
                    <a:pt x="1821" y="0"/>
                  </a:lnTo>
                  <a:lnTo>
                    <a:pt x="1851" y="6"/>
                  </a:lnTo>
                  <a:lnTo>
                    <a:pt x="1876" y="19"/>
                  </a:lnTo>
                  <a:lnTo>
                    <a:pt x="1895" y="38"/>
                  </a:lnTo>
                  <a:lnTo>
                    <a:pt x="1908" y="63"/>
                  </a:lnTo>
                  <a:lnTo>
                    <a:pt x="1913" y="93"/>
                  </a:lnTo>
                  <a:lnTo>
                    <a:pt x="1908" y="122"/>
                  </a:lnTo>
                  <a:lnTo>
                    <a:pt x="1895" y="146"/>
                  </a:lnTo>
                  <a:lnTo>
                    <a:pt x="1876" y="167"/>
                  </a:lnTo>
                  <a:lnTo>
                    <a:pt x="1851" y="181"/>
                  </a:lnTo>
                  <a:lnTo>
                    <a:pt x="1821" y="184"/>
                  </a:lnTo>
                  <a:lnTo>
                    <a:pt x="91" y="184"/>
                  </a:lnTo>
                  <a:lnTo>
                    <a:pt x="63" y="181"/>
                  </a:lnTo>
                  <a:lnTo>
                    <a:pt x="38" y="167"/>
                  </a:lnTo>
                  <a:lnTo>
                    <a:pt x="17" y="146"/>
                  </a:lnTo>
                  <a:lnTo>
                    <a:pt x="4" y="122"/>
                  </a:lnTo>
                  <a:lnTo>
                    <a:pt x="0" y="93"/>
                  </a:lnTo>
                  <a:lnTo>
                    <a:pt x="4" y="63"/>
                  </a:lnTo>
                  <a:lnTo>
                    <a:pt x="17" y="38"/>
                  </a:lnTo>
                  <a:lnTo>
                    <a:pt x="38" y="19"/>
                  </a:lnTo>
                  <a:lnTo>
                    <a:pt x="63" y="6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6"/>
            <p:cNvSpPr>
              <a:spLocks/>
            </p:cNvSpPr>
            <p:nvPr/>
          </p:nvSpPr>
          <p:spPr bwMode="auto">
            <a:xfrm>
              <a:off x="4494" y="1085"/>
              <a:ext cx="500" cy="500"/>
            </a:xfrm>
            <a:custGeom>
              <a:avLst/>
              <a:gdLst>
                <a:gd name="T0" fmla="*/ 500 w 1001"/>
                <a:gd name="T1" fmla="*/ 0 h 1002"/>
                <a:gd name="T2" fmla="*/ 500 w 1001"/>
                <a:gd name="T3" fmla="*/ 0 h 1002"/>
                <a:gd name="T4" fmla="*/ 574 w 1001"/>
                <a:gd name="T5" fmla="*/ 6 h 1002"/>
                <a:gd name="T6" fmla="*/ 646 w 1001"/>
                <a:gd name="T7" fmla="*/ 21 h 1002"/>
                <a:gd name="T8" fmla="*/ 713 w 1001"/>
                <a:gd name="T9" fmla="*/ 48 h 1002"/>
                <a:gd name="T10" fmla="*/ 773 w 1001"/>
                <a:gd name="T11" fmla="*/ 82 h 1002"/>
                <a:gd name="T12" fmla="*/ 830 w 1001"/>
                <a:gd name="T13" fmla="*/ 124 h 1002"/>
                <a:gd name="T14" fmla="*/ 879 w 1001"/>
                <a:gd name="T15" fmla="*/ 173 h 1002"/>
                <a:gd name="T16" fmla="*/ 921 w 1001"/>
                <a:gd name="T17" fmla="*/ 228 h 1002"/>
                <a:gd name="T18" fmla="*/ 955 w 1001"/>
                <a:gd name="T19" fmla="*/ 291 h 1002"/>
                <a:gd name="T20" fmla="*/ 980 w 1001"/>
                <a:gd name="T21" fmla="*/ 357 h 1002"/>
                <a:gd name="T22" fmla="*/ 997 w 1001"/>
                <a:gd name="T23" fmla="*/ 427 h 1002"/>
                <a:gd name="T24" fmla="*/ 1001 w 1001"/>
                <a:gd name="T25" fmla="*/ 501 h 1002"/>
                <a:gd name="T26" fmla="*/ 997 w 1001"/>
                <a:gd name="T27" fmla="*/ 575 h 1002"/>
                <a:gd name="T28" fmla="*/ 980 w 1001"/>
                <a:gd name="T29" fmla="*/ 647 h 1002"/>
                <a:gd name="T30" fmla="*/ 955 w 1001"/>
                <a:gd name="T31" fmla="*/ 714 h 1002"/>
                <a:gd name="T32" fmla="*/ 921 w 1001"/>
                <a:gd name="T33" fmla="*/ 774 h 1002"/>
                <a:gd name="T34" fmla="*/ 879 w 1001"/>
                <a:gd name="T35" fmla="*/ 831 h 1002"/>
                <a:gd name="T36" fmla="*/ 830 w 1001"/>
                <a:gd name="T37" fmla="*/ 880 h 1002"/>
                <a:gd name="T38" fmla="*/ 773 w 1001"/>
                <a:gd name="T39" fmla="*/ 922 h 1002"/>
                <a:gd name="T40" fmla="*/ 713 w 1001"/>
                <a:gd name="T41" fmla="*/ 956 h 1002"/>
                <a:gd name="T42" fmla="*/ 646 w 1001"/>
                <a:gd name="T43" fmla="*/ 981 h 1002"/>
                <a:gd name="T44" fmla="*/ 574 w 1001"/>
                <a:gd name="T45" fmla="*/ 996 h 1002"/>
                <a:gd name="T46" fmla="*/ 500 w 1001"/>
                <a:gd name="T47" fmla="*/ 1002 h 1002"/>
                <a:gd name="T48" fmla="*/ 427 w 1001"/>
                <a:gd name="T49" fmla="*/ 996 h 1002"/>
                <a:gd name="T50" fmla="*/ 356 w 1001"/>
                <a:gd name="T51" fmla="*/ 981 h 1002"/>
                <a:gd name="T52" fmla="*/ 290 w 1001"/>
                <a:gd name="T53" fmla="*/ 956 h 1002"/>
                <a:gd name="T54" fmla="*/ 229 w 1001"/>
                <a:gd name="T55" fmla="*/ 922 h 1002"/>
                <a:gd name="T56" fmla="*/ 173 w 1001"/>
                <a:gd name="T57" fmla="*/ 880 h 1002"/>
                <a:gd name="T58" fmla="*/ 123 w 1001"/>
                <a:gd name="T59" fmla="*/ 831 h 1002"/>
                <a:gd name="T60" fmla="*/ 82 w 1001"/>
                <a:gd name="T61" fmla="*/ 774 h 1002"/>
                <a:gd name="T62" fmla="*/ 48 w 1001"/>
                <a:gd name="T63" fmla="*/ 714 h 1002"/>
                <a:gd name="T64" fmla="*/ 21 w 1001"/>
                <a:gd name="T65" fmla="*/ 647 h 1002"/>
                <a:gd name="T66" fmla="*/ 6 w 1001"/>
                <a:gd name="T67" fmla="*/ 575 h 1002"/>
                <a:gd name="T68" fmla="*/ 0 w 1001"/>
                <a:gd name="T69" fmla="*/ 501 h 1002"/>
                <a:gd name="T70" fmla="*/ 6 w 1001"/>
                <a:gd name="T71" fmla="*/ 427 h 1002"/>
                <a:gd name="T72" fmla="*/ 21 w 1001"/>
                <a:gd name="T73" fmla="*/ 357 h 1002"/>
                <a:gd name="T74" fmla="*/ 48 w 1001"/>
                <a:gd name="T75" fmla="*/ 291 h 1002"/>
                <a:gd name="T76" fmla="*/ 82 w 1001"/>
                <a:gd name="T77" fmla="*/ 228 h 1002"/>
                <a:gd name="T78" fmla="*/ 123 w 1001"/>
                <a:gd name="T79" fmla="*/ 173 h 1002"/>
                <a:gd name="T80" fmla="*/ 173 w 1001"/>
                <a:gd name="T81" fmla="*/ 124 h 1002"/>
                <a:gd name="T82" fmla="*/ 229 w 1001"/>
                <a:gd name="T83" fmla="*/ 82 h 1002"/>
                <a:gd name="T84" fmla="*/ 290 w 1001"/>
                <a:gd name="T85" fmla="*/ 48 h 1002"/>
                <a:gd name="T86" fmla="*/ 356 w 1001"/>
                <a:gd name="T87" fmla="*/ 21 h 1002"/>
                <a:gd name="T88" fmla="*/ 427 w 1001"/>
                <a:gd name="T89" fmla="*/ 6 h 1002"/>
                <a:gd name="T90" fmla="*/ 500 w 1001"/>
                <a:gd name="T91" fmla="*/ 0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01" h="1002">
                  <a:moveTo>
                    <a:pt x="500" y="0"/>
                  </a:moveTo>
                  <a:lnTo>
                    <a:pt x="500" y="0"/>
                  </a:lnTo>
                  <a:lnTo>
                    <a:pt x="574" y="6"/>
                  </a:lnTo>
                  <a:lnTo>
                    <a:pt x="646" y="21"/>
                  </a:lnTo>
                  <a:lnTo>
                    <a:pt x="713" y="48"/>
                  </a:lnTo>
                  <a:lnTo>
                    <a:pt x="773" y="82"/>
                  </a:lnTo>
                  <a:lnTo>
                    <a:pt x="830" y="124"/>
                  </a:lnTo>
                  <a:lnTo>
                    <a:pt x="879" y="173"/>
                  </a:lnTo>
                  <a:lnTo>
                    <a:pt x="921" y="228"/>
                  </a:lnTo>
                  <a:lnTo>
                    <a:pt x="955" y="291"/>
                  </a:lnTo>
                  <a:lnTo>
                    <a:pt x="980" y="357"/>
                  </a:lnTo>
                  <a:lnTo>
                    <a:pt x="997" y="427"/>
                  </a:lnTo>
                  <a:lnTo>
                    <a:pt x="1001" y="501"/>
                  </a:lnTo>
                  <a:lnTo>
                    <a:pt x="997" y="575"/>
                  </a:lnTo>
                  <a:lnTo>
                    <a:pt x="980" y="647"/>
                  </a:lnTo>
                  <a:lnTo>
                    <a:pt x="955" y="714"/>
                  </a:lnTo>
                  <a:lnTo>
                    <a:pt x="921" y="774"/>
                  </a:lnTo>
                  <a:lnTo>
                    <a:pt x="879" y="831"/>
                  </a:lnTo>
                  <a:lnTo>
                    <a:pt x="830" y="880"/>
                  </a:lnTo>
                  <a:lnTo>
                    <a:pt x="773" y="922"/>
                  </a:lnTo>
                  <a:lnTo>
                    <a:pt x="713" y="956"/>
                  </a:lnTo>
                  <a:lnTo>
                    <a:pt x="646" y="981"/>
                  </a:lnTo>
                  <a:lnTo>
                    <a:pt x="574" y="996"/>
                  </a:lnTo>
                  <a:lnTo>
                    <a:pt x="500" y="1002"/>
                  </a:lnTo>
                  <a:lnTo>
                    <a:pt x="427" y="996"/>
                  </a:lnTo>
                  <a:lnTo>
                    <a:pt x="356" y="981"/>
                  </a:lnTo>
                  <a:lnTo>
                    <a:pt x="290" y="956"/>
                  </a:lnTo>
                  <a:lnTo>
                    <a:pt x="229" y="922"/>
                  </a:lnTo>
                  <a:lnTo>
                    <a:pt x="173" y="880"/>
                  </a:lnTo>
                  <a:lnTo>
                    <a:pt x="123" y="831"/>
                  </a:lnTo>
                  <a:lnTo>
                    <a:pt x="82" y="774"/>
                  </a:lnTo>
                  <a:lnTo>
                    <a:pt x="48" y="714"/>
                  </a:lnTo>
                  <a:lnTo>
                    <a:pt x="21" y="647"/>
                  </a:lnTo>
                  <a:lnTo>
                    <a:pt x="6" y="575"/>
                  </a:lnTo>
                  <a:lnTo>
                    <a:pt x="0" y="501"/>
                  </a:lnTo>
                  <a:lnTo>
                    <a:pt x="6" y="427"/>
                  </a:lnTo>
                  <a:lnTo>
                    <a:pt x="21" y="357"/>
                  </a:lnTo>
                  <a:lnTo>
                    <a:pt x="48" y="291"/>
                  </a:lnTo>
                  <a:lnTo>
                    <a:pt x="82" y="228"/>
                  </a:lnTo>
                  <a:lnTo>
                    <a:pt x="123" y="173"/>
                  </a:lnTo>
                  <a:lnTo>
                    <a:pt x="173" y="124"/>
                  </a:lnTo>
                  <a:lnTo>
                    <a:pt x="229" y="82"/>
                  </a:lnTo>
                  <a:lnTo>
                    <a:pt x="290" y="48"/>
                  </a:lnTo>
                  <a:lnTo>
                    <a:pt x="356" y="21"/>
                  </a:lnTo>
                  <a:lnTo>
                    <a:pt x="427" y="6"/>
                  </a:lnTo>
                  <a:lnTo>
                    <a:pt x="5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7"/>
            <p:cNvSpPr>
              <a:spLocks/>
            </p:cNvSpPr>
            <p:nvPr/>
          </p:nvSpPr>
          <p:spPr bwMode="auto">
            <a:xfrm>
              <a:off x="3272" y="1455"/>
              <a:ext cx="2125" cy="1777"/>
            </a:xfrm>
            <a:custGeom>
              <a:avLst/>
              <a:gdLst>
                <a:gd name="T0" fmla="*/ 2151 w 4252"/>
                <a:gd name="T1" fmla="*/ 59 h 3554"/>
                <a:gd name="T2" fmla="*/ 2516 w 4252"/>
                <a:gd name="T3" fmla="*/ 226 h 3554"/>
                <a:gd name="T4" fmla="*/ 2620 w 4252"/>
                <a:gd name="T5" fmla="*/ 284 h 3554"/>
                <a:gd name="T6" fmla="*/ 2770 w 4252"/>
                <a:gd name="T7" fmla="*/ 368 h 3554"/>
                <a:gd name="T8" fmla="*/ 3111 w 4252"/>
                <a:gd name="T9" fmla="*/ 468 h 3554"/>
                <a:gd name="T10" fmla="*/ 3426 w 4252"/>
                <a:gd name="T11" fmla="*/ 415 h 3554"/>
                <a:gd name="T12" fmla="*/ 3706 w 4252"/>
                <a:gd name="T13" fmla="*/ 197 h 3554"/>
                <a:gd name="T14" fmla="*/ 3878 w 4252"/>
                <a:gd name="T15" fmla="*/ 25 h 3554"/>
                <a:gd name="T16" fmla="*/ 4049 w 4252"/>
                <a:gd name="T17" fmla="*/ 13 h 3554"/>
                <a:gd name="T18" fmla="*/ 4193 w 4252"/>
                <a:gd name="T19" fmla="*/ 97 h 3554"/>
                <a:gd name="T20" fmla="*/ 4252 w 4252"/>
                <a:gd name="T21" fmla="*/ 243 h 3554"/>
                <a:gd name="T22" fmla="*/ 4123 w 4252"/>
                <a:gd name="T23" fmla="*/ 476 h 3554"/>
                <a:gd name="T24" fmla="*/ 3761 w 4252"/>
                <a:gd name="T25" fmla="*/ 798 h 3554"/>
                <a:gd name="T26" fmla="*/ 3346 w 4252"/>
                <a:gd name="T27" fmla="*/ 956 h 3554"/>
                <a:gd name="T28" fmla="*/ 2897 w 4252"/>
                <a:gd name="T29" fmla="*/ 944 h 3554"/>
                <a:gd name="T30" fmla="*/ 2296 w 4252"/>
                <a:gd name="T31" fmla="*/ 1805 h 3554"/>
                <a:gd name="T32" fmla="*/ 2579 w 4252"/>
                <a:gd name="T33" fmla="*/ 1976 h 3554"/>
                <a:gd name="T34" fmla="*/ 2836 w 4252"/>
                <a:gd name="T35" fmla="*/ 2164 h 3554"/>
                <a:gd name="T36" fmla="*/ 3011 w 4252"/>
                <a:gd name="T37" fmla="*/ 2321 h 3554"/>
                <a:gd name="T38" fmla="*/ 3174 w 4252"/>
                <a:gd name="T39" fmla="*/ 2589 h 3554"/>
                <a:gd name="T40" fmla="*/ 3329 w 4252"/>
                <a:gd name="T41" fmla="*/ 2913 h 3554"/>
                <a:gd name="T42" fmla="*/ 3462 w 4252"/>
                <a:gd name="T43" fmla="*/ 3199 h 3554"/>
                <a:gd name="T44" fmla="*/ 3481 w 4252"/>
                <a:gd name="T45" fmla="*/ 3370 h 3554"/>
                <a:gd name="T46" fmla="*/ 3392 w 4252"/>
                <a:gd name="T47" fmla="*/ 3495 h 3554"/>
                <a:gd name="T48" fmla="*/ 3244 w 4252"/>
                <a:gd name="T49" fmla="*/ 3552 h 3554"/>
                <a:gd name="T50" fmla="*/ 3092 w 4252"/>
                <a:gd name="T51" fmla="*/ 3516 h 3554"/>
                <a:gd name="T52" fmla="*/ 2978 w 4252"/>
                <a:gd name="T53" fmla="*/ 3358 h 3554"/>
                <a:gd name="T54" fmla="*/ 2857 w 4252"/>
                <a:gd name="T55" fmla="*/ 3091 h 3554"/>
                <a:gd name="T56" fmla="*/ 2723 w 4252"/>
                <a:gd name="T57" fmla="*/ 2818 h 3554"/>
                <a:gd name="T58" fmla="*/ 2601 w 4252"/>
                <a:gd name="T59" fmla="*/ 2623 h 3554"/>
                <a:gd name="T60" fmla="*/ 2471 w 4252"/>
                <a:gd name="T61" fmla="*/ 2516 h 3554"/>
                <a:gd name="T62" fmla="*/ 2253 w 4252"/>
                <a:gd name="T63" fmla="*/ 2369 h 3554"/>
                <a:gd name="T64" fmla="*/ 1993 w 4252"/>
                <a:gd name="T65" fmla="*/ 2221 h 3554"/>
                <a:gd name="T66" fmla="*/ 1760 w 4252"/>
                <a:gd name="T67" fmla="*/ 2118 h 3554"/>
                <a:gd name="T68" fmla="*/ 1463 w 4252"/>
                <a:gd name="T69" fmla="*/ 2391 h 3554"/>
                <a:gd name="T70" fmla="*/ 1086 w 4252"/>
                <a:gd name="T71" fmla="*/ 2558 h 3554"/>
                <a:gd name="T72" fmla="*/ 667 w 4252"/>
                <a:gd name="T73" fmla="*/ 2600 h 3554"/>
                <a:gd name="T74" fmla="*/ 239 w 4252"/>
                <a:gd name="T75" fmla="*/ 2488 h 3554"/>
                <a:gd name="T76" fmla="*/ 31 w 4252"/>
                <a:gd name="T77" fmla="*/ 2331 h 3554"/>
                <a:gd name="T78" fmla="*/ 4 w 4252"/>
                <a:gd name="T79" fmla="*/ 2169 h 3554"/>
                <a:gd name="T80" fmla="*/ 82 w 4252"/>
                <a:gd name="T81" fmla="*/ 2025 h 3554"/>
                <a:gd name="T82" fmla="*/ 230 w 4252"/>
                <a:gd name="T83" fmla="*/ 1948 h 3554"/>
                <a:gd name="T84" fmla="*/ 415 w 4252"/>
                <a:gd name="T85" fmla="*/ 1987 h 3554"/>
                <a:gd name="T86" fmla="*/ 737 w 4252"/>
                <a:gd name="T87" fmla="*/ 2077 h 3554"/>
                <a:gd name="T88" fmla="*/ 1040 w 4252"/>
                <a:gd name="T89" fmla="*/ 1997 h 3554"/>
                <a:gd name="T90" fmla="*/ 1300 w 4252"/>
                <a:gd name="T91" fmla="*/ 1794 h 3554"/>
                <a:gd name="T92" fmla="*/ 1495 w 4252"/>
                <a:gd name="T93" fmla="*/ 1515 h 3554"/>
                <a:gd name="T94" fmla="*/ 1736 w 4252"/>
                <a:gd name="T95" fmla="*/ 1037 h 3554"/>
                <a:gd name="T96" fmla="*/ 1950 w 4252"/>
                <a:gd name="T97" fmla="*/ 639 h 3554"/>
                <a:gd name="T98" fmla="*/ 1749 w 4252"/>
                <a:gd name="T99" fmla="*/ 504 h 3554"/>
                <a:gd name="T100" fmla="*/ 1434 w 4252"/>
                <a:gd name="T101" fmla="*/ 595 h 3554"/>
                <a:gd name="T102" fmla="*/ 1160 w 4252"/>
                <a:gd name="T103" fmla="*/ 857 h 3554"/>
                <a:gd name="T104" fmla="*/ 1008 w 4252"/>
                <a:gd name="T105" fmla="*/ 961 h 3554"/>
                <a:gd name="T106" fmla="*/ 840 w 4252"/>
                <a:gd name="T107" fmla="*/ 946 h 3554"/>
                <a:gd name="T108" fmla="*/ 711 w 4252"/>
                <a:gd name="T109" fmla="*/ 846 h 3554"/>
                <a:gd name="T110" fmla="*/ 682 w 4252"/>
                <a:gd name="T111" fmla="*/ 690 h 3554"/>
                <a:gd name="T112" fmla="*/ 891 w 4252"/>
                <a:gd name="T113" fmla="*/ 402 h 3554"/>
                <a:gd name="T114" fmla="*/ 1270 w 4252"/>
                <a:gd name="T115" fmla="*/ 119 h 3554"/>
                <a:gd name="T116" fmla="*/ 1694 w 4252"/>
                <a:gd name="T117" fmla="*/ 4 h 3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52" h="3554">
                  <a:moveTo>
                    <a:pt x="1806" y="0"/>
                  </a:moveTo>
                  <a:lnTo>
                    <a:pt x="1919" y="9"/>
                  </a:lnTo>
                  <a:lnTo>
                    <a:pt x="2035" y="28"/>
                  </a:lnTo>
                  <a:lnTo>
                    <a:pt x="2151" y="59"/>
                  </a:lnTo>
                  <a:lnTo>
                    <a:pt x="2266" y="100"/>
                  </a:lnTo>
                  <a:lnTo>
                    <a:pt x="2384" y="154"/>
                  </a:lnTo>
                  <a:lnTo>
                    <a:pt x="2501" y="218"/>
                  </a:lnTo>
                  <a:lnTo>
                    <a:pt x="2516" y="226"/>
                  </a:lnTo>
                  <a:lnTo>
                    <a:pt x="2537" y="239"/>
                  </a:lnTo>
                  <a:lnTo>
                    <a:pt x="2564" y="252"/>
                  </a:lnTo>
                  <a:lnTo>
                    <a:pt x="2592" y="269"/>
                  </a:lnTo>
                  <a:lnTo>
                    <a:pt x="2620" y="284"/>
                  </a:lnTo>
                  <a:lnTo>
                    <a:pt x="2645" y="300"/>
                  </a:lnTo>
                  <a:lnTo>
                    <a:pt x="2668" y="311"/>
                  </a:lnTo>
                  <a:lnTo>
                    <a:pt x="2683" y="320"/>
                  </a:lnTo>
                  <a:lnTo>
                    <a:pt x="2770" y="368"/>
                  </a:lnTo>
                  <a:lnTo>
                    <a:pt x="2857" y="408"/>
                  </a:lnTo>
                  <a:lnTo>
                    <a:pt x="2944" y="436"/>
                  </a:lnTo>
                  <a:lnTo>
                    <a:pt x="3028" y="457"/>
                  </a:lnTo>
                  <a:lnTo>
                    <a:pt x="3111" y="468"/>
                  </a:lnTo>
                  <a:lnTo>
                    <a:pt x="3193" y="470"/>
                  </a:lnTo>
                  <a:lnTo>
                    <a:pt x="3272" y="461"/>
                  </a:lnTo>
                  <a:lnTo>
                    <a:pt x="3350" y="444"/>
                  </a:lnTo>
                  <a:lnTo>
                    <a:pt x="3426" y="415"/>
                  </a:lnTo>
                  <a:lnTo>
                    <a:pt x="3499" y="375"/>
                  </a:lnTo>
                  <a:lnTo>
                    <a:pt x="3571" y="326"/>
                  </a:lnTo>
                  <a:lnTo>
                    <a:pt x="3640" y="267"/>
                  </a:lnTo>
                  <a:lnTo>
                    <a:pt x="3706" y="197"/>
                  </a:lnTo>
                  <a:lnTo>
                    <a:pt x="3769" y="116"/>
                  </a:lnTo>
                  <a:lnTo>
                    <a:pt x="3801" y="78"/>
                  </a:lnTo>
                  <a:lnTo>
                    <a:pt x="3839" y="47"/>
                  </a:lnTo>
                  <a:lnTo>
                    <a:pt x="3878" y="25"/>
                  </a:lnTo>
                  <a:lnTo>
                    <a:pt x="3920" y="11"/>
                  </a:lnTo>
                  <a:lnTo>
                    <a:pt x="3964" y="6"/>
                  </a:lnTo>
                  <a:lnTo>
                    <a:pt x="4007" y="6"/>
                  </a:lnTo>
                  <a:lnTo>
                    <a:pt x="4049" y="13"/>
                  </a:lnTo>
                  <a:lnTo>
                    <a:pt x="4091" y="27"/>
                  </a:lnTo>
                  <a:lnTo>
                    <a:pt x="4128" y="45"/>
                  </a:lnTo>
                  <a:lnTo>
                    <a:pt x="4163" y="68"/>
                  </a:lnTo>
                  <a:lnTo>
                    <a:pt x="4193" y="97"/>
                  </a:lnTo>
                  <a:lnTo>
                    <a:pt x="4218" y="129"/>
                  </a:lnTo>
                  <a:lnTo>
                    <a:pt x="4236" y="163"/>
                  </a:lnTo>
                  <a:lnTo>
                    <a:pt x="4248" y="201"/>
                  </a:lnTo>
                  <a:lnTo>
                    <a:pt x="4252" y="243"/>
                  </a:lnTo>
                  <a:lnTo>
                    <a:pt x="4246" y="284"/>
                  </a:lnTo>
                  <a:lnTo>
                    <a:pt x="4231" y="328"/>
                  </a:lnTo>
                  <a:lnTo>
                    <a:pt x="4204" y="372"/>
                  </a:lnTo>
                  <a:lnTo>
                    <a:pt x="4123" y="476"/>
                  </a:lnTo>
                  <a:lnTo>
                    <a:pt x="4039" y="573"/>
                  </a:lnTo>
                  <a:lnTo>
                    <a:pt x="3950" y="658"/>
                  </a:lnTo>
                  <a:lnTo>
                    <a:pt x="3858" y="732"/>
                  </a:lnTo>
                  <a:lnTo>
                    <a:pt x="3761" y="798"/>
                  </a:lnTo>
                  <a:lnTo>
                    <a:pt x="3661" y="853"/>
                  </a:lnTo>
                  <a:lnTo>
                    <a:pt x="3558" y="899"/>
                  </a:lnTo>
                  <a:lnTo>
                    <a:pt x="3454" y="933"/>
                  </a:lnTo>
                  <a:lnTo>
                    <a:pt x="3346" y="956"/>
                  </a:lnTo>
                  <a:lnTo>
                    <a:pt x="3236" y="969"/>
                  </a:lnTo>
                  <a:lnTo>
                    <a:pt x="3124" y="973"/>
                  </a:lnTo>
                  <a:lnTo>
                    <a:pt x="3013" y="963"/>
                  </a:lnTo>
                  <a:lnTo>
                    <a:pt x="2897" y="944"/>
                  </a:lnTo>
                  <a:lnTo>
                    <a:pt x="2781" y="914"/>
                  </a:lnTo>
                  <a:lnTo>
                    <a:pt x="2615" y="1208"/>
                  </a:lnTo>
                  <a:lnTo>
                    <a:pt x="2452" y="1506"/>
                  </a:lnTo>
                  <a:lnTo>
                    <a:pt x="2296" y="1805"/>
                  </a:lnTo>
                  <a:lnTo>
                    <a:pt x="2365" y="1841"/>
                  </a:lnTo>
                  <a:lnTo>
                    <a:pt x="2437" y="1885"/>
                  </a:lnTo>
                  <a:lnTo>
                    <a:pt x="2509" y="1929"/>
                  </a:lnTo>
                  <a:lnTo>
                    <a:pt x="2579" y="1976"/>
                  </a:lnTo>
                  <a:lnTo>
                    <a:pt x="2649" y="2023"/>
                  </a:lnTo>
                  <a:lnTo>
                    <a:pt x="2715" y="2073"/>
                  </a:lnTo>
                  <a:lnTo>
                    <a:pt x="2778" y="2118"/>
                  </a:lnTo>
                  <a:lnTo>
                    <a:pt x="2836" y="2164"/>
                  </a:lnTo>
                  <a:lnTo>
                    <a:pt x="2888" y="2204"/>
                  </a:lnTo>
                  <a:lnTo>
                    <a:pt x="2933" y="2240"/>
                  </a:lnTo>
                  <a:lnTo>
                    <a:pt x="2971" y="2276"/>
                  </a:lnTo>
                  <a:lnTo>
                    <a:pt x="3011" y="2321"/>
                  </a:lnTo>
                  <a:lnTo>
                    <a:pt x="3050" y="2378"/>
                  </a:lnTo>
                  <a:lnTo>
                    <a:pt x="3090" y="2443"/>
                  </a:lnTo>
                  <a:lnTo>
                    <a:pt x="3132" y="2513"/>
                  </a:lnTo>
                  <a:lnTo>
                    <a:pt x="3174" y="2589"/>
                  </a:lnTo>
                  <a:lnTo>
                    <a:pt x="3213" y="2668"/>
                  </a:lnTo>
                  <a:lnTo>
                    <a:pt x="3253" y="2750"/>
                  </a:lnTo>
                  <a:lnTo>
                    <a:pt x="3291" y="2831"/>
                  </a:lnTo>
                  <a:lnTo>
                    <a:pt x="3329" y="2913"/>
                  </a:lnTo>
                  <a:lnTo>
                    <a:pt x="3365" y="2992"/>
                  </a:lnTo>
                  <a:lnTo>
                    <a:pt x="3401" y="3066"/>
                  </a:lnTo>
                  <a:lnTo>
                    <a:pt x="3433" y="3137"/>
                  </a:lnTo>
                  <a:lnTo>
                    <a:pt x="3462" y="3199"/>
                  </a:lnTo>
                  <a:lnTo>
                    <a:pt x="3479" y="3245"/>
                  </a:lnTo>
                  <a:lnTo>
                    <a:pt x="3488" y="3288"/>
                  </a:lnTo>
                  <a:lnTo>
                    <a:pt x="3488" y="3330"/>
                  </a:lnTo>
                  <a:lnTo>
                    <a:pt x="3481" y="3370"/>
                  </a:lnTo>
                  <a:lnTo>
                    <a:pt x="3465" y="3406"/>
                  </a:lnTo>
                  <a:lnTo>
                    <a:pt x="3446" y="3440"/>
                  </a:lnTo>
                  <a:lnTo>
                    <a:pt x="3420" y="3470"/>
                  </a:lnTo>
                  <a:lnTo>
                    <a:pt x="3392" y="3495"/>
                  </a:lnTo>
                  <a:lnTo>
                    <a:pt x="3357" y="3518"/>
                  </a:lnTo>
                  <a:lnTo>
                    <a:pt x="3321" y="3535"/>
                  </a:lnTo>
                  <a:lnTo>
                    <a:pt x="3284" y="3546"/>
                  </a:lnTo>
                  <a:lnTo>
                    <a:pt x="3244" y="3552"/>
                  </a:lnTo>
                  <a:lnTo>
                    <a:pt x="3204" y="3554"/>
                  </a:lnTo>
                  <a:lnTo>
                    <a:pt x="3166" y="3548"/>
                  </a:lnTo>
                  <a:lnTo>
                    <a:pt x="3128" y="3535"/>
                  </a:lnTo>
                  <a:lnTo>
                    <a:pt x="3092" y="3516"/>
                  </a:lnTo>
                  <a:lnTo>
                    <a:pt x="3058" y="3489"/>
                  </a:lnTo>
                  <a:lnTo>
                    <a:pt x="3030" y="3455"/>
                  </a:lnTo>
                  <a:lnTo>
                    <a:pt x="3005" y="3413"/>
                  </a:lnTo>
                  <a:lnTo>
                    <a:pt x="2978" y="3358"/>
                  </a:lnTo>
                  <a:lnTo>
                    <a:pt x="2950" y="3298"/>
                  </a:lnTo>
                  <a:lnTo>
                    <a:pt x="2920" y="3231"/>
                  </a:lnTo>
                  <a:lnTo>
                    <a:pt x="2889" y="3163"/>
                  </a:lnTo>
                  <a:lnTo>
                    <a:pt x="2857" y="3091"/>
                  </a:lnTo>
                  <a:lnTo>
                    <a:pt x="2823" y="3021"/>
                  </a:lnTo>
                  <a:lnTo>
                    <a:pt x="2789" y="2951"/>
                  </a:lnTo>
                  <a:lnTo>
                    <a:pt x="2757" y="2883"/>
                  </a:lnTo>
                  <a:lnTo>
                    <a:pt x="2723" y="2818"/>
                  </a:lnTo>
                  <a:lnTo>
                    <a:pt x="2691" y="2757"/>
                  </a:lnTo>
                  <a:lnTo>
                    <a:pt x="2660" y="2704"/>
                  </a:lnTo>
                  <a:lnTo>
                    <a:pt x="2630" y="2659"/>
                  </a:lnTo>
                  <a:lnTo>
                    <a:pt x="2601" y="2623"/>
                  </a:lnTo>
                  <a:lnTo>
                    <a:pt x="2577" y="2596"/>
                  </a:lnTo>
                  <a:lnTo>
                    <a:pt x="2548" y="2573"/>
                  </a:lnTo>
                  <a:lnTo>
                    <a:pt x="2512" y="2547"/>
                  </a:lnTo>
                  <a:lnTo>
                    <a:pt x="2471" y="2516"/>
                  </a:lnTo>
                  <a:lnTo>
                    <a:pt x="2423" y="2482"/>
                  </a:lnTo>
                  <a:lnTo>
                    <a:pt x="2370" y="2446"/>
                  </a:lnTo>
                  <a:lnTo>
                    <a:pt x="2314" y="2408"/>
                  </a:lnTo>
                  <a:lnTo>
                    <a:pt x="2253" y="2369"/>
                  </a:lnTo>
                  <a:lnTo>
                    <a:pt x="2190" y="2331"/>
                  </a:lnTo>
                  <a:lnTo>
                    <a:pt x="2124" y="2291"/>
                  </a:lnTo>
                  <a:lnTo>
                    <a:pt x="2060" y="2255"/>
                  </a:lnTo>
                  <a:lnTo>
                    <a:pt x="1993" y="2221"/>
                  </a:lnTo>
                  <a:lnTo>
                    <a:pt x="1927" y="2188"/>
                  </a:lnTo>
                  <a:lnTo>
                    <a:pt x="1863" y="2160"/>
                  </a:lnTo>
                  <a:lnTo>
                    <a:pt x="1800" y="2135"/>
                  </a:lnTo>
                  <a:lnTo>
                    <a:pt x="1760" y="2118"/>
                  </a:lnTo>
                  <a:lnTo>
                    <a:pt x="1694" y="2196"/>
                  </a:lnTo>
                  <a:lnTo>
                    <a:pt x="1622" y="2266"/>
                  </a:lnTo>
                  <a:lnTo>
                    <a:pt x="1544" y="2331"/>
                  </a:lnTo>
                  <a:lnTo>
                    <a:pt x="1463" y="2391"/>
                  </a:lnTo>
                  <a:lnTo>
                    <a:pt x="1374" y="2443"/>
                  </a:lnTo>
                  <a:lnTo>
                    <a:pt x="1281" y="2490"/>
                  </a:lnTo>
                  <a:lnTo>
                    <a:pt x="1186" y="2528"/>
                  </a:lnTo>
                  <a:lnTo>
                    <a:pt x="1086" y="2558"/>
                  </a:lnTo>
                  <a:lnTo>
                    <a:pt x="984" y="2583"/>
                  </a:lnTo>
                  <a:lnTo>
                    <a:pt x="879" y="2596"/>
                  </a:lnTo>
                  <a:lnTo>
                    <a:pt x="775" y="2604"/>
                  </a:lnTo>
                  <a:lnTo>
                    <a:pt x="667" y="2600"/>
                  </a:lnTo>
                  <a:lnTo>
                    <a:pt x="559" y="2587"/>
                  </a:lnTo>
                  <a:lnTo>
                    <a:pt x="453" y="2564"/>
                  </a:lnTo>
                  <a:lnTo>
                    <a:pt x="345" y="2532"/>
                  </a:lnTo>
                  <a:lnTo>
                    <a:pt x="239" y="2488"/>
                  </a:lnTo>
                  <a:lnTo>
                    <a:pt x="135" y="2433"/>
                  </a:lnTo>
                  <a:lnTo>
                    <a:pt x="91" y="2403"/>
                  </a:lnTo>
                  <a:lnTo>
                    <a:pt x="55" y="2367"/>
                  </a:lnTo>
                  <a:lnTo>
                    <a:pt x="31" y="2331"/>
                  </a:lnTo>
                  <a:lnTo>
                    <a:pt x="12" y="2291"/>
                  </a:lnTo>
                  <a:lnTo>
                    <a:pt x="2" y="2251"/>
                  </a:lnTo>
                  <a:lnTo>
                    <a:pt x="0" y="2209"/>
                  </a:lnTo>
                  <a:lnTo>
                    <a:pt x="4" y="2169"/>
                  </a:lnTo>
                  <a:lnTo>
                    <a:pt x="15" y="2130"/>
                  </a:lnTo>
                  <a:lnTo>
                    <a:pt x="32" y="2092"/>
                  </a:lnTo>
                  <a:lnTo>
                    <a:pt x="55" y="2058"/>
                  </a:lnTo>
                  <a:lnTo>
                    <a:pt x="82" y="2025"/>
                  </a:lnTo>
                  <a:lnTo>
                    <a:pt x="112" y="1997"/>
                  </a:lnTo>
                  <a:lnTo>
                    <a:pt x="148" y="1974"/>
                  </a:lnTo>
                  <a:lnTo>
                    <a:pt x="186" y="1959"/>
                  </a:lnTo>
                  <a:lnTo>
                    <a:pt x="230" y="1948"/>
                  </a:lnTo>
                  <a:lnTo>
                    <a:pt x="273" y="1946"/>
                  </a:lnTo>
                  <a:lnTo>
                    <a:pt x="319" y="1949"/>
                  </a:lnTo>
                  <a:lnTo>
                    <a:pt x="366" y="1965"/>
                  </a:lnTo>
                  <a:lnTo>
                    <a:pt x="415" y="1987"/>
                  </a:lnTo>
                  <a:lnTo>
                    <a:pt x="497" y="2027"/>
                  </a:lnTo>
                  <a:lnTo>
                    <a:pt x="576" y="2056"/>
                  </a:lnTo>
                  <a:lnTo>
                    <a:pt x="658" y="2071"/>
                  </a:lnTo>
                  <a:lnTo>
                    <a:pt x="737" y="2077"/>
                  </a:lnTo>
                  <a:lnTo>
                    <a:pt x="815" y="2071"/>
                  </a:lnTo>
                  <a:lnTo>
                    <a:pt x="893" y="2054"/>
                  </a:lnTo>
                  <a:lnTo>
                    <a:pt x="966" y="2029"/>
                  </a:lnTo>
                  <a:lnTo>
                    <a:pt x="1040" y="1997"/>
                  </a:lnTo>
                  <a:lnTo>
                    <a:pt x="1110" y="1955"/>
                  </a:lnTo>
                  <a:lnTo>
                    <a:pt x="1177" y="1908"/>
                  </a:lnTo>
                  <a:lnTo>
                    <a:pt x="1241" y="1853"/>
                  </a:lnTo>
                  <a:lnTo>
                    <a:pt x="1300" y="1794"/>
                  </a:lnTo>
                  <a:lnTo>
                    <a:pt x="1357" y="1729"/>
                  </a:lnTo>
                  <a:lnTo>
                    <a:pt x="1408" y="1661"/>
                  </a:lnTo>
                  <a:lnTo>
                    <a:pt x="1453" y="1589"/>
                  </a:lnTo>
                  <a:lnTo>
                    <a:pt x="1495" y="1515"/>
                  </a:lnTo>
                  <a:lnTo>
                    <a:pt x="1559" y="1384"/>
                  </a:lnTo>
                  <a:lnTo>
                    <a:pt x="1622" y="1263"/>
                  </a:lnTo>
                  <a:lnTo>
                    <a:pt x="1681" y="1147"/>
                  </a:lnTo>
                  <a:lnTo>
                    <a:pt x="1736" y="1037"/>
                  </a:lnTo>
                  <a:lnTo>
                    <a:pt x="1791" y="933"/>
                  </a:lnTo>
                  <a:lnTo>
                    <a:pt x="1844" y="832"/>
                  </a:lnTo>
                  <a:lnTo>
                    <a:pt x="1897" y="734"/>
                  </a:lnTo>
                  <a:lnTo>
                    <a:pt x="1950" y="639"/>
                  </a:lnTo>
                  <a:lnTo>
                    <a:pt x="2005" y="542"/>
                  </a:lnTo>
                  <a:lnTo>
                    <a:pt x="1918" y="520"/>
                  </a:lnTo>
                  <a:lnTo>
                    <a:pt x="1832" y="506"/>
                  </a:lnTo>
                  <a:lnTo>
                    <a:pt x="1749" y="504"/>
                  </a:lnTo>
                  <a:lnTo>
                    <a:pt x="1667" y="510"/>
                  </a:lnTo>
                  <a:lnTo>
                    <a:pt x="1588" y="529"/>
                  </a:lnTo>
                  <a:lnTo>
                    <a:pt x="1510" y="556"/>
                  </a:lnTo>
                  <a:lnTo>
                    <a:pt x="1434" y="595"/>
                  </a:lnTo>
                  <a:lnTo>
                    <a:pt x="1362" y="643"/>
                  </a:lnTo>
                  <a:lnTo>
                    <a:pt x="1292" y="704"/>
                  </a:lnTo>
                  <a:lnTo>
                    <a:pt x="1224" y="776"/>
                  </a:lnTo>
                  <a:lnTo>
                    <a:pt x="1160" y="857"/>
                  </a:lnTo>
                  <a:lnTo>
                    <a:pt x="1128" y="897"/>
                  </a:lnTo>
                  <a:lnTo>
                    <a:pt x="1090" y="927"/>
                  </a:lnTo>
                  <a:lnTo>
                    <a:pt x="1050" y="948"/>
                  </a:lnTo>
                  <a:lnTo>
                    <a:pt x="1008" y="961"/>
                  </a:lnTo>
                  <a:lnTo>
                    <a:pt x="965" y="967"/>
                  </a:lnTo>
                  <a:lnTo>
                    <a:pt x="921" y="967"/>
                  </a:lnTo>
                  <a:lnTo>
                    <a:pt x="879" y="960"/>
                  </a:lnTo>
                  <a:lnTo>
                    <a:pt x="840" y="946"/>
                  </a:lnTo>
                  <a:lnTo>
                    <a:pt x="802" y="927"/>
                  </a:lnTo>
                  <a:lnTo>
                    <a:pt x="766" y="905"/>
                  </a:lnTo>
                  <a:lnTo>
                    <a:pt x="735" y="876"/>
                  </a:lnTo>
                  <a:lnTo>
                    <a:pt x="711" y="846"/>
                  </a:lnTo>
                  <a:lnTo>
                    <a:pt x="692" y="810"/>
                  </a:lnTo>
                  <a:lnTo>
                    <a:pt x="680" y="772"/>
                  </a:lnTo>
                  <a:lnTo>
                    <a:pt x="679" y="732"/>
                  </a:lnTo>
                  <a:lnTo>
                    <a:pt x="682" y="690"/>
                  </a:lnTo>
                  <a:lnTo>
                    <a:pt x="697" y="647"/>
                  </a:lnTo>
                  <a:lnTo>
                    <a:pt x="724" y="603"/>
                  </a:lnTo>
                  <a:lnTo>
                    <a:pt x="805" y="497"/>
                  </a:lnTo>
                  <a:lnTo>
                    <a:pt x="891" y="402"/>
                  </a:lnTo>
                  <a:lnTo>
                    <a:pt x="980" y="315"/>
                  </a:lnTo>
                  <a:lnTo>
                    <a:pt x="1073" y="241"/>
                  </a:lnTo>
                  <a:lnTo>
                    <a:pt x="1169" y="174"/>
                  </a:lnTo>
                  <a:lnTo>
                    <a:pt x="1270" y="119"/>
                  </a:lnTo>
                  <a:lnTo>
                    <a:pt x="1372" y="74"/>
                  </a:lnTo>
                  <a:lnTo>
                    <a:pt x="1476" y="40"/>
                  </a:lnTo>
                  <a:lnTo>
                    <a:pt x="1584" y="17"/>
                  </a:lnTo>
                  <a:lnTo>
                    <a:pt x="1694" y="4"/>
                  </a:lnTo>
                  <a:lnTo>
                    <a:pt x="180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28900" y="1567548"/>
            <a:ext cx="6934200" cy="491490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824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481253" y="34056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950476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Data/IP 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Ownership and Privacy</a:t>
            </a:r>
            <a:endParaRPr lang="en-US" sz="26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grpSp>
        <p:nvGrpSpPr>
          <p:cNvPr id="7" name="Group 4"/>
          <p:cNvGrpSpPr>
            <a:grpSpLocks noChangeAspect="1"/>
          </p:cNvGrpSpPr>
          <p:nvPr/>
        </p:nvGrpSpPr>
        <p:grpSpPr bwMode="auto">
          <a:xfrm>
            <a:off x="583216" y="708526"/>
            <a:ext cx="420624" cy="420624"/>
            <a:chOff x="2880" y="1200"/>
            <a:chExt cx="1920" cy="1920"/>
          </a:xfr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</p:grpSpPr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3839" y="2160"/>
              <a:ext cx="432" cy="481"/>
            </a:xfrm>
            <a:custGeom>
              <a:avLst/>
              <a:gdLst>
                <a:gd name="T0" fmla="*/ 0 w 863"/>
                <a:gd name="T1" fmla="*/ 0 h 961"/>
                <a:gd name="T2" fmla="*/ 863 w 863"/>
                <a:gd name="T3" fmla="*/ 0 h 961"/>
                <a:gd name="T4" fmla="*/ 848 w 863"/>
                <a:gd name="T5" fmla="*/ 58 h 961"/>
                <a:gd name="T6" fmla="*/ 831 w 863"/>
                <a:gd name="T7" fmla="*/ 116 h 961"/>
                <a:gd name="T8" fmla="*/ 812 w 863"/>
                <a:gd name="T9" fmla="*/ 176 h 961"/>
                <a:gd name="T10" fmla="*/ 792 w 863"/>
                <a:gd name="T11" fmla="*/ 235 h 961"/>
                <a:gd name="T12" fmla="*/ 770 w 863"/>
                <a:gd name="T13" fmla="*/ 293 h 961"/>
                <a:gd name="T14" fmla="*/ 746 w 863"/>
                <a:gd name="T15" fmla="*/ 351 h 961"/>
                <a:gd name="T16" fmla="*/ 720 w 863"/>
                <a:gd name="T17" fmla="*/ 408 h 961"/>
                <a:gd name="T18" fmla="*/ 693 w 863"/>
                <a:gd name="T19" fmla="*/ 464 h 961"/>
                <a:gd name="T20" fmla="*/ 663 w 863"/>
                <a:gd name="T21" fmla="*/ 519 h 961"/>
                <a:gd name="T22" fmla="*/ 632 w 863"/>
                <a:gd name="T23" fmla="*/ 571 h 961"/>
                <a:gd name="T24" fmla="*/ 598 w 863"/>
                <a:gd name="T25" fmla="*/ 623 h 961"/>
                <a:gd name="T26" fmla="*/ 562 w 863"/>
                <a:gd name="T27" fmla="*/ 670 h 961"/>
                <a:gd name="T28" fmla="*/ 523 w 863"/>
                <a:gd name="T29" fmla="*/ 716 h 961"/>
                <a:gd name="T30" fmla="*/ 484 w 863"/>
                <a:gd name="T31" fmla="*/ 759 h 961"/>
                <a:gd name="T32" fmla="*/ 441 w 863"/>
                <a:gd name="T33" fmla="*/ 798 h 961"/>
                <a:gd name="T34" fmla="*/ 395 w 863"/>
                <a:gd name="T35" fmla="*/ 834 h 961"/>
                <a:gd name="T36" fmla="*/ 347 w 863"/>
                <a:gd name="T37" fmla="*/ 866 h 961"/>
                <a:gd name="T38" fmla="*/ 297 w 863"/>
                <a:gd name="T39" fmla="*/ 894 h 961"/>
                <a:gd name="T40" fmla="*/ 243 w 863"/>
                <a:gd name="T41" fmla="*/ 917 h 961"/>
                <a:gd name="T42" fmla="*/ 187 w 863"/>
                <a:gd name="T43" fmla="*/ 937 h 961"/>
                <a:gd name="T44" fmla="*/ 128 w 863"/>
                <a:gd name="T45" fmla="*/ 950 h 961"/>
                <a:gd name="T46" fmla="*/ 66 w 863"/>
                <a:gd name="T47" fmla="*/ 959 h 961"/>
                <a:gd name="T48" fmla="*/ 0 w 863"/>
                <a:gd name="T49" fmla="*/ 961 h 961"/>
                <a:gd name="T50" fmla="*/ 0 w 863"/>
                <a:gd name="T51" fmla="*/ 0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63" h="961">
                  <a:moveTo>
                    <a:pt x="0" y="0"/>
                  </a:moveTo>
                  <a:lnTo>
                    <a:pt x="863" y="0"/>
                  </a:lnTo>
                  <a:lnTo>
                    <a:pt x="848" y="58"/>
                  </a:lnTo>
                  <a:lnTo>
                    <a:pt x="831" y="116"/>
                  </a:lnTo>
                  <a:lnTo>
                    <a:pt x="812" y="176"/>
                  </a:lnTo>
                  <a:lnTo>
                    <a:pt x="792" y="235"/>
                  </a:lnTo>
                  <a:lnTo>
                    <a:pt x="770" y="293"/>
                  </a:lnTo>
                  <a:lnTo>
                    <a:pt x="746" y="351"/>
                  </a:lnTo>
                  <a:lnTo>
                    <a:pt x="720" y="408"/>
                  </a:lnTo>
                  <a:lnTo>
                    <a:pt x="693" y="464"/>
                  </a:lnTo>
                  <a:lnTo>
                    <a:pt x="663" y="519"/>
                  </a:lnTo>
                  <a:lnTo>
                    <a:pt x="632" y="571"/>
                  </a:lnTo>
                  <a:lnTo>
                    <a:pt x="598" y="623"/>
                  </a:lnTo>
                  <a:lnTo>
                    <a:pt x="562" y="670"/>
                  </a:lnTo>
                  <a:lnTo>
                    <a:pt x="523" y="716"/>
                  </a:lnTo>
                  <a:lnTo>
                    <a:pt x="484" y="759"/>
                  </a:lnTo>
                  <a:lnTo>
                    <a:pt x="441" y="798"/>
                  </a:lnTo>
                  <a:lnTo>
                    <a:pt x="395" y="834"/>
                  </a:lnTo>
                  <a:lnTo>
                    <a:pt x="347" y="866"/>
                  </a:lnTo>
                  <a:lnTo>
                    <a:pt x="297" y="894"/>
                  </a:lnTo>
                  <a:lnTo>
                    <a:pt x="243" y="917"/>
                  </a:lnTo>
                  <a:lnTo>
                    <a:pt x="187" y="937"/>
                  </a:lnTo>
                  <a:lnTo>
                    <a:pt x="128" y="950"/>
                  </a:lnTo>
                  <a:lnTo>
                    <a:pt x="66" y="959"/>
                  </a:lnTo>
                  <a:lnTo>
                    <a:pt x="0" y="9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3363" y="1683"/>
              <a:ext cx="476" cy="476"/>
            </a:xfrm>
            <a:custGeom>
              <a:avLst/>
              <a:gdLst>
                <a:gd name="T0" fmla="*/ 953 w 953"/>
                <a:gd name="T1" fmla="*/ 0 h 952"/>
                <a:gd name="T2" fmla="*/ 953 w 953"/>
                <a:gd name="T3" fmla="*/ 952 h 952"/>
                <a:gd name="T4" fmla="*/ 92 w 953"/>
                <a:gd name="T5" fmla="*/ 952 h 952"/>
                <a:gd name="T6" fmla="*/ 74 w 953"/>
                <a:gd name="T7" fmla="*/ 876 h 952"/>
                <a:gd name="T8" fmla="*/ 58 w 953"/>
                <a:gd name="T9" fmla="*/ 803 h 952"/>
                <a:gd name="T10" fmla="*/ 44 w 953"/>
                <a:gd name="T11" fmla="*/ 731 h 952"/>
                <a:gd name="T12" fmla="*/ 32 w 953"/>
                <a:gd name="T13" fmla="*/ 663 h 952"/>
                <a:gd name="T14" fmla="*/ 23 w 953"/>
                <a:gd name="T15" fmla="*/ 600 h 952"/>
                <a:gd name="T16" fmla="*/ 15 w 953"/>
                <a:gd name="T17" fmla="*/ 542 h 952"/>
                <a:gd name="T18" fmla="*/ 8 w 953"/>
                <a:gd name="T19" fmla="*/ 490 h 952"/>
                <a:gd name="T20" fmla="*/ 3 w 953"/>
                <a:gd name="T21" fmla="*/ 444 h 952"/>
                <a:gd name="T22" fmla="*/ 0 w 953"/>
                <a:gd name="T23" fmla="*/ 406 h 952"/>
                <a:gd name="T24" fmla="*/ 953 w 953"/>
                <a:gd name="T25" fmla="*/ 0 h 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3" h="952">
                  <a:moveTo>
                    <a:pt x="953" y="0"/>
                  </a:moveTo>
                  <a:lnTo>
                    <a:pt x="953" y="952"/>
                  </a:lnTo>
                  <a:lnTo>
                    <a:pt x="92" y="952"/>
                  </a:lnTo>
                  <a:lnTo>
                    <a:pt x="74" y="876"/>
                  </a:lnTo>
                  <a:lnTo>
                    <a:pt x="58" y="803"/>
                  </a:lnTo>
                  <a:lnTo>
                    <a:pt x="44" y="731"/>
                  </a:lnTo>
                  <a:lnTo>
                    <a:pt x="32" y="663"/>
                  </a:lnTo>
                  <a:lnTo>
                    <a:pt x="23" y="600"/>
                  </a:lnTo>
                  <a:lnTo>
                    <a:pt x="15" y="542"/>
                  </a:lnTo>
                  <a:lnTo>
                    <a:pt x="8" y="490"/>
                  </a:lnTo>
                  <a:lnTo>
                    <a:pt x="3" y="444"/>
                  </a:lnTo>
                  <a:lnTo>
                    <a:pt x="0" y="406"/>
                  </a:lnTo>
                  <a:lnTo>
                    <a:pt x="9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2880" y="1200"/>
              <a:ext cx="1920" cy="1920"/>
            </a:xfrm>
            <a:custGeom>
              <a:avLst/>
              <a:gdLst>
                <a:gd name="T0" fmla="*/ 762 w 3840"/>
                <a:gd name="T1" fmla="*/ 1322 h 3840"/>
                <a:gd name="T2" fmla="*/ 768 w 3840"/>
                <a:gd name="T3" fmla="*/ 1402 h 3840"/>
                <a:gd name="T4" fmla="*/ 784 w 3840"/>
                <a:gd name="T5" fmla="*/ 1551 h 3840"/>
                <a:gd name="T6" fmla="*/ 815 w 3840"/>
                <a:gd name="T7" fmla="*/ 1749 h 3840"/>
                <a:gd name="T8" fmla="*/ 866 w 3840"/>
                <a:gd name="T9" fmla="*/ 1978 h 3840"/>
                <a:gd name="T10" fmla="*/ 940 w 3840"/>
                <a:gd name="T11" fmla="*/ 2224 h 3840"/>
                <a:gd name="T12" fmla="*/ 1045 w 3840"/>
                <a:gd name="T13" fmla="*/ 2468 h 3840"/>
                <a:gd name="T14" fmla="*/ 1182 w 3840"/>
                <a:gd name="T15" fmla="*/ 2691 h 3840"/>
                <a:gd name="T16" fmla="*/ 1358 w 3840"/>
                <a:gd name="T17" fmla="*/ 2880 h 3840"/>
                <a:gd name="T18" fmla="*/ 1578 w 3840"/>
                <a:gd name="T19" fmla="*/ 3014 h 3840"/>
                <a:gd name="T20" fmla="*/ 1846 w 3840"/>
                <a:gd name="T21" fmla="*/ 3078 h 3840"/>
                <a:gd name="T22" fmla="*/ 2134 w 3840"/>
                <a:gd name="T23" fmla="*/ 3056 h 3840"/>
                <a:gd name="T24" fmla="*/ 2377 w 3840"/>
                <a:gd name="T25" fmla="*/ 2954 h 3840"/>
                <a:gd name="T26" fmla="*/ 2575 w 3840"/>
                <a:gd name="T27" fmla="*/ 2792 h 3840"/>
                <a:gd name="T28" fmla="*/ 2731 w 3840"/>
                <a:gd name="T29" fmla="*/ 2583 h 3840"/>
                <a:gd name="T30" fmla="*/ 2851 w 3840"/>
                <a:gd name="T31" fmla="*/ 2347 h 3840"/>
                <a:gd name="T32" fmla="*/ 2941 w 3840"/>
                <a:gd name="T33" fmla="*/ 2100 h 3840"/>
                <a:gd name="T34" fmla="*/ 3002 w 3840"/>
                <a:gd name="T35" fmla="*/ 1861 h 3840"/>
                <a:gd name="T36" fmla="*/ 3043 w 3840"/>
                <a:gd name="T37" fmla="*/ 1644 h 3840"/>
                <a:gd name="T38" fmla="*/ 3065 w 3840"/>
                <a:gd name="T39" fmla="*/ 1470 h 3840"/>
                <a:gd name="T40" fmla="*/ 3075 w 3840"/>
                <a:gd name="T41" fmla="*/ 1352 h 3840"/>
                <a:gd name="T42" fmla="*/ 3080 w 3840"/>
                <a:gd name="T43" fmla="*/ 1245 h 3840"/>
                <a:gd name="T44" fmla="*/ 2152 w 3840"/>
                <a:gd name="T45" fmla="*/ 14 h 3840"/>
                <a:gd name="T46" fmla="*/ 2590 w 3840"/>
                <a:gd name="T47" fmla="*/ 120 h 3840"/>
                <a:gd name="T48" fmla="*/ 2982 w 3840"/>
                <a:gd name="T49" fmla="*/ 320 h 3840"/>
                <a:gd name="T50" fmla="*/ 3315 w 3840"/>
                <a:gd name="T51" fmla="*/ 602 h 3840"/>
                <a:gd name="T52" fmla="*/ 3578 w 3840"/>
                <a:gd name="T53" fmla="*/ 951 h 3840"/>
                <a:gd name="T54" fmla="*/ 3756 w 3840"/>
                <a:gd name="T55" fmla="*/ 1356 h 3840"/>
                <a:gd name="T56" fmla="*/ 3837 w 3840"/>
                <a:gd name="T57" fmla="*/ 1802 h 3840"/>
                <a:gd name="T58" fmla="*/ 3809 w 3840"/>
                <a:gd name="T59" fmla="*/ 2266 h 3840"/>
                <a:gd name="T60" fmla="*/ 3678 w 3840"/>
                <a:gd name="T61" fmla="*/ 2693 h 3840"/>
                <a:gd name="T62" fmla="*/ 3456 w 3840"/>
                <a:gd name="T63" fmla="*/ 3072 h 3840"/>
                <a:gd name="T64" fmla="*/ 3157 w 3840"/>
                <a:gd name="T65" fmla="*/ 3389 h 3840"/>
                <a:gd name="T66" fmla="*/ 2793 w 3840"/>
                <a:gd name="T67" fmla="*/ 3631 h 3840"/>
                <a:gd name="T68" fmla="*/ 2376 w 3840"/>
                <a:gd name="T69" fmla="*/ 3785 h 3840"/>
                <a:gd name="T70" fmla="*/ 1919 w 3840"/>
                <a:gd name="T71" fmla="*/ 3840 h 3840"/>
                <a:gd name="T72" fmla="*/ 1464 w 3840"/>
                <a:gd name="T73" fmla="*/ 3785 h 3840"/>
                <a:gd name="T74" fmla="*/ 1047 w 3840"/>
                <a:gd name="T75" fmla="*/ 3631 h 3840"/>
                <a:gd name="T76" fmla="*/ 683 w 3840"/>
                <a:gd name="T77" fmla="*/ 3389 h 3840"/>
                <a:gd name="T78" fmla="*/ 384 w 3840"/>
                <a:gd name="T79" fmla="*/ 3072 h 3840"/>
                <a:gd name="T80" fmla="*/ 162 w 3840"/>
                <a:gd name="T81" fmla="*/ 2693 h 3840"/>
                <a:gd name="T82" fmla="*/ 31 w 3840"/>
                <a:gd name="T83" fmla="*/ 2266 h 3840"/>
                <a:gd name="T84" fmla="*/ 3 w 3840"/>
                <a:gd name="T85" fmla="*/ 1802 h 3840"/>
                <a:gd name="T86" fmla="*/ 84 w 3840"/>
                <a:gd name="T87" fmla="*/ 1356 h 3840"/>
                <a:gd name="T88" fmla="*/ 262 w 3840"/>
                <a:gd name="T89" fmla="*/ 951 h 3840"/>
                <a:gd name="T90" fmla="*/ 525 w 3840"/>
                <a:gd name="T91" fmla="*/ 602 h 3840"/>
                <a:gd name="T92" fmla="*/ 858 w 3840"/>
                <a:gd name="T93" fmla="*/ 320 h 3840"/>
                <a:gd name="T94" fmla="*/ 1250 w 3840"/>
                <a:gd name="T95" fmla="*/ 120 h 3840"/>
                <a:gd name="T96" fmla="*/ 1688 w 3840"/>
                <a:gd name="T97" fmla="*/ 14 h 3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40" h="3840">
                  <a:moveTo>
                    <a:pt x="1919" y="751"/>
                  </a:moveTo>
                  <a:lnTo>
                    <a:pt x="759" y="1245"/>
                  </a:lnTo>
                  <a:lnTo>
                    <a:pt x="762" y="1314"/>
                  </a:lnTo>
                  <a:lnTo>
                    <a:pt x="762" y="1322"/>
                  </a:lnTo>
                  <a:lnTo>
                    <a:pt x="763" y="1335"/>
                  </a:lnTo>
                  <a:lnTo>
                    <a:pt x="765" y="1352"/>
                  </a:lnTo>
                  <a:lnTo>
                    <a:pt x="766" y="1375"/>
                  </a:lnTo>
                  <a:lnTo>
                    <a:pt x="768" y="1402"/>
                  </a:lnTo>
                  <a:lnTo>
                    <a:pt x="771" y="1434"/>
                  </a:lnTo>
                  <a:lnTo>
                    <a:pt x="775" y="1470"/>
                  </a:lnTo>
                  <a:lnTo>
                    <a:pt x="778" y="1508"/>
                  </a:lnTo>
                  <a:lnTo>
                    <a:pt x="784" y="1551"/>
                  </a:lnTo>
                  <a:lnTo>
                    <a:pt x="790" y="1597"/>
                  </a:lnTo>
                  <a:lnTo>
                    <a:pt x="797" y="1644"/>
                  </a:lnTo>
                  <a:lnTo>
                    <a:pt x="805" y="1695"/>
                  </a:lnTo>
                  <a:lnTo>
                    <a:pt x="815" y="1749"/>
                  </a:lnTo>
                  <a:lnTo>
                    <a:pt x="826" y="1804"/>
                  </a:lnTo>
                  <a:lnTo>
                    <a:pt x="838" y="1861"/>
                  </a:lnTo>
                  <a:lnTo>
                    <a:pt x="851" y="1919"/>
                  </a:lnTo>
                  <a:lnTo>
                    <a:pt x="866" y="1978"/>
                  </a:lnTo>
                  <a:lnTo>
                    <a:pt x="882" y="2040"/>
                  </a:lnTo>
                  <a:lnTo>
                    <a:pt x="899" y="2100"/>
                  </a:lnTo>
                  <a:lnTo>
                    <a:pt x="919" y="2162"/>
                  </a:lnTo>
                  <a:lnTo>
                    <a:pt x="940" y="2224"/>
                  </a:lnTo>
                  <a:lnTo>
                    <a:pt x="963" y="2285"/>
                  </a:lnTo>
                  <a:lnTo>
                    <a:pt x="989" y="2347"/>
                  </a:lnTo>
                  <a:lnTo>
                    <a:pt x="1016" y="2408"/>
                  </a:lnTo>
                  <a:lnTo>
                    <a:pt x="1045" y="2468"/>
                  </a:lnTo>
                  <a:lnTo>
                    <a:pt x="1075" y="2526"/>
                  </a:lnTo>
                  <a:lnTo>
                    <a:pt x="1109" y="2583"/>
                  </a:lnTo>
                  <a:lnTo>
                    <a:pt x="1144" y="2638"/>
                  </a:lnTo>
                  <a:lnTo>
                    <a:pt x="1182" y="2691"/>
                  </a:lnTo>
                  <a:lnTo>
                    <a:pt x="1223" y="2743"/>
                  </a:lnTo>
                  <a:lnTo>
                    <a:pt x="1265" y="2792"/>
                  </a:lnTo>
                  <a:lnTo>
                    <a:pt x="1310" y="2837"/>
                  </a:lnTo>
                  <a:lnTo>
                    <a:pt x="1358" y="2880"/>
                  </a:lnTo>
                  <a:lnTo>
                    <a:pt x="1409" y="2918"/>
                  </a:lnTo>
                  <a:lnTo>
                    <a:pt x="1463" y="2954"/>
                  </a:lnTo>
                  <a:lnTo>
                    <a:pt x="1519" y="2986"/>
                  </a:lnTo>
                  <a:lnTo>
                    <a:pt x="1578" y="3014"/>
                  </a:lnTo>
                  <a:lnTo>
                    <a:pt x="1640" y="3037"/>
                  </a:lnTo>
                  <a:lnTo>
                    <a:pt x="1705" y="3056"/>
                  </a:lnTo>
                  <a:lnTo>
                    <a:pt x="1773" y="3070"/>
                  </a:lnTo>
                  <a:lnTo>
                    <a:pt x="1846" y="3078"/>
                  </a:lnTo>
                  <a:lnTo>
                    <a:pt x="1919" y="3080"/>
                  </a:lnTo>
                  <a:lnTo>
                    <a:pt x="1994" y="3078"/>
                  </a:lnTo>
                  <a:lnTo>
                    <a:pt x="2067" y="3070"/>
                  </a:lnTo>
                  <a:lnTo>
                    <a:pt x="2134" y="3056"/>
                  </a:lnTo>
                  <a:lnTo>
                    <a:pt x="2200" y="3037"/>
                  </a:lnTo>
                  <a:lnTo>
                    <a:pt x="2262" y="3014"/>
                  </a:lnTo>
                  <a:lnTo>
                    <a:pt x="2321" y="2986"/>
                  </a:lnTo>
                  <a:lnTo>
                    <a:pt x="2377" y="2954"/>
                  </a:lnTo>
                  <a:lnTo>
                    <a:pt x="2431" y="2918"/>
                  </a:lnTo>
                  <a:lnTo>
                    <a:pt x="2481" y="2880"/>
                  </a:lnTo>
                  <a:lnTo>
                    <a:pt x="2530" y="2837"/>
                  </a:lnTo>
                  <a:lnTo>
                    <a:pt x="2575" y="2792"/>
                  </a:lnTo>
                  <a:lnTo>
                    <a:pt x="2617" y="2743"/>
                  </a:lnTo>
                  <a:lnTo>
                    <a:pt x="2658" y="2691"/>
                  </a:lnTo>
                  <a:lnTo>
                    <a:pt x="2695" y="2638"/>
                  </a:lnTo>
                  <a:lnTo>
                    <a:pt x="2731" y="2583"/>
                  </a:lnTo>
                  <a:lnTo>
                    <a:pt x="2765" y="2526"/>
                  </a:lnTo>
                  <a:lnTo>
                    <a:pt x="2795" y="2468"/>
                  </a:lnTo>
                  <a:lnTo>
                    <a:pt x="2824" y="2408"/>
                  </a:lnTo>
                  <a:lnTo>
                    <a:pt x="2851" y="2347"/>
                  </a:lnTo>
                  <a:lnTo>
                    <a:pt x="2877" y="2285"/>
                  </a:lnTo>
                  <a:lnTo>
                    <a:pt x="2900" y="2224"/>
                  </a:lnTo>
                  <a:lnTo>
                    <a:pt x="2921" y="2162"/>
                  </a:lnTo>
                  <a:lnTo>
                    <a:pt x="2941" y="2100"/>
                  </a:lnTo>
                  <a:lnTo>
                    <a:pt x="2958" y="2040"/>
                  </a:lnTo>
                  <a:lnTo>
                    <a:pt x="2974" y="1978"/>
                  </a:lnTo>
                  <a:lnTo>
                    <a:pt x="2989" y="1919"/>
                  </a:lnTo>
                  <a:lnTo>
                    <a:pt x="3002" y="1861"/>
                  </a:lnTo>
                  <a:lnTo>
                    <a:pt x="3014" y="1804"/>
                  </a:lnTo>
                  <a:lnTo>
                    <a:pt x="3025" y="1749"/>
                  </a:lnTo>
                  <a:lnTo>
                    <a:pt x="3035" y="1695"/>
                  </a:lnTo>
                  <a:lnTo>
                    <a:pt x="3043" y="1644"/>
                  </a:lnTo>
                  <a:lnTo>
                    <a:pt x="3050" y="1597"/>
                  </a:lnTo>
                  <a:lnTo>
                    <a:pt x="3056" y="1551"/>
                  </a:lnTo>
                  <a:lnTo>
                    <a:pt x="3062" y="1508"/>
                  </a:lnTo>
                  <a:lnTo>
                    <a:pt x="3065" y="1470"/>
                  </a:lnTo>
                  <a:lnTo>
                    <a:pt x="3069" y="1434"/>
                  </a:lnTo>
                  <a:lnTo>
                    <a:pt x="3072" y="1402"/>
                  </a:lnTo>
                  <a:lnTo>
                    <a:pt x="3074" y="1375"/>
                  </a:lnTo>
                  <a:lnTo>
                    <a:pt x="3075" y="1352"/>
                  </a:lnTo>
                  <a:lnTo>
                    <a:pt x="3077" y="1335"/>
                  </a:lnTo>
                  <a:lnTo>
                    <a:pt x="3078" y="1322"/>
                  </a:lnTo>
                  <a:lnTo>
                    <a:pt x="3078" y="1314"/>
                  </a:lnTo>
                  <a:lnTo>
                    <a:pt x="3080" y="1245"/>
                  </a:lnTo>
                  <a:lnTo>
                    <a:pt x="1919" y="751"/>
                  </a:lnTo>
                  <a:close/>
                  <a:moveTo>
                    <a:pt x="1919" y="0"/>
                  </a:moveTo>
                  <a:lnTo>
                    <a:pt x="2036" y="3"/>
                  </a:lnTo>
                  <a:lnTo>
                    <a:pt x="2152" y="14"/>
                  </a:lnTo>
                  <a:lnTo>
                    <a:pt x="2266" y="31"/>
                  </a:lnTo>
                  <a:lnTo>
                    <a:pt x="2376" y="55"/>
                  </a:lnTo>
                  <a:lnTo>
                    <a:pt x="2484" y="84"/>
                  </a:lnTo>
                  <a:lnTo>
                    <a:pt x="2590" y="120"/>
                  </a:lnTo>
                  <a:lnTo>
                    <a:pt x="2693" y="162"/>
                  </a:lnTo>
                  <a:lnTo>
                    <a:pt x="2793" y="209"/>
                  </a:lnTo>
                  <a:lnTo>
                    <a:pt x="2889" y="262"/>
                  </a:lnTo>
                  <a:lnTo>
                    <a:pt x="2982" y="320"/>
                  </a:lnTo>
                  <a:lnTo>
                    <a:pt x="3071" y="384"/>
                  </a:lnTo>
                  <a:lnTo>
                    <a:pt x="3157" y="451"/>
                  </a:lnTo>
                  <a:lnTo>
                    <a:pt x="3238" y="525"/>
                  </a:lnTo>
                  <a:lnTo>
                    <a:pt x="3315" y="602"/>
                  </a:lnTo>
                  <a:lnTo>
                    <a:pt x="3389" y="683"/>
                  </a:lnTo>
                  <a:lnTo>
                    <a:pt x="3456" y="768"/>
                  </a:lnTo>
                  <a:lnTo>
                    <a:pt x="3520" y="858"/>
                  </a:lnTo>
                  <a:lnTo>
                    <a:pt x="3578" y="951"/>
                  </a:lnTo>
                  <a:lnTo>
                    <a:pt x="3631" y="1047"/>
                  </a:lnTo>
                  <a:lnTo>
                    <a:pt x="3678" y="1147"/>
                  </a:lnTo>
                  <a:lnTo>
                    <a:pt x="3720" y="1250"/>
                  </a:lnTo>
                  <a:lnTo>
                    <a:pt x="3756" y="1356"/>
                  </a:lnTo>
                  <a:lnTo>
                    <a:pt x="3785" y="1464"/>
                  </a:lnTo>
                  <a:lnTo>
                    <a:pt x="3809" y="1574"/>
                  </a:lnTo>
                  <a:lnTo>
                    <a:pt x="3826" y="1688"/>
                  </a:lnTo>
                  <a:lnTo>
                    <a:pt x="3837" y="1802"/>
                  </a:lnTo>
                  <a:lnTo>
                    <a:pt x="3840" y="1919"/>
                  </a:lnTo>
                  <a:lnTo>
                    <a:pt x="3837" y="2036"/>
                  </a:lnTo>
                  <a:lnTo>
                    <a:pt x="3826" y="2152"/>
                  </a:lnTo>
                  <a:lnTo>
                    <a:pt x="3809" y="2266"/>
                  </a:lnTo>
                  <a:lnTo>
                    <a:pt x="3785" y="2376"/>
                  </a:lnTo>
                  <a:lnTo>
                    <a:pt x="3756" y="2484"/>
                  </a:lnTo>
                  <a:lnTo>
                    <a:pt x="3720" y="2590"/>
                  </a:lnTo>
                  <a:lnTo>
                    <a:pt x="3678" y="2693"/>
                  </a:lnTo>
                  <a:lnTo>
                    <a:pt x="3631" y="2793"/>
                  </a:lnTo>
                  <a:lnTo>
                    <a:pt x="3578" y="2889"/>
                  </a:lnTo>
                  <a:lnTo>
                    <a:pt x="3520" y="2982"/>
                  </a:lnTo>
                  <a:lnTo>
                    <a:pt x="3456" y="3072"/>
                  </a:lnTo>
                  <a:lnTo>
                    <a:pt x="3389" y="3157"/>
                  </a:lnTo>
                  <a:lnTo>
                    <a:pt x="3315" y="3238"/>
                  </a:lnTo>
                  <a:lnTo>
                    <a:pt x="3238" y="3315"/>
                  </a:lnTo>
                  <a:lnTo>
                    <a:pt x="3157" y="3389"/>
                  </a:lnTo>
                  <a:lnTo>
                    <a:pt x="3071" y="3456"/>
                  </a:lnTo>
                  <a:lnTo>
                    <a:pt x="2982" y="3520"/>
                  </a:lnTo>
                  <a:lnTo>
                    <a:pt x="2889" y="3578"/>
                  </a:lnTo>
                  <a:lnTo>
                    <a:pt x="2793" y="3631"/>
                  </a:lnTo>
                  <a:lnTo>
                    <a:pt x="2693" y="3678"/>
                  </a:lnTo>
                  <a:lnTo>
                    <a:pt x="2590" y="3720"/>
                  </a:lnTo>
                  <a:lnTo>
                    <a:pt x="2484" y="3756"/>
                  </a:lnTo>
                  <a:lnTo>
                    <a:pt x="2376" y="3785"/>
                  </a:lnTo>
                  <a:lnTo>
                    <a:pt x="2266" y="3809"/>
                  </a:lnTo>
                  <a:lnTo>
                    <a:pt x="2152" y="3826"/>
                  </a:lnTo>
                  <a:lnTo>
                    <a:pt x="2036" y="3837"/>
                  </a:lnTo>
                  <a:lnTo>
                    <a:pt x="1919" y="3840"/>
                  </a:lnTo>
                  <a:lnTo>
                    <a:pt x="1802" y="3837"/>
                  </a:lnTo>
                  <a:lnTo>
                    <a:pt x="1688" y="3826"/>
                  </a:lnTo>
                  <a:lnTo>
                    <a:pt x="1574" y="3809"/>
                  </a:lnTo>
                  <a:lnTo>
                    <a:pt x="1464" y="3785"/>
                  </a:lnTo>
                  <a:lnTo>
                    <a:pt x="1356" y="3756"/>
                  </a:lnTo>
                  <a:lnTo>
                    <a:pt x="1250" y="3720"/>
                  </a:lnTo>
                  <a:lnTo>
                    <a:pt x="1147" y="3678"/>
                  </a:lnTo>
                  <a:lnTo>
                    <a:pt x="1047" y="3631"/>
                  </a:lnTo>
                  <a:lnTo>
                    <a:pt x="951" y="3578"/>
                  </a:lnTo>
                  <a:lnTo>
                    <a:pt x="858" y="3520"/>
                  </a:lnTo>
                  <a:lnTo>
                    <a:pt x="768" y="3456"/>
                  </a:lnTo>
                  <a:lnTo>
                    <a:pt x="683" y="3389"/>
                  </a:lnTo>
                  <a:lnTo>
                    <a:pt x="602" y="3315"/>
                  </a:lnTo>
                  <a:lnTo>
                    <a:pt x="525" y="3238"/>
                  </a:lnTo>
                  <a:lnTo>
                    <a:pt x="451" y="3157"/>
                  </a:lnTo>
                  <a:lnTo>
                    <a:pt x="384" y="3072"/>
                  </a:lnTo>
                  <a:lnTo>
                    <a:pt x="320" y="2982"/>
                  </a:lnTo>
                  <a:lnTo>
                    <a:pt x="262" y="2889"/>
                  </a:lnTo>
                  <a:lnTo>
                    <a:pt x="209" y="2793"/>
                  </a:lnTo>
                  <a:lnTo>
                    <a:pt x="162" y="2693"/>
                  </a:lnTo>
                  <a:lnTo>
                    <a:pt x="120" y="2590"/>
                  </a:lnTo>
                  <a:lnTo>
                    <a:pt x="84" y="2484"/>
                  </a:lnTo>
                  <a:lnTo>
                    <a:pt x="55" y="2376"/>
                  </a:lnTo>
                  <a:lnTo>
                    <a:pt x="31" y="2266"/>
                  </a:lnTo>
                  <a:lnTo>
                    <a:pt x="14" y="2152"/>
                  </a:lnTo>
                  <a:lnTo>
                    <a:pt x="3" y="2036"/>
                  </a:lnTo>
                  <a:lnTo>
                    <a:pt x="0" y="1919"/>
                  </a:lnTo>
                  <a:lnTo>
                    <a:pt x="3" y="1802"/>
                  </a:lnTo>
                  <a:lnTo>
                    <a:pt x="14" y="1688"/>
                  </a:lnTo>
                  <a:lnTo>
                    <a:pt x="31" y="1574"/>
                  </a:lnTo>
                  <a:lnTo>
                    <a:pt x="55" y="1464"/>
                  </a:lnTo>
                  <a:lnTo>
                    <a:pt x="84" y="1356"/>
                  </a:lnTo>
                  <a:lnTo>
                    <a:pt x="120" y="1250"/>
                  </a:lnTo>
                  <a:lnTo>
                    <a:pt x="162" y="1147"/>
                  </a:lnTo>
                  <a:lnTo>
                    <a:pt x="209" y="1047"/>
                  </a:lnTo>
                  <a:lnTo>
                    <a:pt x="262" y="951"/>
                  </a:lnTo>
                  <a:lnTo>
                    <a:pt x="320" y="858"/>
                  </a:lnTo>
                  <a:lnTo>
                    <a:pt x="384" y="768"/>
                  </a:lnTo>
                  <a:lnTo>
                    <a:pt x="451" y="683"/>
                  </a:lnTo>
                  <a:lnTo>
                    <a:pt x="525" y="602"/>
                  </a:lnTo>
                  <a:lnTo>
                    <a:pt x="602" y="525"/>
                  </a:lnTo>
                  <a:lnTo>
                    <a:pt x="683" y="451"/>
                  </a:lnTo>
                  <a:lnTo>
                    <a:pt x="768" y="384"/>
                  </a:lnTo>
                  <a:lnTo>
                    <a:pt x="858" y="320"/>
                  </a:lnTo>
                  <a:lnTo>
                    <a:pt x="951" y="262"/>
                  </a:lnTo>
                  <a:lnTo>
                    <a:pt x="1047" y="209"/>
                  </a:lnTo>
                  <a:lnTo>
                    <a:pt x="1147" y="162"/>
                  </a:lnTo>
                  <a:lnTo>
                    <a:pt x="1250" y="120"/>
                  </a:lnTo>
                  <a:lnTo>
                    <a:pt x="1356" y="84"/>
                  </a:lnTo>
                  <a:lnTo>
                    <a:pt x="1464" y="55"/>
                  </a:lnTo>
                  <a:lnTo>
                    <a:pt x="1574" y="31"/>
                  </a:lnTo>
                  <a:lnTo>
                    <a:pt x="1688" y="14"/>
                  </a:lnTo>
                  <a:lnTo>
                    <a:pt x="1802" y="3"/>
                  </a:lnTo>
                  <a:lnTo>
                    <a:pt x="19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226799" y="1866900"/>
            <a:ext cx="5738402" cy="1066800"/>
            <a:chOff x="4800972" y="1866900"/>
            <a:chExt cx="5738402" cy="1066800"/>
          </a:xfrm>
        </p:grpSpPr>
        <p:sp>
          <p:nvSpPr>
            <p:cNvPr id="13" name="Rounded Rectangle 12"/>
            <p:cNvSpPr/>
            <p:nvPr/>
          </p:nvSpPr>
          <p:spPr>
            <a:xfrm>
              <a:off x="5416828" y="1866900"/>
              <a:ext cx="5122546" cy="1066800"/>
            </a:xfrm>
            <a:prstGeom prst="roundRect">
              <a:avLst>
                <a:gd name="adj" fmla="val 5389"/>
              </a:avLst>
            </a:prstGeom>
            <a:solidFill>
              <a:srgbClr val="0084CB"/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endParaRPr lang="en-CA" sz="2400" dirty="0">
                <a:solidFill>
                  <a:schemeClr val="bg1"/>
                </a:solidFill>
                <a:latin typeface="Raleway" panose="020B0003030101060003" pitchFamily="34" charset="0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4800972" y="1866900"/>
              <a:ext cx="1066800" cy="1066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/>
            <p:cNvSpPr/>
            <p:nvPr/>
          </p:nvSpPr>
          <p:spPr>
            <a:xfrm>
              <a:off x="4848096" y="1914024"/>
              <a:ext cx="972553" cy="97255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084C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Rounded Rectangle 25"/>
          <p:cNvSpPr/>
          <p:nvPr/>
        </p:nvSpPr>
        <p:spPr>
          <a:xfrm>
            <a:off x="3842655" y="3358724"/>
            <a:ext cx="5122546" cy="1066800"/>
          </a:xfrm>
          <a:prstGeom prst="roundRect">
            <a:avLst>
              <a:gd name="adj" fmla="val 5389"/>
            </a:avLst>
          </a:prstGeom>
          <a:solidFill>
            <a:srgbClr val="00C2F3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CA" sz="3200" dirty="0">
              <a:solidFill>
                <a:schemeClr val="bg1"/>
              </a:solidFill>
              <a:latin typeface="Raleway" panose="020B0003030101060003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3226799" y="3358724"/>
            <a:ext cx="1066800" cy="1066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3273923" y="3405848"/>
            <a:ext cx="972553" cy="972553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C2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29"/>
          <p:cNvSpPr/>
          <p:nvPr/>
        </p:nvSpPr>
        <p:spPr>
          <a:xfrm>
            <a:off x="3842655" y="4850548"/>
            <a:ext cx="5122546" cy="1066800"/>
          </a:xfrm>
          <a:prstGeom prst="roundRect">
            <a:avLst>
              <a:gd name="adj" fmla="val 5389"/>
            </a:avLst>
          </a:prstGeom>
          <a:solidFill>
            <a:srgbClr val="0084CB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CA" sz="3200" dirty="0">
              <a:solidFill>
                <a:schemeClr val="bg1"/>
              </a:solidFill>
              <a:latin typeface="Raleway" panose="020B0003030101060003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3226799" y="4850548"/>
            <a:ext cx="1066800" cy="1066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3273923" y="4897672"/>
            <a:ext cx="972553" cy="972553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84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>
            <a:off x="4340723" y="3324544"/>
            <a:ext cx="4392037" cy="1066800"/>
          </a:xfrm>
          <a:prstGeom prst="roundRect">
            <a:avLst>
              <a:gd name="adj" fmla="val 3133"/>
            </a:avLst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400" dirty="0">
                <a:solidFill>
                  <a:schemeClr val="bg1"/>
                </a:solidFill>
                <a:latin typeface="Raleway" panose="020B0003030101060003" pitchFamily="34" charset="0"/>
              </a:rPr>
              <a:t>Full Data Privacy </a:t>
            </a:r>
            <a:r>
              <a:rPr lang="en-US" dirty="0">
                <a:solidFill>
                  <a:schemeClr val="bg1"/>
                </a:solidFill>
                <a:latin typeface="Raleway" panose="020B0003030101060003" pitchFamily="34" charset="0"/>
              </a:rPr>
              <a:t>(no need to share your data with outside parties)</a:t>
            </a:r>
            <a:endParaRPr lang="en-CA" sz="2400" dirty="0">
              <a:solidFill>
                <a:schemeClr val="bg1"/>
              </a:solidFill>
              <a:latin typeface="Raleway" panose="020B0003030101060003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363639" y="1984801"/>
            <a:ext cx="32864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400" dirty="0">
                <a:solidFill>
                  <a:prstClr val="white"/>
                </a:solidFill>
                <a:latin typeface="Raleway" panose="020B0003030101060003" pitchFamily="34" charset="0"/>
              </a:rPr>
              <a:t>100% IP Ownership of Collected Data</a:t>
            </a:r>
            <a:endParaRPr lang="en-CA" sz="2400" dirty="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444839" y="5014616"/>
            <a:ext cx="436912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400" dirty="0">
                <a:solidFill>
                  <a:prstClr val="white"/>
                </a:solidFill>
                <a:latin typeface="Raleway" panose="020B0003030101060003" pitchFamily="34" charset="0"/>
              </a:rPr>
              <a:t>Private DIY Hosting </a:t>
            </a:r>
            <a:r>
              <a:rPr lang="en-US" dirty="0">
                <a:solidFill>
                  <a:prstClr val="white"/>
                </a:solidFill>
                <a:latin typeface="Raleway" panose="020B0003030101060003" pitchFamily="34" charset="0"/>
              </a:rPr>
              <a:t>(or Optional </a:t>
            </a:r>
            <a:r>
              <a:rPr lang="en-US" dirty="0" err="1">
                <a:solidFill>
                  <a:prstClr val="white"/>
                </a:solidFill>
                <a:latin typeface="Raleway" panose="020B0003030101060003" pitchFamily="34" charset="0"/>
              </a:rPr>
              <a:t>Korah</a:t>
            </a:r>
            <a:r>
              <a:rPr lang="en-US" dirty="0">
                <a:solidFill>
                  <a:prstClr val="white"/>
                </a:solidFill>
                <a:latin typeface="Raleway" panose="020B0003030101060003" pitchFamily="34" charset="0"/>
              </a:rPr>
              <a:t> Cloud-Based Solution)</a:t>
            </a:r>
            <a:endParaRPr lang="en-CA" sz="2400" dirty="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369742" y="2200244"/>
            <a:ext cx="9458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84CB"/>
                </a:solidFill>
                <a:latin typeface="Raleway" panose="020B0003030101060003" pitchFamily="34" charset="0"/>
              </a:rPr>
              <a:t>100%</a:t>
            </a:r>
            <a:endParaRPr lang="en-US" sz="2000" b="1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grpSp>
        <p:nvGrpSpPr>
          <p:cNvPr id="49" name="Group 18"/>
          <p:cNvGrpSpPr>
            <a:grpSpLocks noChangeAspect="1"/>
          </p:cNvGrpSpPr>
          <p:nvPr/>
        </p:nvGrpSpPr>
        <p:grpSpPr bwMode="auto">
          <a:xfrm>
            <a:off x="3485879" y="3617804"/>
            <a:ext cx="548640" cy="548640"/>
            <a:chOff x="2114" y="73"/>
            <a:chExt cx="3840" cy="3840"/>
          </a:xfrm>
          <a:solidFill>
            <a:srgbClr val="00C2F3"/>
          </a:solidFill>
        </p:grpSpPr>
        <p:sp>
          <p:nvSpPr>
            <p:cNvPr id="52" name="Freeform 20"/>
            <p:cNvSpPr>
              <a:spLocks noEditPoints="1"/>
            </p:cNvSpPr>
            <p:nvPr/>
          </p:nvSpPr>
          <p:spPr bwMode="auto">
            <a:xfrm>
              <a:off x="2114" y="73"/>
              <a:ext cx="3136" cy="3840"/>
            </a:xfrm>
            <a:custGeom>
              <a:avLst/>
              <a:gdLst>
                <a:gd name="T0" fmla="*/ 2465 w 3136"/>
                <a:gd name="T1" fmla="*/ 2758 h 3840"/>
                <a:gd name="T2" fmla="*/ 128 w 3136"/>
                <a:gd name="T3" fmla="*/ 2368 h 3840"/>
                <a:gd name="T4" fmla="*/ 2655 w 3136"/>
                <a:gd name="T5" fmla="*/ 2569 h 3840"/>
                <a:gd name="T6" fmla="*/ 2779 w 3136"/>
                <a:gd name="T7" fmla="*/ 2686 h 3840"/>
                <a:gd name="T8" fmla="*/ 128 w 3136"/>
                <a:gd name="T9" fmla="*/ 2240 h 3840"/>
                <a:gd name="T10" fmla="*/ 1293 w 3136"/>
                <a:gd name="T11" fmla="*/ 2452 h 3840"/>
                <a:gd name="T12" fmla="*/ 1523 w 3136"/>
                <a:gd name="T13" fmla="*/ 3024 h 3840"/>
                <a:gd name="T14" fmla="*/ 1997 w 3136"/>
                <a:gd name="T15" fmla="*/ 3335 h 3840"/>
                <a:gd name="T16" fmla="*/ 2405 w 3136"/>
                <a:gd name="T17" fmla="*/ 2880 h 3840"/>
                <a:gd name="T18" fmla="*/ 1884 w 3136"/>
                <a:gd name="T19" fmla="*/ 2250 h 3840"/>
                <a:gd name="T20" fmla="*/ 1024 w 3136"/>
                <a:gd name="T21" fmla="*/ 2394 h 3840"/>
                <a:gd name="T22" fmla="*/ 1187 w 3136"/>
                <a:gd name="T23" fmla="*/ 3002 h 3840"/>
                <a:gd name="T24" fmla="*/ 1644 w 3136"/>
                <a:gd name="T25" fmla="*/ 3523 h 3840"/>
                <a:gd name="T26" fmla="*/ 2278 w 3136"/>
                <a:gd name="T27" fmla="*/ 3456 h 3840"/>
                <a:gd name="T28" fmla="*/ 2455 w 3136"/>
                <a:gd name="T29" fmla="*/ 3048 h 3840"/>
                <a:gd name="T30" fmla="*/ 2027 w 3136"/>
                <a:gd name="T31" fmla="*/ 3468 h 3840"/>
                <a:gd name="T32" fmla="*/ 1736 w 3136"/>
                <a:gd name="T33" fmla="*/ 3415 h 3840"/>
                <a:gd name="T34" fmla="*/ 1328 w 3136"/>
                <a:gd name="T35" fmla="*/ 2954 h 3840"/>
                <a:gd name="T36" fmla="*/ 1155 w 3136"/>
                <a:gd name="T37" fmla="*/ 2361 h 3840"/>
                <a:gd name="T38" fmla="*/ 1216 w 3136"/>
                <a:gd name="T39" fmla="*/ 1856 h 3840"/>
                <a:gd name="T40" fmla="*/ 2688 w 3136"/>
                <a:gd name="T41" fmla="*/ 2240 h 3840"/>
                <a:gd name="T42" fmla="*/ 512 w 3136"/>
                <a:gd name="T43" fmla="*/ 1728 h 3840"/>
                <a:gd name="T44" fmla="*/ 627 w 3136"/>
                <a:gd name="T45" fmla="*/ 1627 h 3840"/>
                <a:gd name="T46" fmla="*/ 596 w 3136"/>
                <a:gd name="T47" fmla="*/ 3005 h 3840"/>
                <a:gd name="T48" fmla="*/ 173 w 3136"/>
                <a:gd name="T49" fmla="*/ 3259 h 3840"/>
                <a:gd name="T50" fmla="*/ 1190 w 3136"/>
                <a:gd name="T51" fmla="*/ 3243 h 3840"/>
                <a:gd name="T52" fmla="*/ 911 w 3136"/>
                <a:gd name="T53" fmla="*/ 2593 h 3840"/>
                <a:gd name="T54" fmla="*/ 940 w 3136"/>
                <a:gd name="T55" fmla="*/ 1603 h 3840"/>
                <a:gd name="T56" fmla="*/ 1098 w 3136"/>
                <a:gd name="T57" fmla="*/ 462 h 3840"/>
                <a:gd name="T58" fmla="*/ 784 w 3136"/>
                <a:gd name="T59" fmla="*/ 685 h 3840"/>
                <a:gd name="T60" fmla="*/ 1728 w 3136"/>
                <a:gd name="T61" fmla="*/ 1152 h 3840"/>
                <a:gd name="T62" fmla="*/ 1615 w 3136"/>
                <a:gd name="T63" fmla="*/ 640 h 3840"/>
                <a:gd name="T64" fmla="*/ 1275 w 3136"/>
                <a:gd name="T65" fmla="*/ 451 h 3840"/>
                <a:gd name="T66" fmla="*/ 860 w 3136"/>
                <a:gd name="T67" fmla="*/ 208 h 3840"/>
                <a:gd name="T68" fmla="*/ 498 w 3136"/>
                <a:gd name="T69" fmla="*/ 540 h 3840"/>
                <a:gd name="T70" fmla="*/ 384 w 3136"/>
                <a:gd name="T71" fmla="*/ 1152 h 3840"/>
                <a:gd name="T72" fmla="*/ 653 w 3136"/>
                <a:gd name="T73" fmla="*/ 655 h 3840"/>
                <a:gd name="T74" fmla="*/ 967 w 3136"/>
                <a:gd name="T75" fmla="*/ 370 h 3840"/>
                <a:gd name="T76" fmla="*/ 1406 w 3136"/>
                <a:gd name="T77" fmla="*/ 349 h 3840"/>
                <a:gd name="T78" fmla="*/ 1747 w 3136"/>
                <a:gd name="T79" fmla="*/ 603 h 3840"/>
                <a:gd name="T80" fmla="*/ 1856 w 3136"/>
                <a:gd name="T81" fmla="*/ 1152 h 3840"/>
                <a:gd name="T82" fmla="*/ 1968 w 3136"/>
                <a:gd name="T83" fmla="*/ 604 h 3840"/>
                <a:gd name="T84" fmla="*/ 1636 w 3136"/>
                <a:gd name="T85" fmla="*/ 242 h 3840"/>
                <a:gd name="T86" fmla="*/ 1216 w 3136"/>
                <a:gd name="T87" fmla="*/ 0 h 3840"/>
                <a:gd name="T88" fmla="*/ 1744 w 3136"/>
                <a:gd name="T89" fmla="*/ 158 h 3840"/>
                <a:gd name="T90" fmla="*/ 2092 w 3136"/>
                <a:gd name="T91" fmla="*/ 569 h 3840"/>
                <a:gd name="T92" fmla="*/ 2368 w 3136"/>
                <a:gd name="T93" fmla="*/ 1152 h 3840"/>
                <a:gd name="T94" fmla="*/ 2880 w 3136"/>
                <a:gd name="T95" fmla="*/ 1600 h 3840"/>
                <a:gd name="T96" fmla="*/ 3072 w 3136"/>
                <a:gd name="T97" fmla="*/ 2240 h 3840"/>
                <a:gd name="T98" fmla="*/ 2885 w 3136"/>
                <a:gd name="T99" fmla="*/ 2783 h 3840"/>
                <a:gd name="T100" fmla="*/ 3136 w 3136"/>
                <a:gd name="T101" fmla="*/ 3456 h 3840"/>
                <a:gd name="T102" fmla="*/ 2688 w 3136"/>
                <a:gd name="T103" fmla="*/ 3392 h 3840"/>
                <a:gd name="T104" fmla="*/ 2339 w 3136"/>
                <a:gd name="T105" fmla="*/ 3572 h 3840"/>
                <a:gd name="T106" fmla="*/ 1905 w 3136"/>
                <a:gd name="T107" fmla="*/ 3838 h 3840"/>
                <a:gd name="T108" fmla="*/ 1374 w 3136"/>
                <a:gd name="T109" fmla="*/ 3456 h 3840"/>
                <a:gd name="T110" fmla="*/ 79 w 3136"/>
                <a:gd name="T111" fmla="*/ 3345 h 3840"/>
                <a:gd name="T112" fmla="*/ 3 w 3136"/>
                <a:gd name="T113" fmla="*/ 1196 h 3840"/>
                <a:gd name="T114" fmla="*/ 259 w 3136"/>
                <a:gd name="T115" fmla="*/ 877 h 3840"/>
                <a:gd name="T116" fmla="*/ 461 w 3136"/>
                <a:gd name="T117" fmla="*/ 369 h 3840"/>
                <a:gd name="T118" fmla="*/ 898 w 3136"/>
                <a:gd name="T119" fmla="*/ 55 h 3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36" h="3840">
                  <a:moveTo>
                    <a:pt x="128" y="2688"/>
                  </a:moveTo>
                  <a:lnTo>
                    <a:pt x="128" y="2880"/>
                  </a:lnTo>
                  <a:lnTo>
                    <a:pt x="512" y="2880"/>
                  </a:lnTo>
                  <a:lnTo>
                    <a:pt x="512" y="2688"/>
                  </a:lnTo>
                  <a:lnTo>
                    <a:pt x="128" y="2688"/>
                  </a:lnTo>
                  <a:close/>
                  <a:moveTo>
                    <a:pt x="2075" y="2368"/>
                  </a:moveTo>
                  <a:lnTo>
                    <a:pt x="2465" y="2758"/>
                  </a:lnTo>
                  <a:lnTo>
                    <a:pt x="2491" y="2683"/>
                  </a:lnTo>
                  <a:lnTo>
                    <a:pt x="2515" y="2607"/>
                  </a:lnTo>
                  <a:lnTo>
                    <a:pt x="2533" y="2529"/>
                  </a:lnTo>
                  <a:lnTo>
                    <a:pt x="2547" y="2448"/>
                  </a:lnTo>
                  <a:lnTo>
                    <a:pt x="2557" y="2368"/>
                  </a:lnTo>
                  <a:lnTo>
                    <a:pt x="2075" y="2368"/>
                  </a:lnTo>
                  <a:close/>
                  <a:moveTo>
                    <a:pt x="128" y="2368"/>
                  </a:moveTo>
                  <a:lnTo>
                    <a:pt x="128" y="2560"/>
                  </a:lnTo>
                  <a:lnTo>
                    <a:pt x="512" y="2560"/>
                  </a:lnTo>
                  <a:lnTo>
                    <a:pt x="512" y="2368"/>
                  </a:lnTo>
                  <a:lnTo>
                    <a:pt x="128" y="2368"/>
                  </a:lnTo>
                  <a:close/>
                  <a:moveTo>
                    <a:pt x="2685" y="2368"/>
                  </a:moveTo>
                  <a:lnTo>
                    <a:pt x="2674" y="2469"/>
                  </a:lnTo>
                  <a:lnTo>
                    <a:pt x="2655" y="2569"/>
                  </a:lnTo>
                  <a:lnTo>
                    <a:pt x="2631" y="2667"/>
                  </a:lnTo>
                  <a:lnTo>
                    <a:pt x="2600" y="2762"/>
                  </a:lnTo>
                  <a:lnTo>
                    <a:pt x="2561" y="2854"/>
                  </a:lnTo>
                  <a:lnTo>
                    <a:pt x="2673" y="2966"/>
                  </a:lnTo>
                  <a:lnTo>
                    <a:pt x="2716" y="2874"/>
                  </a:lnTo>
                  <a:lnTo>
                    <a:pt x="2751" y="2781"/>
                  </a:lnTo>
                  <a:lnTo>
                    <a:pt x="2779" y="2686"/>
                  </a:lnTo>
                  <a:lnTo>
                    <a:pt x="2800" y="2589"/>
                  </a:lnTo>
                  <a:lnTo>
                    <a:pt x="2811" y="2491"/>
                  </a:lnTo>
                  <a:lnTo>
                    <a:pt x="2816" y="2394"/>
                  </a:lnTo>
                  <a:lnTo>
                    <a:pt x="2816" y="2368"/>
                  </a:lnTo>
                  <a:lnTo>
                    <a:pt x="2685" y="2368"/>
                  </a:lnTo>
                  <a:close/>
                  <a:moveTo>
                    <a:pt x="128" y="2048"/>
                  </a:moveTo>
                  <a:lnTo>
                    <a:pt x="128" y="2240"/>
                  </a:lnTo>
                  <a:lnTo>
                    <a:pt x="512" y="2240"/>
                  </a:lnTo>
                  <a:lnTo>
                    <a:pt x="512" y="2048"/>
                  </a:lnTo>
                  <a:lnTo>
                    <a:pt x="128" y="2048"/>
                  </a:lnTo>
                  <a:close/>
                  <a:moveTo>
                    <a:pt x="1280" y="1984"/>
                  </a:moveTo>
                  <a:lnTo>
                    <a:pt x="1280" y="2270"/>
                  </a:lnTo>
                  <a:lnTo>
                    <a:pt x="1283" y="2361"/>
                  </a:lnTo>
                  <a:lnTo>
                    <a:pt x="1293" y="2452"/>
                  </a:lnTo>
                  <a:lnTo>
                    <a:pt x="1309" y="2540"/>
                  </a:lnTo>
                  <a:lnTo>
                    <a:pt x="1330" y="2627"/>
                  </a:lnTo>
                  <a:lnTo>
                    <a:pt x="1358" y="2711"/>
                  </a:lnTo>
                  <a:lnTo>
                    <a:pt x="1392" y="2794"/>
                  </a:lnTo>
                  <a:lnTo>
                    <a:pt x="1430" y="2874"/>
                  </a:lnTo>
                  <a:lnTo>
                    <a:pt x="1474" y="2951"/>
                  </a:lnTo>
                  <a:lnTo>
                    <a:pt x="1523" y="3024"/>
                  </a:lnTo>
                  <a:lnTo>
                    <a:pt x="1578" y="3094"/>
                  </a:lnTo>
                  <a:lnTo>
                    <a:pt x="1637" y="3160"/>
                  </a:lnTo>
                  <a:lnTo>
                    <a:pt x="1701" y="3223"/>
                  </a:lnTo>
                  <a:lnTo>
                    <a:pt x="1770" y="3280"/>
                  </a:lnTo>
                  <a:lnTo>
                    <a:pt x="1843" y="3334"/>
                  </a:lnTo>
                  <a:lnTo>
                    <a:pt x="1920" y="3383"/>
                  </a:lnTo>
                  <a:lnTo>
                    <a:pt x="1997" y="3335"/>
                  </a:lnTo>
                  <a:lnTo>
                    <a:pt x="2069" y="3281"/>
                  </a:lnTo>
                  <a:lnTo>
                    <a:pt x="2136" y="3224"/>
                  </a:lnTo>
                  <a:lnTo>
                    <a:pt x="2199" y="3163"/>
                  </a:lnTo>
                  <a:lnTo>
                    <a:pt x="2259" y="3098"/>
                  </a:lnTo>
                  <a:lnTo>
                    <a:pt x="2312" y="3029"/>
                  </a:lnTo>
                  <a:lnTo>
                    <a:pt x="2361" y="2956"/>
                  </a:lnTo>
                  <a:lnTo>
                    <a:pt x="2405" y="2880"/>
                  </a:lnTo>
                  <a:lnTo>
                    <a:pt x="1875" y="2349"/>
                  </a:lnTo>
                  <a:lnTo>
                    <a:pt x="1863" y="2334"/>
                  </a:lnTo>
                  <a:lnTo>
                    <a:pt x="1857" y="2317"/>
                  </a:lnTo>
                  <a:lnTo>
                    <a:pt x="1856" y="2298"/>
                  </a:lnTo>
                  <a:lnTo>
                    <a:pt x="1861" y="2280"/>
                  </a:lnTo>
                  <a:lnTo>
                    <a:pt x="1871" y="2263"/>
                  </a:lnTo>
                  <a:lnTo>
                    <a:pt x="1884" y="2250"/>
                  </a:lnTo>
                  <a:lnTo>
                    <a:pt x="1901" y="2242"/>
                  </a:lnTo>
                  <a:lnTo>
                    <a:pt x="1920" y="2240"/>
                  </a:lnTo>
                  <a:lnTo>
                    <a:pt x="2560" y="2240"/>
                  </a:lnTo>
                  <a:lnTo>
                    <a:pt x="2560" y="1984"/>
                  </a:lnTo>
                  <a:lnTo>
                    <a:pt x="1280" y="1984"/>
                  </a:lnTo>
                  <a:close/>
                  <a:moveTo>
                    <a:pt x="1024" y="1728"/>
                  </a:moveTo>
                  <a:lnTo>
                    <a:pt x="1024" y="2394"/>
                  </a:lnTo>
                  <a:lnTo>
                    <a:pt x="1027" y="2483"/>
                  </a:lnTo>
                  <a:lnTo>
                    <a:pt x="1038" y="2573"/>
                  </a:lnTo>
                  <a:lnTo>
                    <a:pt x="1054" y="2661"/>
                  </a:lnTo>
                  <a:lnTo>
                    <a:pt x="1079" y="2749"/>
                  </a:lnTo>
                  <a:lnTo>
                    <a:pt x="1108" y="2835"/>
                  </a:lnTo>
                  <a:lnTo>
                    <a:pt x="1144" y="2920"/>
                  </a:lnTo>
                  <a:lnTo>
                    <a:pt x="1187" y="3002"/>
                  </a:lnTo>
                  <a:lnTo>
                    <a:pt x="1235" y="3084"/>
                  </a:lnTo>
                  <a:lnTo>
                    <a:pt x="1289" y="3163"/>
                  </a:lnTo>
                  <a:lnTo>
                    <a:pt x="1350" y="3241"/>
                  </a:lnTo>
                  <a:lnTo>
                    <a:pt x="1415" y="3315"/>
                  </a:lnTo>
                  <a:lnTo>
                    <a:pt x="1486" y="3387"/>
                  </a:lnTo>
                  <a:lnTo>
                    <a:pt x="1563" y="3457"/>
                  </a:lnTo>
                  <a:lnTo>
                    <a:pt x="1644" y="3523"/>
                  </a:lnTo>
                  <a:lnTo>
                    <a:pt x="1731" y="3586"/>
                  </a:lnTo>
                  <a:lnTo>
                    <a:pt x="1823" y="3647"/>
                  </a:lnTo>
                  <a:lnTo>
                    <a:pt x="1920" y="3703"/>
                  </a:lnTo>
                  <a:lnTo>
                    <a:pt x="2017" y="3647"/>
                  </a:lnTo>
                  <a:lnTo>
                    <a:pt x="2110" y="3586"/>
                  </a:lnTo>
                  <a:lnTo>
                    <a:pt x="2197" y="3522"/>
                  </a:lnTo>
                  <a:lnTo>
                    <a:pt x="2278" y="3456"/>
                  </a:lnTo>
                  <a:lnTo>
                    <a:pt x="2355" y="3386"/>
                  </a:lnTo>
                  <a:lnTo>
                    <a:pt x="2426" y="3313"/>
                  </a:lnTo>
                  <a:lnTo>
                    <a:pt x="2491" y="3238"/>
                  </a:lnTo>
                  <a:lnTo>
                    <a:pt x="2552" y="3160"/>
                  </a:lnTo>
                  <a:lnTo>
                    <a:pt x="2607" y="3080"/>
                  </a:lnTo>
                  <a:lnTo>
                    <a:pt x="2499" y="2974"/>
                  </a:lnTo>
                  <a:lnTo>
                    <a:pt x="2455" y="3048"/>
                  </a:lnTo>
                  <a:lnTo>
                    <a:pt x="2406" y="3117"/>
                  </a:lnTo>
                  <a:lnTo>
                    <a:pt x="2353" y="3185"/>
                  </a:lnTo>
                  <a:lnTo>
                    <a:pt x="2295" y="3248"/>
                  </a:lnTo>
                  <a:lnTo>
                    <a:pt x="2234" y="3308"/>
                  </a:lnTo>
                  <a:lnTo>
                    <a:pt x="2169" y="3365"/>
                  </a:lnTo>
                  <a:lnTo>
                    <a:pt x="2099" y="3419"/>
                  </a:lnTo>
                  <a:lnTo>
                    <a:pt x="2027" y="3468"/>
                  </a:lnTo>
                  <a:lnTo>
                    <a:pt x="1950" y="3512"/>
                  </a:lnTo>
                  <a:lnTo>
                    <a:pt x="1936" y="3518"/>
                  </a:lnTo>
                  <a:lnTo>
                    <a:pt x="1920" y="3520"/>
                  </a:lnTo>
                  <a:lnTo>
                    <a:pt x="1904" y="3518"/>
                  </a:lnTo>
                  <a:lnTo>
                    <a:pt x="1890" y="3512"/>
                  </a:lnTo>
                  <a:lnTo>
                    <a:pt x="1811" y="3466"/>
                  </a:lnTo>
                  <a:lnTo>
                    <a:pt x="1736" y="3415"/>
                  </a:lnTo>
                  <a:lnTo>
                    <a:pt x="1665" y="3361"/>
                  </a:lnTo>
                  <a:lnTo>
                    <a:pt x="1599" y="3301"/>
                  </a:lnTo>
                  <a:lnTo>
                    <a:pt x="1536" y="3238"/>
                  </a:lnTo>
                  <a:lnTo>
                    <a:pt x="1477" y="3172"/>
                  </a:lnTo>
                  <a:lnTo>
                    <a:pt x="1423" y="3102"/>
                  </a:lnTo>
                  <a:lnTo>
                    <a:pt x="1373" y="3030"/>
                  </a:lnTo>
                  <a:lnTo>
                    <a:pt x="1328" y="2954"/>
                  </a:lnTo>
                  <a:lnTo>
                    <a:pt x="1288" y="2875"/>
                  </a:lnTo>
                  <a:lnTo>
                    <a:pt x="1253" y="2795"/>
                  </a:lnTo>
                  <a:lnTo>
                    <a:pt x="1223" y="2711"/>
                  </a:lnTo>
                  <a:lnTo>
                    <a:pt x="1197" y="2626"/>
                  </a:lnTo>
                  <a:lnTo>
                    <a:pt x="1178" y="2539"/>
                  </a:lnTo>
                  <a:lnTo>
                    <a:pt x="1164" y="2451"/>
                  </a:lnTo>
                  <a:lnTo>
                    <a:pt x="1155" y="2361"/>
                  </a:lnTo>
                  <a:lnTo>
                    <a:pt x="1152" y="2270"/>
                  </a:lnTo>
                  <a:lnTo>
                    <a:pt x="1152" y="1920"/>
                  </a:lnTo>
                  <a:lnTo>
                    <a:pt x="1155" y="1900"/>
                  </a:lnTo>
                  <a:lnTo>
                    <a:pt x="1165" y="1883"/>
                  </a:lnTo>
                  <a:lnTo>
                    <a:pt x="1179" y="1869"/>
                  </a:lnTo>
                  <a:lnTo>
                    <a:pt x="1196" y="1859"/>
                  </a:lnTo>
                  <a:lnTo>
                    <a:pt x="1216" y="1856"/>
                  </a:lnTo>
                  <a:lnTo>
                    <a:pt x="2624" y="1856"/>
                  </a:lnTo>
                  <a:lnTo>
                    <a:pt x="2644" y="1859"/>
                  </a:lnTo>
                  <a:lnTo>
                    <a:pt x="2661" y="1869"/>
                  </a:lnTo>
                  <a:lnTo>
                    <a:pt x="2675" y="1883"/>
                  </a:lnTo>
                  <a:lnTo>
                    <a:pt x="2685" y="1900"/>
                  </a:lnTo>
                  <a:lnTo>
                    <a:pt x="2688" y="1920"/>
                  </a:lnTo>
                  <a:lnTo>
                    <a:pt x="2688" y="2240"/>
                  </a:lnTo>
                  <a:lnTo>
                    <a:pt x="2816" y="2240"/>
                  </a:lnTo>
                  <a:lnTo>
                    <a:pt x="2816" y="1728"/>
                  </a:lnTo>
                  <a:lnTo>
                    <a:pt x="1024" y="1728"/>
                  </a:lnTo>
                  <a:close/>
                  <a:moveTo>
                    <a:pt x="128" y="1728"/>
                  </a:moveTo>
                  <a:lnTo>
                    <a:pt x="128" y="1920"/>
                  </a:lnTo>
                  <a:lnTo>
                    <a:pt x="512" y="1920"/>
                  </a:lnTo>
                  <a:lnTo>
                    <a:pt x="512" y="1728"/>
                  </a:lnTo>
                  <a:lnTo>
                    <a:pt x="128" y="1728"/>
                  </a:lnTo>
                  <a:close/>
                  <a:moveTo>
                    <a:pt x="128" y="1280"/>
                  </a:moveTo>
                  <a:lnTo>
                    <a:pt x="128" y="1600"/>
                  </a:lnTo>
                  <a:lnTo>
                    <a:pt x="576" y="1600"/>
                  </a:lnTo>
                  <a:lnTo>
                    <a:pt x="596" y="1603"/>
                  </a:lnTo>
                  <a:lnTo>
                    <a:pt x="613" y="1613"/>
                  </a:lnTo>
                  <a:lnTo>
                    <a:pt x="627" y="1627"/>
                  </a:lnTo>
                  <a:lnTo>
                    <a:pt x="637" y="1644"/>
                  </a:lnTo>
                  <a:lnTo>
                    <a:pt x="640" y="1664"/>
                  </a:lnTo>
                  <a:lnTo>
                    <a:pt x="640" y="2944"/>
                  </a:lnTo>
                  <a:lnTo>
                    <a:pt x="637" y="2964"/>
                  </a:lnTo>
                  <a:lnTo>
                    <a:pt x="627" y="2981"/>
                  </a:lnTo>
                  <a:lnTo>
                    <a:pt x="613" y="2995"/>
                  </a:lnTo>
                  <a:lnTo>
                    <a:pt x="596" y="3005"/>
                  </a:lnTo>
                  <a:lnTo>
                    <a:pt x="576" y="3008"/>
                  </a:lnTo>
                  <a:lnTo>
                    <a:pt x="128" y="3008"/>
                  </a:lnTo>
                  <a:lnTo>
                    <a:pt x="128" y="3136"/>
                  </a:lnTo>
                  <a:lnTo>
                    <a:pt x="131" y="3171"/>
                  </a:lnTo>
                  <a:lnTo>
                    <a:pt x="140" y="3203"/>
                  </a:lnTo>
                  <a:lnTo>
                    <a:pt x="155" y="3233"/>
                  </a:lnTo>
                  <a:lnTo>
                    <a:pt x="173" y="3259"/>
                  </a:lnTo>
                  <a:lnTo>
                    <a:pt x="197" y="3283"/>
                  </a:lnTo>
                  <a:lnTo>
                    <a:pt x="223" y="3301"/>
                  </a:lnTo>
                  <a:lnTo>
                    <a:pt x="253" y="3316"/>
                  </a:lnTo>
                  <a:lnTo>
                    <a:pt x="285" y="3325"/>
                  </a:lnTo>
                  <a:lnTo>
                    <a:pt x="320" y="3328"/>
                  </a:lnTo>
                  <a:lnTo>
                    <a:pt x="1257" y="3328"/>
                  </a:lnTo>
                  <a:lnTo>
                    <a:pt x="1190" y="3243"/>
                  </a:lnTo>
                  <a:lnTo>
                    <a:pt x="1130" y="3157"/>
                  </a:lnTo>
                  <a:lnTo>
                    <a:pt x="1076" y="3067"/>
                  </a:lnTo>
                  <a:lnTo>
                    <a:pt x="1030" y="2975"/>
                  </a:lnTo>
                  <a:lnTo>
                    <a:pt x="989" y="2882"/>
                  </a:lnTo>
                  <a:lnTo>
                    <a:pt x="957" y="2787"/>
                  </a:lnTo>
                  <a:lnTo>
                    <a:pt x="930" y="2690"/>
                  </a:lnTo>
                  <a:lnTo>
                    <a:pt x="911" y="2593"/>
                  </a:lnTo>
                  <a:lnTo>
                    <a:pt x="899" y="2494"/>
                  </a:lnTo>
                  <a:lnTo>
                    <a:pt x="896" y="2394"/>
                  </a:lnTo>
                  <a:lnTo>
                    <a:pt x="896" y="1664"/>
                  </a:lnTo>
                  <a:lnTo>
                    <a:pt x="899" y="1644"/>
                  </a:lnTo>
                  <a:lnTo>
                    <a:pt x="909" y="1627"/>
                  </a:lnTo>
                  <a:lnTo>
                    <a:pt x="923" y="1613"/>
                  </a:lnTo>
                  <a:lnTo>
                    <a:pt x="940" y="1603"/>
                  </a:lnTo>
                  <a:lnTo>
                    <a:pt x="960" y="1600"/>
                  </a:lnTo>
                  <a:lnTo>
                    <a:pt x="2304" y="1600"/>
                  </a:lnTo>
                  <a:lnTo>
                    <a:pt x="2304" y="1280"/>
                  </a:lnTo>
                  <a:lnTo>
                    <a:pt x="128" y="1280"/>
                  </a:lnTo>
                  <a:close/>
                  <a:moveTo>
                    <a:pt x="1216" y="448"/>
                  </a:moveTo>
                  <a:lnTo>
                    <a:pt x="1157" y="451"/>
                  </a:lnTo>
                  <a:lnTo>
                    <a:pt x="1098" y="462"/>
                  </a:lnTo>
                  <a:lnTo>
                    <a:pt x="1044" y="478"/>
                  </a:lnTo>
                  <a:lnTo>
                    <a:pt x="991" y="500"/>
                  </a:lnTo>
                  <a:lnTo>
                    <a:pt x="941" y="528"/>
                  </a:lnTo>
                  <a:lnTo>
                    <a:pt x="896" y="561"/>
                  </a:lnTo>
                  <a:lnTo>
                    <a:pt x="854" y="598"/>
                  </a:lnTo>
                  <a:lnTo>
                    <a:pt x="817" y="640"/>
                  </a:lnTo>
                  <a:lnTo>
                    <a:pt x="784" y="685"/>
                  </a:lnTo>
                  <a:lnTo>
                    <a:pt x="756" y="735"/>
                  </a:lnTo>
                  <a:lnTo>
                    <a:pt x="734" y="788"/>
                  </a:lnTo>
                  <a:lnTo>
                    <a:pt x="718" y="842"/>
                  </a:lnTo>
                  <a:lnTo>
                    <a:pt x="707" y="901"/>
                  </a:lnTo>
                  <a:lnTo>
                    <a:pt x="704" y="960"/>
                  </a:lnTo>
                  <a:lnTo>
                    <a:pt x="704" y="1152"/>
                  </a:lnTo>
                  <a:lnTo>
                    <a:pt x="1728" y="1152"/>
                  </a:lnTo>
                  <a:lnTo>
                    <a:pt x="1728" y="960"/>
                  </a:lnTo>
                  <a:lnTo>
                    <a:pt x="1725" y="901"/>
                  </a:lnTo>
                  <a:lnTo>
                    <a:pt x="1714" y="842"/>
                  </a:lnTo>
                  <a:lnTo>
                    <a:pt x="1698" y="788"/>
                  </a:lnTo>
                  <a:lnTo>
                    <a:pt x="1676" y="735"/>
                  </a:lnTo>
                  <a:lnTo>
                    <a:pt x="1648" y="685"/>
                  </a:lnTo>
                  <a:lnTo>
                    <a:pt x="1615" y="640"/>
                  </a:lnTo>
                  <a:lnTo>
                    <a:pt x="1578" y="598"/>
                  </a:lnTo>
                  <a:lnTo>
                    <a:pt x="1536" y="561"/>
                  </a:lnTo>
                  <a:lnTo>
                    <a:pt x="1491" y="528"/>
                  </a:lnTo>
                  <a:lnTo>
                    <a:pt x="1441" y="500"/>
                  </a:lnTo>
                  <a:lnTo>
                    <a:pt x="1388" y="478"/>
                  </a:lnTo>
                  <a:lnTo>
                    <a:pt x="1334" y="462"/>
                  </a:lnTo>
                  <a:lnTo>
                    <a:pt x="1275" y="451"/>
                  </a:lnTo>
                  <a:lnTo>
                    <a:pt x="1216" y="448"/>
                  </a:lnTo>
                  <a:close/>
                  <a:moveTo>
                    <a:pt x="1216" y="128"/>
                  </a:moveTo>
                  <a:lnTo>
                    <a:pt x="1140" y="131"/>
                  </a:lnTo>
                  <a:lnTo>
                    <a:pt x="1067" y="142"/>
                  </a:lnTo>
                  <a:lnTo>
                    <a:pt x="995" y="158"/>
                  </a:lnTo>
                  <a:lnTo>
                    <a:pt x="926" y="180"/>
                  </a:lnTo>
                  <a:lnTo>
                    <a:pt x="860" y="208"/>
                  </a:lnTo>
                  <a:lnTo>
                    <a:pt x="796" y="242"/>
                  </a:lnTo>
                  <a:lnTo>
                    <a:pt x="737" y="280"/>
                  </a:lnTo>
                  <a:lnTo>
                    <a:pt x="681" y="323"/>
                  </a:lnTo>
                  <a:lnTo>
                    <a:pt x="628" y="372"/>
                  </a:lnTo>
                  <a:lnTo>
                    <a:pt x="579" y="425"/>
                  </a:lnTo>
                  <a:lnTo>
                    <a:pt x="536" y="481"/>
                  </a:lnTo>
                  <a:lnTo>
                    <a:pt x="498" y="540"/>
                  </a:lnTo>
                  <a:lnTo>
                    <a:pt x="464" y="604"/>
                  </a:lnTo>
                  <a:lnTo>
                    <a:pt x="436" y="670"/>
                  </a:lnTo>
                  <a:lnTo>
                    <a:pt x="414" y="739"/>
                  </a:lnTo>
                  <a:lnTo>
                    <a:pt x="398" y="811"/>
                  </a:lnTo>
                  <a:lnTo>
                    <a:pt x="387" y="884"/>
                  </a:lnTo>
                  <a:lnTo>
                    <a:pt x="384" y="960"/>
                  </a:lnTo>
                  <a:lnTo>
                    <a:pt x="384" y="1152"/>
                  </a:lnTo>
                  <a:lnTo>
                    <a:pt x="576" y="1152"/>
                  </a:lnTo>
                  <a:lnTo>
                    <a:pt x="576" y="960"/>
                  </a:lnTo>
                  <a:lnTo>
                    <a:pt x="579" y="895"/>
                  </a:lnTo>
                  <a:lnTo>
                    <a:pt x="589" y="831"/>
                  </a:lnTo>
                  <a:lnTo>
                    <a:pt x="605" y="770"/>
                  </a:lnTo>
                  <a:lnTo>
                    <a:pt x="626" y="711"/>
                  </a:lnTo>
                  <a:lnTo>
                    <a:pt x="653" y="655"/>
                  </a:lnTo>
                  <a:lnTo>
                    <a:pt x="685" y="603"/>
                  </a:lnTo>
                  <a:lnTo>
                    <a:pt x="723" y="553"/>
                  </a:lnTo>
                  <a:lnTo>
                    <a:pt x="763" y="507"/>
                  </a:lnTo>
                  <a:lnTo>
                    <a:pt x="809" y="467"/>
                  </a:lnTo>
                  <a:lnTo>
                    <a:pt x="859" y="429"/>
                  </a:lnTo>
                  <a:lnTo>
                    <a:pt x="911" y="397"/>
                  </a:lnTo>
                  <a:lnTo>
                    <a:pt x="967" y="370"/>
                  </a:lnTo>
                  <a:lnTo>
                    <a:pt x="1026" y="349"/>
                  </a:lnTo>
                  <a:lnTo>
                    <a:pt x="1087" y="333"/>
                  </a:lnTo>
                  <a:lnTo>
                    <a:pt x="1151" y="323"/>
                  </a:lnTo>
                  <a:lnTo>
                    <a:pt x="1216" y="320"/>
                  </a:lnTo>
                  <a:lnTo>
                    <a:pt x="1281" y="323"/>
                  </a:lnTo>
                  <a:lnTo>
                    <a:pt x="1345" y="333"/>
                  </a:lnTo>
                  <a:lnTo>
                    <a:pt x="1406" y="349"/>
                  </a:lnTo>
                  <a:lnTo>
                    <a:pt x="1465" y="370"/>
                  </a:lnTo>
                  <a:lnTo>
                    <a:pt x="1521" y="397"/>
                  </a:lnTo>
                  <a:lnTo>
                    <a:pt x="1573" y="429"/>
                  </a:lnTo>
                  <a:lnTo>
                    <a:pt x="1623" y="467"/>
                  </a:lnTo>
                  <a:lnTo>
                    <a:pt x="1669" y="507"/>
                  </a:lnTo>
                  <a:lnTo>
                    <a:pt x="1709" y="553"/>
                  </a:lnTo>
                  <a:lnTo>
                    <a:pt x="1747" y="603"/>
                  </a:lnTo>
                  <a:lnTo>
                    <a:pt x="1779" y="655"/>
                  </a:lnTo>
                  <a:lnTo>
                    <a:pt x="1806" y="711"/>
                  </a:lnTo>
                  <a:lnTo>
                    <a:pt x="1827" y="770"/>
                  </a:lnTo>
                  <a:lnTo>
                    <a:pt x="1843" y="831"/>
                  </a:lnTo>
                  <a:lnTo>
                    <a:pt x="1853" y="895"/>
                  </a:lnTo>
                  <a:lnTo>
                    <a:pt x="1856" y="960"/>
                  </a:lnTo>
                  <a:lnTo>
                    <a:pt x="1856" y="1152"/>
                  </a:lnTo>
                  <a:lnTo>
                    <a:pt x="2048" y="1152"/>
                  </a:lnTo>
                  <a:lnTo>
                    <a:pt x="2048" y="960"/>
                  </a:lnTo>
                  <a:lnTo>
                    <a:pt x="2045" y="884"/>
                  </a:lnTo>
                  <a:lnTo>
                    <a:pt x="2034" y="811"/>
                  </a:lnTo>
                  <a:lnTo>
                    <a:pt x="2018" y="739"/>
                  </a:lnTo>
                  <a:lnTo>
                    <a:pt x="1996" y="670"/>
                  </a:lnTo>
                  <a:lnTo>
                    <a:pt x="1968" y="604"/>
                  </a:lnTo>
                  <a:lnTo>
                    <a:pt x="1934" y="540"/>
                  </a:lnTo>
                  <a:lnTo>
                    <a:pt x="1896" y="481"/>
                  </a:lnTo>
                  <a:lnTo>
                    <a:pt x="1853" y="425"/>
                  </a:lnTo>
                  <a:lnTo>
                    <a:pt x="1804" y="372"/>
                  </a:lnTo>
                  <a:lnTo>
                    <a:pt x="1751" y="323"/>
                  </a:lnTo>
                  <a:lnTo>
                    <a:pt x="1695" y="280"/>
                  </a:lnTo>
                  <a:lnTo>
                    <a:pt x="1636" y="242"/>
                  </a:lnTo>
                  <a:lnTo>
                    <a:pt x="1572" y="208"/>
                  </a:lnTo>
                  <a:lnTo>
                    <a:pt x="1506" y="180"/>
                  </a:lnTo>
                  <a:lnTo>
                    <a:pt x="1437" y="158"/>
                  </a:lnTo>
                  <a:lnTo>
                    <a:pt x="1365" y="142"/>
                  </a:lnTo>
                  <a:lnTo>
                    <a:pt x="1292" y="131"/>
                  </a:lnTo>
                  <a:lnTo>
                    <a:pt x="1216" y="128"/>
                  </a:lnTo>
                  <a:close/>
                  <a:moveTo>
                    <a:pt x="1216" y="0"/>
                  </a:moveTo>
                  <a:lnTo>
                    <a:pt x="1299" y="3"/>
                  </a:lnTo>
                  <a:lnTo>
                    <a:pt x="1380" y="14"/>
                  </a:lnTo>
                  <a:lnTo>
                    <a:pt x="1458" y="31"/>
                  </a:lnTo>
                  <a:lnTo>
                    <a:pt x="1534" y="55"/>
                  </a:lnTo>
                  <a:lnTo>
                    <a:pt x="1607" y="84"/>
                  </a:lnTo>
                  <a:lnTo>
                    <a:pt x="1678" y="119"/>
                  </a:lnTo>
                  <a:lnTo>
                    <a:pt x="1744" y="158"/>
                  </a:lnTo>
                  <a:lnTo>
                    <a:pt x="1807" y="205"/>
                  </a:lnTo>
                  <a:lnTo>
                    <a:pt x="1866" y="255"/>
                  </a:lnTo>
                  <a:lnTo>
                    <a:pt x="1921" y="310"/>
                  </a:lnTo>
                  <a:lnTo>
                    <a:pt x="1971" y="369"/>
                  </a:lnTo>
                  <a:lnTo>
                    <a:pt x="2018" y="432"/>
                  </a:lnTo>
                  <a:lnTo>
                    <a:pt x="2057" y="498"/>
                  </a:lnTo>
                  <a:lnTo>
                    <a:pt x="2092" y="569"/>
                  </a:lnTo>
                  <a:lnTo>
                    <a:pt x="2121" y="642"/>
                  </a:lnTo>
                  <a:lnTo>
                    <a:pt x="2145" y="718"/>
                  </a:lnTo>
                  <a:lnTo>
                    <a:pt x="2162" y="796"/>
                  </a:lnTo>
                  <a:lnTo>
                    <a:pt x="2173" y="877"/>
                  </a:lnTo>
                  <a:lnTo>
                    <a:pt x="2176" y="960"/>
                  </a:lnTo>
                  <a:lnTo>
                    <a:pt x="2176" y="1152"/>
                  </a:lnTo>
                  <a:lnTo>
                    <a:pt x="2368" y="1152"/>
                  </a:lnTo>
                  <a:lnTo>
                    <a:pt x="2388" y="1155"/>
                  </a:lnTo>
                  <a:lnTo>
                    <a:pt x="2405" y="1165"/>
                  </a:lnTo>
                  <a:lnTo>
                    <a:pt x="2419" y="1179"/>
                  </a:lnTo>
                  <a:lnTo>
                    <a:pt x="2429" y="1196"/>
                  </a:lnTo>
                  <a:lnTo>
                    <a:pt x="2432" y="1216"/>
                  </a:lnTo>
                  <a:lnTo>
                    <a:pt x="2432" y="1600"/>
                  </a:lnTo>
                  <a:lnTo>
                    <a:pt x="2880" y="1600"/>
                  </a:lnTo>
                  <a:lnTo>
                    <a:pt x="2900" y="1603"/>
                  </a:lnTo>
                  <a:lnTo>
                    <a:pt x="2917" y="1613"/>
                  </a:lnTo>
                  <a:lnTo>
                    <a:pt x="2931" y="1627"/>
                  </a:lnTo>
                  <a:lnTo>
                    <a:pt x="2941" y="1644"/>
                  </a:lnTo>
                  <a:lnTo>
                    <a:pt x="2944" y="1664"/>
                  </a:lnTo>
                  <a:lnTo>
                    <a:pt x="2944" y="2240"/>
                  </a:lnTo>
                  <a:lnTo>
                    <a:pt x="3072" y="2240"/>
                  </a:lnTo>
                  <a:lnTo>
                    <a:pt x="3072" y="2368"/>
                  </a:lnTo>
                  <a:lnTo>
                    <a:pt x="2944" y="2368"/>
                  </a:lnTo>
                  <a:lnTo>
                    <a:pt x="2944" y="2394"/>
                  </a:lnTo>
                  <a:lnTo>
                    <a:pt x="2941" y="2493"/>
                  </a:lnTo>
                  <a:lnTo>
                    <a:pt x="2929" y="2590"/>
                  </a:lnTo>
                  <a:lnTo>
                    <a:pt x="2910" y="2687"/>
                  </a:lnTo>
                  <a:lnTo>
                    <a:pt x="2885" y="2783"/>
                  </a:lnTo>
                  <a:lnTo>
                    <a:pt x="2852" y="2877"/>
                  </a:lnTo>
                  <a:lnTo>
                    <a:pt x="2813" y="2970"/>
                  </a:lnTo>
                  <a:lnTo>
                    <a:pt x="2767" y="3060"/>
                  </a:lnTo>
                  <a:lnTo>
                    <a:pt x="3008" y="3301"/>
                  </a:lnTo>
                  <a:lnTo>
                    <a:pt x="3008" y="3072"/>
                  </a:lnTo>
                  <a:lnTo>
                    <a:pt x="3136" y="3072"/>
                  </a:lnTo>
                  <a:lnTo>
                    <a:pt x="3136" y="3456"/>
                  </a:lnTo>
                  <a:lnTo>
                    <a:pt x="3133" y="3476"/>
                  </a:lnTo>
                  <a:lnTo>
                    <a:pt x="3123" y="3493"/>
                  </a:lnTo>
                  <a:lnTo>
                    <a:pt x="3109" y="3507"/>
                  </a:lnTo>
                  <a:lnTo>
                    <a:pt x="3092" y="3517"/>
                  </a:lnTo>
                  <a:lnTo>
                    <a:pt x="3072" y="3520"/>
                  </a:lnTo>
                  <a:lnTo>
                    <a:pt x="2688" y="3520"/>
                  </a:lnTo>
                  <a:lnTo>
                    <a:pt x="2688" y="3392"/>
                  </a:lnTo>
                  <a:lnTo>
                    <a:pt x="2917" y="3392"/>
                  </a:lnTo>
                  <a:lnTo>
                    <a:pt x="2698" y="3173"/>
                  </a:lnTo>
                  <a:lnTo>
                    <a:pt x="2639" y="3258"/>
                  </a:lnTo>
                  <a:lnTo>
                    <a:pt x="2573" y="3341"/>
                  </a:lnTo>
                  <a:lnTo>
                    <a:pt x="2501" y="3421"/>
                  </a:lnTo>
                  <a:lnTo>
                    <a:pt x="2423" y="3498"/>
                  </a:lnTo>
                  <a:lnTo>
                    <a:pt x="2339" y="3572"/>
                  </a:lnTo>
                  <a:lnTo>
                    <a:pt x="2249" y="3642"/>
                  </a:lnTo>
                  <a:lnTo>
                    <a:pt x="2155" y="3710"/>
                  </a:lnTo>
                  <a:lnTo>
                    <a:pt x="2055" y="3773"/>
                  </a:lnTo>
                  <a:lnTo>
                    <a:pt x="1950" y="3833"/>
                  </a:lnTo>
                  <a:lnTo>
                    <a:pt x="1935" y="3838"/>
                  </a:lnTo>
                  <a:lnTo>
                    <a:pt x="1920" y="3840"/>
                  </a:lnTo>
                  <a:lnTo>
                    <a:pt x="1905" y="3838"/>
                  </a:lnTo>
                  <a:lnTo>
                    <a:pt x="1890" y="3833"/>
                  </a:lnTo>
                  <a:lnTo>
                    <a:pt x="1792" y="3777"/>
                  </a:lnTo>
                  <a:lnTo>
                    <a:pt x="1700" y="3719"/>
                  </a:lnTo>
                  <a:lnTo>
                    <a:pt x="1612" y="3658"/>
                  </a:lnTo>
                  <a:lnTo>
                    <a:pt x="1527" y="3593"/>
                  </a:lnTo>
                  <a:lnTo>
                    <a:pt x="1448" y="3526"/>
                  </a:lnTo>
                  <a:lnTo>
                    <a:pt x="1374" y="3456"/>
                  </a:lnTo>
                  <a:lnTo>
                    <a:pt x="320" y="3456"/>
                  </a:lnTo>
                  <a:lnTo>
                    <a:pt x="272" y="3453"/>
                  </a:lnTo>
                  <a:lnTo>
                    <a:pt x="228" y="3442"/>
                  </a:lnTo>
                  <a:lnTo>
                    <a:pt x="185" y="3426"/>
                  </a:lnTo>
                  <a:lnTo>
                    <a:pt x="145" y="3405"/>
                  </a:lnTo>
                  <a:lnTo>
                    <a:pt x="111" y="3377"/>
                  </a:lnTo>
                  <a:lnTo>
                    <a:pt x="79" y="3345"/>
                  </a:lnTo>
                  <a:lnTo>
                    <a:pt x="51" y="3311"/>
                  </a:lnTo>
                  <a:lnTo>
                    <a:pt x="30" y="3271"/>
                  </a:lnTo>
                  <a:lnTo>
                    <a:pt x="14" y="3228"/>
                  </a:lnTo>
                  <a:lnTo>
                    <a:pt x="3" y="3184"/>
                  </a:lnTo>
                  <a:lnTo>
                    <a:pt x="0" y="3136"/>
                  </a:lnTo>
                  <a:lnTo>
                    <a:pt x="0" y="1216"/>
                  </a:lnTo>
                  <a:lnTo>
                    <a:pt x="3" y="1196"/>
                  </a:lnTo>
                  <a:lnTo>
                    <a:pt x="13" y="1179"/>
                  </a:lnTo>
                  <a:lnTo>
                    <a:pt x="27" y="1165"/>
                  </a:lnTo>
                  <a:lnTo>
                    <a:pt x="44" y="1155"/>
                  </a:lnTo>
                  <a:lnTo>
                    <a:pt x="64" y="1152"/>
                  </a:lnTo>
                  <a:lnTo>
                    <a:pt x="256" y="1152"/>
                  </a:lnTo>
                  <a:lnTo>
                    <a:pt x="256" y="960"/>
                  </a:lnTo>
                  <a:lnTo>
                    <a:pt x="259" y="877"/>
                  </a:lnTo>
                  <a:lnTo>
                    <a:pt x="270" y="796"/>
                  </a:lnTo>
                  <a:lnTo>
                    <a:pt x="287" y="718"/>
                  </a:lnTo>
                  <a:lnTo>
                    <a:pt x="311" y="642"/>
                  </a:lnTo>
                  <a:lnTo>
                    <a:pt x="340" y="569"/>
                  </a:lnTo>
                  <a:lnTo>
                    <a:pt x="375" y="498"/>
                  </a:lnTo>
                  <a:lnTo>
                    <a:pt x="414" y="432"/>
                  </a:lnTo>
                  <a:lnTo>
                    <a:pt x="461" y="369"/>
                  </a:lnTo>
                  <a:lnTo>
                    <a:pt x="511" y="310"/>
                  </a:lnTo>
                  <a:lnTo>
                    <a:pt x="566" y="255"/>
                  </a:lnTo>
                  <a:lnTo>
                    <a:pt x="625" y="205"/>
                  </a:lnTo>
                  <a:lnTo>
                    <a:pt x="688" y="158"/>
                  </a:lnTo>
                  <a:lnTo>
                    <a:pt x="754" y="119"/>
                  </a:lnTo>
                  <a:lnTo>
                    <a:pt x="825" y="84"/>
                  </a:lnTo>
                  <a:lnTo>
                    <a:pt x="898" y="55"/>
                  </a:lnTo>
                  <a:lnTo>
                    <a:pt x="974" y="31"/>
                  </a:lnTo>
                  <a:lnTo>
                    <a:pt x="1052" y="14"/>
                  </a:lnTo>
                  <a:lnTo>
                    <a:pt x="1133" y="3"/>
                  </a:lnTo>
                  <a:lnTo>
                    <a:pt x="12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21"/>
            <p:cNvSpPr>
              <a:spLocks noChangeArrowheads="1"/>
            </p:cNvSpPr>
            <p:nvPr/>
          </p:nvSpPr>
          <p:spPr bwMode="auto">
            <a:xfrm>
              <a:off x="5314" y="2313"/>
              <a:ext cx="128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22"/>
            <p:cNvSpPr>
              <a:spLocks noChangeArrowheads="1"/>
            </p:cNvSpPr>
            <p:nvPr/>
          </p:nvSpPr>
          <p:spPr bwMode="auto">
            <a:xfrm>
              <a:off x="5570" y="2313"/>
              <a:ext cx="128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23"/>
            <p:cNvSpPr>
              <a:spLocks noChangeArrowheads="1"/>
            </p:cNvSpPr>
            <p:nvPr/>
          </p:nvSpPr>
          <p:spPr bwMode="auto">
            <a:xfrm>
              <a:off x="5826" y="2313"/>
              <a:ext cx="128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24"/>
            <p:cNvSpPr>
              <a:spLocks noChangeArrowheads="1"/>
            </p:cNvSpPr>
            <p:nvPr/>
          </p:nvSpPr>
          <p:spPr bwMode="auto">
            <a:xfrm>
              <a:off x="5570" y="585"/>
              <a:ext cx="128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25"/>
            <p:cNvSpPr>
              <a:spLocks noChangeArrowheads="1"/>
            </p:cNvSpPr>
            <p:nvPr/>
          </p:nvSpPr>
          <p:spPr bwMode="auto">
            <a:xfrm>
              <a:off x="5826" y="585"/>
              <a:ext cx="128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6"/>
            <p:cNvSpPr>
              <a:spLocks/>
            </p:cNvSpPr>
            <p:nvPr/>
          </p:nvSpPr>
          <p:spPr bwMode="auto">
            <a:xfrm>
              <a:off x="4866" y="988"/>
              <a:ext cx="960" cy="602"/>
            </a:xfrm>
            <a:custGeom>
              <a:avLst/>
              <a:gdLst>
                <a:gd name="T0" fmla="*/ 275 w 960"/>
                <a:gd name="T1" fmla="*/ 0 h 602"/>
                <a:gd name="T2" fmla="*/ 365 w 960"/>
                <a:gd name="T3" fmla="*/ 90 h 602"/>
                <a:gd name="T4" fmla="*/ 219 w 960"/>
                <a:gd name="T5" fmla="*/ 237 h 602"/>
                <a:gd name="T6" fmla="*/ 960 w 960"/>
                <a:gd name="T7" fmla="*/ 237 h 602"/>
                <a:gd name="T8" fmla="*/ 960 w 960"/>
                <a:gd name="T9" fmla="*/ 365 h 602"/>
                <a:gd name="T10" fmla="*/ 219 w 960"/>
                <a:gd name="T11" fmla="*/ 365 h 602"/>
                <a:gd name="T12" fmla="*/ 365 w 960"/>
                <a:gd name="T13" fmla="*/ 512 h 602"/>
                <a:gd name="T14" fmla="*/ 275 w 960"/>
                <a:gd name="T15" fmla="*/ 602 h 602"/>
                <a:gd name="T16" fmla="*/ 19 w 960"/>
                <a:gd name="T17" fmla="*/ 346 h 602"/>
                <a:gd name="T18" fmla="*/ 8 w 960"/>
                <a:gd name="T19" fmla="*/ 332 h 602"/>
                <a:gd name="T20" fmla="*/ 2 w 960"/>
                <a:gd name="T21" fmla="*/ 317 h 602"/>
                <a:gd name="T22" fmla="*/ 0 w 960"/>
                <a:gd name="T23" fmla="*/ 301 h 602"/>
                <a:gd name="T24" fmla="*/ 2 w 960"/>
                <a:gd name="T25" fmla="*/ 285 h 602"/>
                <a:gd name="T26" fmla="*/ 8 w 960"/>
                <a:gd name="T27" fmla="*/ 270 h 602"/>
                <a:gd name="T28" fmla="*/ 19 w 960"/>
                <a:gd name="T29" fmla="*/ 256 h 602"/>
                <a:gd name="T30" fmla="*/ 275 w 960"/>
                <a:gd name="T3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0" h="602">
                  <a:moveTo>
                    <a:pt x="275" y="0"/>
                  </a:moveTo>
                  <a:lnTo>
                    <a:pt x="365" y="90"/>
                  </a:lnTo>
                  <a:lnTo>
                    <a:pt x="219" y="237"/>
                  </a:lnTo>
                  <a:lnTo>
                    <a:pt x="960" y="237"/>
                  </a:lnTo>
                  <a:lnTo>
                    <a:pt x="960" y="365"/>
                  </a:lnTo>
                  <a:lnTo>
                    <a:pt x="219" y="365"/>
                  </a:lnTo>
                  <a:lnTo>
                    <a:pt x="365" y="512"/>
                  </a:lnTo>
                  <a:lnTo>
                    <a:pt x="275" y="602"/>
                  </a:lnTo>
                  <a:lnTo>
                    <a:pt x="19" y="346"/>
                  </a:lnTo>
                  <a:lnTo>
                    <a:pt x="8" y="332"/>
                  </a:lnTo>
                  <a:lnTo>
                    <a:pt x="2" y="317"/>
                  </a:lnTo>
                  <a:lnTo>
                    <a:pt x="0" y="301"/>
                  </a:lnTo>
                  <a:lnTo>
                    <a:pt x="2" y="285"/>
                  </a:lnTo>
                  <a:lnTo>
                    <a:pt x="8" y="270"/>
                  </a:lnTo>
                  <a:lnTo>
                    <a:pt x="19" y="256"/>
                  </a:lnTo>
                  <a:lnTo>
                    <a:pt x="2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7"/>
            <p:cNvSpPr>
              <a:spLocks/>
            </p:cNvSpPr>
            <p:nvPr/>
          </p:nvSpPr>
          <p:spPr bwMode="auto">
            <a:xfrm>
              <a:off x="5186" y="1564"/>
              <a:ext cx="768" cy="602"/>
            </a:xfrm>
            <a:custGeom>
              <a:avLst/>
              <a:gdLst>
                <a:gd name="T0" fmla="*/ 275 w 768"/>
                <a:gd name="T1" fmla="*/ 0 h 602"/>
                <a:gd name="T2" fmla="*/ 365 w 768"/>
                <a:gd name="T3" fmla="*/ 90 h 602"/>
                <a:gd name="T4" fmla="*/ 219 w 768"/>
                <a:gd name="T5" fmla="*/ 237 h 602"/>
                <a:gd name="T6" fmla="*/ 768 w 768"/>
                <a:gd name="T7" fmla="*/ 237 h 602"/>
                <a:gd name="T8" fmla="*/ 768 w 768"/>
                <a:gd name="T9" fmla="*/ 365 h 602"/>
                <a:gd name="T10" fmla="*/ 219 w 768"/>
                <a:gd name="T11" fmla="*/ 365 h 602"/>
                <a:gd name="T12" fmla="*/ 365 w 768"/>
                <a:gd name="T13" fmla="*/ 512 h 602"/>
                <a:gd name="T14" fmla="*/ 275 w 768"/>
                <a:gd name="T15" fmla="*/ 602 h 602"/>
                <a:gd name="T16" fmla="*/ 19 w 768"/>
                <a:gd name="T17" fmla="*/ 346 h 602"/>
                <a:gd name="T18" fmla="*/ 8 w 768"/>
                <a:gd name="T19" fmla="*/ 332 h 602"/>
                <a:gd name="T20" fmla="*/ 2 w 768"/>
                <a:gd name="T21" fmla="*/ 317 h 602"/>
                <a:gd name="T22" fmla="*/ 0 w 768"/>
                <a:gd name="T23" fmla="*/ 301 h 602"/>
                <a:gd name="T24" fmla="*/ 2 w 768"/>
                <a:gd name="T25" fmla="*/ 285 h 602"/>
                <a:gd name="T26" fmla="*/ 8 w 768"/>
                <a:gd name="T27" fmla="*/ 270 h 602"/>
                <a:gd name="T28" fmla="*/ 19 w 768"/>
                <a:gd name="T29" fmla="*/ 256 h 602"/>
                <a:gd name="T30" fmla="*/ 275 w 768"/>
                <a:gd name="T3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8" h="602">
                  <a:moveTo>
                    <a:pt x="275" y="0"/>
                  </a:moveTo>
                  <a:lnTo>
                    <a:pt x="365" y="90"/>
                  </a:lnTo>
                  <a:lnTo>
                    <a:pt x="219" y="237"/>
                  </a:lnTo>
                  <a:lnTo>
                    <a:pt x="768" y="237"/>
                  </a:lnTo>
                  <a:lnTo>
                    <a:pt x="768" y="365"/>
                  </a:lnTo>
                  <a:lnTo>
                    <a:pt x="219" y="365"/>
                  </a:lnTo>
                  <a:lnTo>
                    <a:pt x="365" y="512"/>
                  </a:lnTo>
                  <a:lnTo>
                    <a:pt x="275" y="602"/>
                  </a:lnTo>
                  <a:lnTo>
                    <a:pt x="19" y="346"/>
                  </a:lnTo>
                  <a:lnTo>
                    <a:pt x="8" y="332"/>
                  </a:lnTo>
                  <a:lnTo>
                    <a:pt x="2" y="317"/>
                  </a:lnTo>
                  <a:lnTo>
                    <a:pt x="0" y="301"/>
                  </a:lnTo>
                  <a:lnTo>
                    <a:pt x="2" y="285"/>
                  </a:lnTo>
                  <a:lnTo>
                    <a:pt x="8" y="270"/>
                  </a:lnTo>
                  <a:lnTo>
                    <a:pt x="19" y="256"/>
                  </a:lnTo>
                  <a:lnTo>
                    <a:pt x="2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8"/>
            <p:cNvSpPr>
              <a:spLocks/>
            </p:cNvSpPr>
            <p:nvPr/>
          </p:nvSpPr>
          <p:spPr bwMode="auto">
            <a:xfrm>
              <a:off x="4482" y="348"/>
              <a:ext cx="960" cy="602"/>
            </a:xfrm>
            <a:custGeom>
              <a:avLst/>
              <a:gdLst>
                <a:gd name="T0" fmla="*/ 275 w 960"/>
                <a:gd name="T1" fmla="*/ 0 h 602"/>
                <a:gd name="T2" fmla="*/ 365 w 960"/>
                <a:gd name="T3" fmla="*/ 90 h 602"/>
                <a:gd name="T4" fmla="*/ 219 w 960"/>
                <a:gd name="T5" fmla="*/ 237 h 602"/>
                <a:gd name="T6" fmla="*/ 960 w 960"/>
                <a:gd name="T7" fmla="*/ 237 h 602"/>
                <a:gd name="T8" fmla="*/ 960 w 960"/>
                <a:gd name="T9" fmla="*/ 365 h 602"/>
                <a:gd name="T10" fmla="*/ 219 w 960"/>
                <a:gd name="T11" fmla="*/ 365 h 602"/>
                <a:gd name="T12" fmla="*/ 365 w 960"/>
                <a:gd name="T13" fmla="*/ 512 h 602"/>
                <a:gd name="T14" fmla="*/ 275 w 960"/>
                <a:gd name="T15" fmla="*/ 602 h 602"/>
                <a:gd name="T16" fmla="*/ 19 w 960"/>
                <a:gd name="T17" fmla="*/ 346 h 602"/>
                <a:gd name="T18" fmla="*/ 8 w 960"/>
                <a:gd name="T19" fmla="*/ 332 h 602"/>
                <a:gd name="T20" fmla="*/ 2 w 960"/>
                <a:gd name="T21" fmla="*/ 317 h 602"/>
                <a:gd name="T22" fmla="*/ 0 w 960"/>
                <a:gd name="T23" fmla="*/ 301 h 602"/>
                <a:gd name="T24" fmla="*/ 2 w 960"/>
                <a:gd name="T25" fmla="*/ 285 h 602"/>
                <a:gd name="T26" fmla="*/ 8 w 960"/>
                <a:gd name="T27" fmla="*/ 270 h 602"/>
                <a:gd name="T28" fmla="*/ 19 w 960"/>
                <a:gd name="T29" fmla="*/ 256 h 602"/>
                <a:gd name="T30" fmla="*/ 275 w 960"/>
                <a:gd name="T3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0" h="602">
                  <a:moveTo>
                    <a:pt x="275" y="0"/>
                  </a:moveTo>
                  <a:lnTo>
                    <a:pt x="365" y="90"/>
                  </a:lnTo>
                  <a:lnTo>
                    <a:pt x="219" y="237"/>
                  </a:lnTo>
                  <a:lnTo>
                    <a:pt x="960" y="237"/>
                  </a:lnTo>
                  <a:lnTo>
                    <a:pt x="960" y="365"/>
                  </a:lnTo>
                  <a:lnTo>
                    <a:pt x="219" y="365"/>
                  </a:lnTo>
                  <a:lnTo>
                    <a:pt x="365" y="512"/>
                  </a:lnTo>
                  <a:lnTo>
                    <a:pt x="275" y="602"/>
                  </a:lnTo>
                  <a:lnTo>
                    <a:pt x="19" y="346"/>
                  </a:lnTo>
                  <a:lnTo>
                    <a:pt x="8" y="332"/>
                  </a:lnTo>
                  <a:lnTo>
                    <a:pt x="2" y="317"/>
                  </a:lnTo>
                  <a:lnTo>
                    <a:pt x="0" y="301"/>
                  </a:lnTo>
                  <a:lnTo>
                    <a:pt x="2" y="285"/>
                  </a:lnTo>
                  <a:lnTo>
                    <a:pt x="8" y="270"/>
                  </a:lnTo>
                  <a:lnTo>
                    <a:pt x="19" y="256"/>
                  </a:lnTo>
                  <a:lnTo>
                    <a:pt x="2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31"/>
          <p:cNvGrpSpPr>
            <a:grpSpLocks noChangeAspect="1"/>
          </p:cNvGrpSpPr>
          <p:nvPr/>
        </p:nvGrpSpPr>
        <p:grpSpPr bwMode="auto">
          <a:xfrm>
            <a:off x="3519558" y="5155348"/>
            <a:ext cx="481282" cy="457200"/>
            <a:chOff x="2481" y="867"/>
            <a:chExt cx="2718" cy="2582"/>
          </a:xfrm>
          <a:solidFill>
            <a:srgbClr val="0084CB"/>
          </a:solidFill>
        </p:grpSpPr>
        <p:sp>
          <p:nvSpPr>
            <p:cNvPr id="65" name="Freeform 33"/>
            <p:cNvSpPr>
              <a:spLocks/>
            </p:cNvSpPr>
            <p:nvPr/>
          </p:nvSpPr>
          <p:spPr bwMode="auto">
            <a:xfrm>
              <a:off x="2481" y="867"/>
              <a:ext cx="2718" cy="97"/>
            </a:xfrm>
            <a:custGeom>
              <a:avLst/>
              <a:gdLst>
                <a:gd name="T0" fmla="*/ 96 w 5436"/>
                <a:gd name="T1" fmla="*/ 0 h 193"/>
                <a:gd name="T2" fmla="*/ 5340 w 5436"/>
                <a:gd name="T3" fmla="*/ 0 h 193"/>
                <a:gd name="T4" fmla="*/ 5370 w 5436"/>
                <a:gd name="T5" fmla="*/ 5 h 193"/>
                <a:gd name="T6" fmla="*/ 5396 w 5436"/>
                <a:gd name="T7" fmla="*/ 19 h 193"/>
                <a:gd name="T8" fmla="*/ 5418 w 5436"/>
                <a:gd name="T9" fmla="*/ 39 h 193"/>
                <a:gd name="T10" fmla="*/ 5431 w 5436"/>
                <a:gd name="T11" fmla="*/ 66 h 193"/>
                <a:gd name="T12" fmla="*/ 5436 w 5436"/>
                <a:gd name="T13" fmla="*/ 97 h 193"/>
                <a:gd name="T14" fmla="*/ 5431 w 5436"/>
                <a:gd name="T15" fmla="*/ 127 h 193"/>
                <a:gd name="T16" fmla="*/ 5418 w 5436"/>
                <a:gd name="T17" fmla="*/ 153 h 193"/>
                <a:gd name="T18" fmla="*/ 5396 w 5436"/>
                <a:gd name="T19" fmla="*/ 174 h 193"/>
                <a:gd name="T20" fmla="*/ 5370 w 5436"/>
                <a:gd name="T21" fmla="*/ 188 h 193"/>
                <a:gd name="T22" fmla="*/ 5340 w 5436"/>
                <a:gd name="T23" fmla="*/ 193 h 193"/>
                <a:gd name="T24" fmla="*/ 96 w 5436"/>
                <a:gd name="T25" fmla="*/ 193 h 193"/>
                <a:gd name="T26" fmla="*/ 66 w 5436"/>
                <a:gd name="T27" fmla="*/ 188 h 193"/>
                <a:gd name="T28" fmla="*/ 40 w 5436"/>
                <a:gd name="T29" fmla="*/ 174 h 193"/>
                <a:gd name="T30" fmla="*/ 18 w 5436"/>
                <a:gd name="T31" fmla="*/ 153 h 193"/>
                <a:gd name="T32" fmla="*/ 5 w 5436"/>
                <a:gd name="T33" fmla="*/ 127 h 193"/>
                <a:gd name="T34" fmla="*/ 0 w 5436"/>
                <a:gd name="T35" fmla="*/ 97 h 193"/>
                <a:gd name="T36" fmla="*/ 5 w 5436"/>
                <a:gd name="T37" fmla="*/ 66 h 193"/>
                <a:gd name="T38" fmla="*/ 18 w 5436"/>
                <a:gd name="T39" fmla="*/ 39 h 193"/>
                <a:gd name="T40" fmla="*/ 40 w 5436"/>
                <a:gd name="T41" fmla="*/ 19 h 193"/>
                <a:gd name="T42" fmla="*/ 66 w 5436"/>
                <a:gd name="T43" fmla="*/ 5 h 193"/>
                <a:gd name="T44" fmla="*/ 96 w 5436"/>
                <a:gd name="T4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36" h="193">
                  <a:moveTo>
                    <a:pt x="96" y="0"/>
                  </a:moveTo>
                  <a:lnTo>
                    <a:pt x="5340" y="0"/>
                  </a:lnTo>
                  <a:lnTo>
                    <a:pt x="5370" y="5"/>
                  </a:lnTo>
                  <a:lnTo>
                    <a:pt x="5396" y="19"/>
                  </a:lnTo>
                  <a:lnTo>
                    <a:pt x="5418" y="39"/>
                  </a:lnTo>
                  <a:lnTo>
                    <a:pt x="5431" y="66"/>
                  </a:lnTo>
                  <a:lnTo>
                    <a:pt x="5436" y="97"/>
                  </a:lnTo>
                  <a:lnTo>
                    <a:pt x="5431" y="127"/>
                  </a:lnTo>
                  <a:lnTo>
                    <a:pt x="5418" y="153"/>
                  </a:lnTo>
                  <a:lnTo>
                    <a:pt x="5396" y="174"/>
                  </a:lnTo>
                  <a:lnTo>
                    <a:pt x="5370" y="188"/>
                  </a:lnTo>
                  <a:lnTo>
                    <a:pt x="5340" y="193"/>
                  </a:lnTo>
                  <a:lnTo>
                    <a:pt x="96" y="193"/>
                  </a:lnTo>
                  <a:lnTo>
                    <a:pt x="66" y="188"/>
                  </a:lnTo>
                  <a:lnTo>
                    <a:pt x="40" y="174"/>
                  </a:lnTo>
                  <a:lnTo>
                    <a:pt x="18" y="153"/>
                  </a:lnTo>
                  <a:lnTo>
                    <a:pt x="5" y="127"/>
                  </a:lnTo>
                  <a:lnTo>
                    <a:pt x="0" y="97"/>
                  </a:lnTo>
                  <a:lnTo>
                    <a:pt x="5" y="66"/>
                  </a:lnTo>
                  <a:lnTo>
                    <a:pt x="18" y="39"/>
                  </a:lnTo>
                  <a:lnTo>
                    <a:pt x="40" y="19"/>
                  </a:lnTo>
                  <a:lnTo>
                    <a:pt x="66" y="5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4"/>
            <p:cNvSpPr>
              <a:spLocks/>
            </p:cNvSpPr>
            <p:nvPr/>
          </p:nvSpPr>
          <p:spPr bwMode="auto">
            <a:xfrm>
              <a:off x="2481" y="1167"/>
              <a:ext cx="2718" cy="96"/>
            </a:xfrm>
            <a:custGeom>
              <a:avLst/>
              <a:gdLst>
                <a:gd name="T0" fmla="*/ 96 w 5436"/>
                <a:gd name="T1" fmla="*/ 0 h 191"/>
                <a:gd name="T2" fmla="*/ 5340 w 5436"/>
                <a:gd name="T3" fmla="*/ 0 h 191"/>
                <a:gd name="T4" fmla="*/ 5370 w 5436"/>
                <a:gd name="T5" fmla="*/ 5 h 191"/>
                <a:gd name="T6" fmla="*/ 5396 w 5436"/>
                <a:gd name="T7" fmla="*/ 18 h 191"/>
                <a:gd name="T8" fmla="*/ 5418 w 5436"/>
                <a:gd name="T9" fmla="*/ 39 h 191"/>
                <a:gd name="T10" fmla="*/ 5431 w 5436"/>
                <a:gd name="T11" fmla="*/ 66 h 191"/>
                <a:gd name="T12" fmla="*/ 5436 w 5436"/>
                <a:gd name="T13" fmla="*/ 95 h 191"/>
                <a:gd name="T14" fmla="*/ 5431 w 5436"/>
                <a:gd name="T15" fmla="*/ 125 h 191"/>
                <a:gd name="T16" fmla="*/ 5418 w 5436"/>
                <a:gd name="T17" fmla="*/ 151 h 191"/>
                <a:gd name="T18" fmla="*/ 5396 w 5436"/>
                <a:gd name="T19" fmla="*/ 173 h 191"/>
                <a:gd name="T20" fmla="*/ 5370 w 5436"/>
                <a:gd name="T21" fmla="*/ 186 h 191"/>
                <a:gd name="T22" fmla="*/ 5340 w 5436"/>
                <a:gd name="T23" fmla="*/ 191 h 191"/>
                <a:gd name="T24" fmla="*/ 96 w 5436"/>
                <a:gd name="T25" fmla="*/ 191 h 191"/>
                <a:gd name="T26" fmla="*/ 66 w 5436"/>
                <a:gd name="T27" fmla="*/ 186 h 191"/>
                <a:gd name="T28" fmla="*/ 40 w 5436"/>
                <a:gd name="T29" fmla="*/ 173 h 191"/>
                <a:gd name="T30" fmla="*/ 18 w 5436"/>
                <a:gd name="T31" fmla="*/ 151 h 191"/>
                <a:gd name="T32" fmla="*/ 5 w 5436"/>
                <a:gd name="T33" fmla="*/ 125 h 191"/>
                <a:gd name="T34" fmla="*/ 0 w 5436"/>
                <a:gd name="T35" fmla="*/ 95 h 191"/>
                <a:gd name="T36" fmla="*/ 5 w 5436"/>
                <a:gd name="T37" fmla="*/ 66 h 191"/>
                <a:gd name="T38" fmla="*/ 18 w 5436"/>
                <a:gd name="T39" fmla="*/ 39 h 191"/>
                <a:gd name="T40" fmla="*/ 40 w 5436"/>
                <a:gd name="T41" fmla="*/ 18 h 191"/>
                <a:gd name="T42" fmla="*/ 66 w 5436"/>
                <a:gd name="T43" fmla="*/ 5 h 191"/>
                <a:gd name="T44" fmla="*/ 96 w 5436"/>
                <a:gd name="T4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36" h="191">
                  <a:moveTo>
                    <a:pt x="96" y="0"/>
                  </a:moveTo>
                  <a:lnTo>
                    <a:pt x="5340" y="0"/>
                  </a:lnTo>
                  <a:lnTo>
                    <a:pt x="5370" y="5"/>
                  </a:lnTo>
                  <a:lnTo>
                    <a:pt x="5396" y="18"/>
                  </a:lnTo>
                  <a:lnTo>
                    <a:pt x="5418" y="39"/>
                  </a:lnTo>
                  <a:lnTo>
                    <a:pt x="5431" y="66"/>
                  </a:lnTo>
                  <a:lnTo>
                    <a:pt x="5436" y="95"/>
                  </a:lnTo>
                  <a:lnTo>
                    <a:pt x="5431" y="125"/>
                  </a:lnTo>
                  <a:lnTo>
                    <a:pt x="5418" y="151"/>
                  </a:lnTo>
                  <a:lnTo>
                    <a:pt x="5396" y="173"/>
                  </a:lnTo>
                  <a:lnTo>
                    <a:pt x="5370" y="186"/>
                  </a:lnTo>
                  <a:lnTo>
                    <a:pt x="5340" y="191"/>
                  </a:lnTo>
                  <a:lnTo>
                    <a:pt x="96" y="191"/>
                  </a:lnTo>
                  <a:lnTo>
                    <a:pt x="66" y="186"/>
                  </a:lnTo>
                  <a:lnTo>
                    <a:pt x="40" y="173"/>
                  </a:lnTo>
                  <a:lnTo>
                    <a:pt x="18" y="151"/>
                  </a:lnTo>
                  <a:lnTo>
                    <a:pt x="5" y="125"/>
                  </a:lnTo>
                  <a:lnTo>
                    <a:pt x="0" y="95"/>
                  </a:lnTo>
                  <a:lnTo>
                    <a:pt x="5" y="66"/>
                  </a:lnTo>
                  <a:lnTo>
                    <a:pt x="18" y="39"/>
                  </a:lnTo>
                  <a:lnTo>
                    <a:pt x="40" y="18"/>
                  </a:lnTo>
                  <a:lnTo>
                    <a:pt x="66" y="5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5"/>
            <p:cNvSpPr>
              <a:spLocks/>
            </p:cNvSpPr>
            <p:nvPr/>
          </p:nvSpPr>
          <p:spPr bwMode="auto">
            <a:xfrm>
              <a:off x="2481" y="1467"/>
              <a:ext cx="2718" cy="96"/>
            </a:xfrm>
            <a:custGeom>
              <a:avLst/>
              <a:gdLst>
                <a:gd name="T0" fmla="*/ 96 w 5436"/>
                <a:gd name="T1" fmla="*/ 0 h 193"/>
                <a:gd name="T2" fmla="*/ 5340 w 5436"/>
                <a:gd name="T3" fmla="*/ 0 h 193"/>
                <a:gd name="T4" fmla="*/ 5370 w 5436"/>
                <a:gd name="T5" fmla="*/ 5 h 193"/>
                <a:gd name="T6" fmla="*/ 5396 w 5436"/>
                <a:gd name="T7" fmla="*/ 18 h 193"/>
                <a:gd name="T8" fmla="*/ 5418 w 5436"/>
                <a:gd name="T9" fmla="*/ 40 h 193"/>
                <a:gd name="T10" fmla="*/ 5431 w 5436"/>
                <a:gd name="T11" fmla="*/ 66 h 193"/>
                <a:gd name="T12" fmla="*/ 5436 w 5436"/>
                <a:gd name="T13" fmla="*/ 96 h 193"/>
                <a:gd name="T14" fmla="*/ 5431 w 5436"/>
                <a:gd name="T15" fmla="*/ 127 h 193"/>
                <a:gd name="T16" fmla="*/ 5418 w 5436"/>
                <a:gd name="T17" fmla="*/ 154 h 193"/>
                <a:gd name="T18" fmla="*/ 5396 w 5436"/>
                <a:gd name="T19" fmla="*/ 173 h 193"/>
                <a:gd name="T20" fmla="*/ 5370 w 5436"/>
                <a:gd name="T21" fmla="*/ 188 h 193"/>
                <a:gd name="T22" fmla="*/ 5340 w 5436"/>
                <a:gd name="T23" fmla="*/ 193 h 193"/>
                <a:gd name="T24" fmla="*/ 96 w 5436"/>
                <a:gd name="T25" fmla="*/ 193 h 193"/>
                <a:gd name="T26" fmla="*/ 66 w 5436"/>
                <a:gd name="T27" fmla="*/ 188 h 193"/>
                <a:gd name="T28" fmla="*/ 40 w 5436"/>
                <a:gd name="T29" fmla="*/ 173 h 193"/>
                <a:gd name="T30" fmla="*/ 18 w 5436"/>
                <a:gd name="T31" fmla="*/ 154 h 193"/>
                <a:gd name="T32" fmla="*/ 5 w 5436"/>
                <a:gd name="T33" fmla="*/ 127 h 193"/>
                <a:gd name="T34" fmla="*/ 0 w 5436"/>
                <a:gd name="T35" fmla="*/ 96 h 193"/>
                <a:gd name="T36" fmla="*/ 5 w 5436"/>
                <a:gd name="T37" fmla="*/ 66 h 193"/>
                <a:gd name="T38" fmla="*/ 18 w 5436"/>
                <a:gd name="T39" fmla="*/ 40 h 193"/>
                <a:gd name="T40" fmla="*/ 40 w 5436"/>
                <a:gd name="T41" fmla="*/ 18 h 193"/>
                <a:gd name="T42" fmla="*/ 66 w 5436"/>
                <a:gd name="T43" fmla="*/ 5 h 193"/>
                <a:gd name="T44" fmla="*/ 96 w 5436"/>
                <a:gd name="T4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36" h="193">
                  <a:moveTo>
                    <a:pt x="96" y="0"/>
                  </a:moveTo>
                  <a:lnTo>
                    <a:pt x="5340" y="0"/>
                  </a:lnTo>
                  <a:lnTo>
                    <a:pt x="5370" y="5"/>
                  </a:lnTo>
                  <a:lnTo>
                    <a:pt x="5396" y="18"/>
                  </a:lnTo>
                  <a:lnTo>
                    <a:pt x="5418" y="40"/>
                  </a:lnTo>
                  <a:lnTo>
                    <a:pt x="5431" y="66"/>
                  </a:lnTo>
                  <a:lnTo>
                    <a:pt x="5436" y="96"/>
                  </a:lnTo>
                  <a:lnTo>
                    <a:pt x="5431" y="127"/>
                  </a:lnTo>
                  <a:lnTo>
                    <a:pt x="5418" y="154"/>
                  </a:lnTo>
                  <a:lnTo>
                    <a:pt x="5396" y="173"/>
                  </a:lnTo>
                  <a:lnTo>
                    <a:pt x="5370" y="188"/>
                  </a:lnTo>
                  <a:lnTo>
                    <a:pt x="5340" y="193"/>
                  </a:lnTo>
                  <a:lnTo>
                    <a:pt x="96" y="193"/>
                  </a:lnTo>
                  <a:lnTo>
                    <a:pt x="66" y="188"/>
                  </a:lnTo>
                  <a:lnTo>
                    <a:pt x="40" y="173"/>
                  </a:lnTo>
                  <a:lnTo>
                    <a:pt x="18" y="154"/>
                  </a:lnTo>
                  <a:lnTo>
                    <a:pt x="5" y="127"/>
                  </a:lnTo>
                  <a:lnTo>
                    <a:pt x="0" y="96"/>
                  </a:lnTo>
                  <a:lnTo>
                    <a:pt x="5" y="66"/>
                  </a:lnTo>
                  <a:lnTo>
                    <a:pt x="18" y="40"/>
                  </a:lnTo>
                  <a:lnTo>
                    <a:pt x="40" y="18"/>
                  </a:lnTo>
                  <a:lnTo>
                    <a:pt x="66" y="5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6"/>
            <p:cNvSpPr>
              <a:spLocks noEditPoints="1"/>
            </p:cNvSpPr>
            <p:nvPr/>
          </p:nvSpPr>
          <p:spPr bwMode="auto">
            <a:xfrm>
              <a:off x="2481" y="1613"/>
              <a:ext cx="2718" cy="1836"/>
            </a:xfrm>
            <a:custGeom>
              <a:avLst/>
              <a:gdLst>
                <a:gd name="T0" fmla="*/ 4387 w 5436"/>
                <a:gd name="T1" fmla="*/ 3436 h 3672"/>
                <a:gd name="T2" fmla="*/ 4461 w 5436"/>
                <a:gd name="T3" fmla="*/ 3479 h 3672"/>
                <a:gd name="T4" fmla="*/ 4537 w 5436"/>
                <a:gd name="T5" fmla="*/ 3436 h 3672"/>
                <a:gd name="T6" fmla="*/ 4538 w 5436"/>
                <a:gd name="T7" fmla="*/ 3349 h 3672"/>
                <a:gd name="T8" fmla="*/ 3016 w 5436"/>
                <a:gd name="T9" fmla="*/ 205 h 3672"/>
                <a:gd name="T10" fmla="*/ 2705 w 5436"/>
                <a:gd name="T11" fmla="*/ 318 h 3672"/>
                <a:gd name="T12" fmla="*/ 2431 w 5436"/>
                <a:gd name="T13" fmla="*/ 551 h 3672"/>
                <a:gd name="T14" fmla="*/ 2268 w 5436"/>
                <a:gd name="T15" fmla="*/ 858 h 3672"/>
                <a:gd name="T16" fmla="*/ 2224 w 5436"/>
                <a:gd name="T17" fmla="*/ 1201 h 3672"/>
                <a:gd name="T18" fmla="*/ 2306 w 5436"/>
                <a:gd name="T19" fmla="*/ 1545 h 3672"/>
                <a:gd name="T20" fmla="*/ 2501 w 5436"/>
                <a:gd name="T21" fmla="*/ 1829 h 3672"/>
                <a:gd name="T22" fmla="*/ 2771 w 5436"/>
                <a:gd name="T23" fmla="*/ 2020 h 3672"/>
                <a:gd name="T24" fmla="*/ 3117 w 5436"/>
                <a:gd name="T25" fmla="*/ 2109 h 3672"/>
                <a:gd name="T26" fmla="*/ 3484 w 5436"/>
                <a:gd name="T27" fmla="*/ 2063 h 3672"/>
                <a:gd name="T28" fmla="*/ 3795 w 5436"/>
                <a:gd name="T29" fmla="*/ 1888 h 3672"/>
                <a:gd name="T30" fmla="*/ 4009 w 5436"/>
                <a:gd name="T31" fmla="*/ 1636 h 3672"/>
                <a:gd name="T32" fmla="*/ 4126 w 5436"/>
                <a:gd name="T33" fmla="*/ 1311 h 3672"/>
                <a:gd name="T34" fmla="*/ 4117 w 5436"/>
                <a:gd name="T35" fmla="*/ 938 h 3672"/>
                <a:gd name="T36" fmla="*/ 3968 w 5436"/>
                <a:gd name="T37" fmla="*/ 602 h 3672"/>
                <a:gd name="T38" fmla="*/ 3734 w 5436"/>
                <a:gd name="T39" fmla="*/ 366 h 3672"/>
                <a:gd name="T40" fmla="*/ 3433 w 5436"/>
                <a:gd name="T41" fmla="*/ 224 h 3672"/>
                <a:gd name="T42" fmla="*/ 3176 w 5436"/>
                <a:gd name="T43" fmla="*/ 0 h 3672"/>
                <a:gd name="T44" fmla="*/ 3553 w 5436"/>
                <a:gd name="T45" fmla="*/ 61 h 3672"/>
                <a:gd name="T46" fmla="*/ 3891 w 5436"/>
                <a:gd name="T47" fmla="*/ 244 h 3672"/>
                <a:gd name="T48" fmla="*/ 5396 w 5436"/>
                <a:gd name="T49" fmla="*/ 327 h 3672"/>
                <a:gd name="T50" fmla="*/ 5431 w 5436"/>
                <a:gd name="T51" fmla="*/ 434 h 3672"/>
                <a:gd name="T52" fmla="*/ 5340 w 5436"/>
                <a:gd name="T53" fmla="*/ 500 h 3672"/>
                <a:gd name="T54" fmla="*/ 4257 w 5436"/>
                <a:gd name="T55" fmla="*/ 739 h 3672"/>
                <a:gd name="T56" fmla="*/ 5370 w 5436"/>
                <a:gd name="T57" fmla="*/ 912 h 3672"/>
                <a:gd name="T58" fmla="*/ 5436 w 5436"/>
                <a:gd name="T59" fmla="*/ 1003 h 3672"/>
                <a:gd name="T60" fmla="*/ 5370 w 5436"/>
                <a:gd name="T61" fmla="*/ 1093 h 3672"/>
                <a:gd name="T62" fmla="*/ 4326 w 5436"/>
                <a:gd name="T63" fmla="*/ 1276 h 3672"/>
                <a:gd name="T64" fmla="*/ 5340 w 5436"/>
                <a:gd name="T65" fmla="*/ 1506 h 3672"/>
                <a:gd name="T66" fmla="*/ 5431 w 5436"/>
                <a:gd name="T67" fmla="*/ 1572 h 3672"/>
                <a:gd name="T68" fmla="*/ 5396 w 5436"/>
                <a:gd name="T69" fmla="*/ 1679 h 3672"/>
                <a:gd name="T70" fmla="*/ 4149 w 5436"/>
                <a:gd name="T71" fmla="*/ 1776 h 3672"/>
                <a:gd name="T72" fmla="*/ 4705 w 5436"/>
                <a:gd name="T73" fmla="*/ 3255 h 3672"/>
                <a:gd name="T74" fmla="*/ 4739 w 5436"/>
                <a:gd name="T75" fmla="*/ 3423 h 3672"/>
                <a:gd name="T76" fmla="*/ 4670 w 5436"/>
                <a:gd name="T77" fmla="*/ 3578 h 3672"/>
                <a:gd name="T78" fmla="*/ 4510 w 5436"/>
                <a:gd name="T79" fmla="*/ 3667 h 3672"/>
                <a:gd name="T80" fmla="*/ 4342 w 5436"/>
                <a:gd name="T81" fmla="*/ 3644 h 3672"/>
                <a:gd name="T82" fmla="*/ 4220 w 5436"/>
                <a:gd name="T83" fmla="*/ 3532 h 3672"/>
                <a:gd name="T84" fmla="*/ 3183 w 5436"/>
                <a:gd name="T85" fmla="*/ 2304 h 3672"/>
                <a:gd name="T86" fmla="*/ 2782 w 5436"/>
                <a:gd name="T87" fmla="*/ 2233 h 3672"/>
                <a:gd name="T88" fmla="*/ 2438 w 5436"/>
                <a:gd name="T89" fmla="*/ 2032 h 3672"/>
                <a:gd name="T90" fmla="*/ 2183 w 5436"/>
                <a:gd name="T91" fmla="*/ 1723 h 3672"/>
                <a:gd name="T92" fmla="*/ 40 w 5436"/>
                <a:gd name="T93" fmla="*/ 1679 h 3672"/>
                <a:gd name="T94" fmla="*/ 5 w 5436"/>
                <a:gd name="T95" fmla="*/ 1572 h 3672"/>
                <a:gd name="T96" fmla="*/ 96 w 5436"/>
                <a:gd name="T97" fmla="*/ 1506 h 3672"/>
                <a:gd name="T98" fmla="*/ 2031 w 5436"/>
                <a:gd name="T99" fmla="*/ 1201 h 3672"/>
                <a:gd name="T100" fmla="*/ 40 w 5436"/>
                <a:gd name="T101" fmla="*/ 1080 h 3672"/>
                <a:gd name="T102" fmla="*/ 5 w 5436"/>
                <a:gd name="T103" fmla="*/ 973 h 3672"/>
                <a:gd name="T104" fmla="*/ 96 w 5436"/>
                <a:gd name="T105" fmla="*/ 907 h 3672"/>
                <a:gd name="T106" fmla="*/ 2143 w 5436"/>
                <a:gd name="T107" fmla="*/ 655 h 3672"/>
                <a:gd name="T108" fmla="*/ 66 w 5436"/>
                <a:gd name="T109" fmla="*/ 495 h 3672"/>
                <a:gd name="T110" fmla="*/ 0 w 5436"/>
                <a:gd name="T111" fmla="*/ 404 h 3672"/>
                <a:gd name="T112" fmla="*/ 66 w 5436"/>
                <a:gd name="T113" fmla="*/ 312 h 3672"/>
                <a:gd name="T114" fmla="*/ 2534 w 5436"/>
                <a:gd name="T115" fmla="*/ 198 h 3672"/>
                <a:gd name="T116" fmla="*/ 2888 w 5436"/>
                <a:gd name="T117" fmla="*/ 36 h 3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436" h="3672">
                  <a:moveTo>
                    <a:pt x="3827" y="2106"/>
                  </a:moveTo>
                  <a:lnTo>
                    <a:pt x="3752" y="2152"/>
                  </a:lnTo>
                  <a:lnTo>
                    <a:pt x="3675" y="2191"/>
                  </a:lnTo>
                  <a:lnTo>
                    <a:pt x="4387" y="3436"/>
                  </a:lnTo>
                  <a:lnTo>
                    <a:pt x="4402" y="3455"/>
                  </a:lnTo>
                  <a:lnTo>
                    <a:pt x="4420" y="3468"/>
                  </a:lnTo>
                  <a:lnTo>
                    <a:pt x="4439" y="3476"/>
                  </a:lnTo>
                  <a:lnTo>
                    <a:pt x="4461" y="3479"/>
                  </a:lnTo>
                  <a:lnTo>
                    <a:pt x="4484" y="3478"/>
                  </a:lnTo>
                  <a:lnTo>
                    <a:pt x="4505" y="3468"/>
                  </a:lnTo>
                  <a:lnTo>
                    <a:pt x="4523" y="3455"/>
                  </a:lnTo>
                  <a:lnTo>
                    <a:pt x="4537" y="3436"/>
                  </a:lnTo>
                  <a:lnTo>
                    <a:pt x="4546" y="3415"/>
                  </a:lnTo>
                  <a:lnTo>
                    <a:pt x="4550" y="3394"/>
                  </a:lnTo>
                  <a:lnTo>
                    <a:pt x="4546" y="3370"/>
                  </a:lnTo>
                  <a:lnTo>
                    <a:pt x="4538" y="3349"/>
                  </a:lnTo>
                  <a:lnTo>
                    <a:pt x="3827" y="2106"/>
                  </a:lnTo>
                  <a:close/>
                  <a:moveTo>
                    <a:pt x="3179" y="191"/>
                  </a:moveTo>
                  <a:lnTo>
                    <a:pt x="3097" y="195"/>
                  </a:lnTo>
                  <a:lnTo>
                    <a:pt x="3016" y="205"/>
                  </a:lnTo>
                  <a:lnTo>
                    <a:pt x="2935" y="223"/>
                  </a:lnTo>
                  <a:lnTo>
                    <a:pt x="2856" y="247"/>
                  </a:lnTo>
                  <a:lnTo>
                    <a:pt x="2779" y="279"/>
                  </a:lnTo>
                  <a:lnTo>
                    <a:pt x="2705" y="318"/>
                  </a:lnTo>
                  <a:lnTo>
                    <a:pt x="2627" y="368"/>
                  </a:lnTo>
                  <a:lnTo>
                    <a:pt x="2555" y="424"/>
                  </a:lnTo>
                  <a:lnTo>
                    <a:pt x="2491" y="485"/>
                  </a:lnTo>
                  <a:lnTo>
                    <a:pt x="2431" y="551"/>
                  </a:lnTo>
                  <a:lnTo>
                    <a:pt x="2380" y="623"/>
                  </a:lnTo>
                  <a:lnTo>
                    <a:pt x="2336" y="698"/>
                  </a:lnTo>
                  <a:lnTo>
                    <a:pt x="2298" y="777"/>
                  </a:lnTo>
                  <a:lnTo>
                    <a:pt x="2268" y="858"/>
                  </a:lnTo>
                  <a:lnTo>
                    <a:pt x="2245" y="942"/>
                  </a:lnTo>
                  <a:lnTo>
                    <a:pt x="2230" y="1027"/>
                  </a:lnTo>
                  <a:lnTo>
                    <a:pt x="2222" y="1113"/>
                  </a:lnTo>
                  <a:lnTo>
                    <a:pt x="2224" y="1201"/>
                  </a:lnTo>
                  <a:lnTo>
                    <a:pt x="2232" y="1288"/>
                  </a:lnTo>
                  <a:lnTo>
                    <a:pt x="2249" y="1375"/>
                  </a:lnTo>
                  <a:lnTo>
                    <a:pt x="2273" y="1461"/>
                  </a:lnTo>
                  <a:lnTo>
                    <a:pt x="2306" y="1545"/>
                  </a:lnTo>
                  <a:lnTo>
                    <a:pt x="2349" y="1628"/>
                  </a:lnTo>
                  <a:lnTo>
                    <a:pt x="2393" y="1700"/>
                  </a:lnTo>
                  <a:lnTo>
                    <a:pt x="2445" y="1768"/>
                  </a:lnTo>
                  <a:lnTo>
                    <a:pt x="2501" y="1829"/>
                  </a:lnTo>
                  <a:lnTo>
                    <a:pt x="2562" y="1885"/>
                  </a:lnTo>
                  <a:lnTo>
                    <a:pt x="2627" y="1936"/>
                  </a:lnTo>
                  <a:lnTo>
                    <a:pt x="2697" y="1980"/>
                  </a:lnTo>
                  <a:lnTo>
                    <a:pt x="2771" y="2020"/>
                  </a:lnTo>
                  <a:lnTo>
                    <a:pt x="2848" y="2051"/>
                  </a:lnTo>
                  <a:lnTo>
                    <a:pt x="2929" y="2078"/>
                  </a:lnTo>
                  <a:lnTo>
                    <a:pt x="3023" y="2099"/>
                  </a:lnTo>
                  <a:lnTo>
                    <a:pt x="3117" y="2109"/>
                  </a:lnTo>
                  <a:lnTo>
                    <a:pt x="3209" y="2112"/>
                  </a:lnTo>
                  <a:lnTo>
                    <a:pt x="3303" y="2104"/>
                  </a:lnTo>
                  <a:lnTo>
                    <a:pt x="3395" y="2088"/>
                  </a:lnTo>
                  <a:lnTo>
                    <a:pt x="3484" y="2063"/>
                  </a:lnTo>
                  <a:lnTo>
                    <a:pt x="3573" y="2028"/>
                  </a:lnTo>
                  <a:lnTo>
                    <a:pt x="3657" y="1985"/>
                  </a:lnTo>
                  <a:lnTo>
                    <a:pt x="3729" y="1939"/>
                  </a:lnTo>
                  <a:lnTo>
                    <a:pt x="3795" y="1888"/>
                  </a:lnTo>
                  <a:lnTo>
                    <a:pt x="3858" y="1832"/>
                  </a:lnTo>
                  <a:lnTo>
                    <a:pt x="3914" y="1771"/>
                  </a:lnTo>
                  <a:lnTo>
                    <a:pt x="3965" y="1705"/>
                  </a:lnTo>
                  <a:lnTo>
                    <a:pt x="4009" y="1636"/>
                  </a:lnTo>
                  <a:lnTo>
                    <a:pt x="4049" y="1562"/>
                  </a:lnTo>
                  <a:lnTo>
                    <a:pt x="4080" y="1484"/>
                  </a:lnTo>
                  <a:lnTo>
                    <a:pt x="4107" y="1403"/>
                  </a:lnTo>
                  <a:lnTo>
                    <a:pt x="4126" y="1311"/>
                  </a:lnTo>
                  <a:lnTo>
                    <a:pt x="4138" y="1217"/>
                  </a:lnTo>
                  <a:lnTo>
                    <a:pt x="4140" y="1123"/>
                  </a:lnTo>
                  <a:lnTo>
                    <a:pt x="4133" y="1029"/>
                  </a:lnTo>
                  <a:lnTo>
                    <a:pt x="4117" y="938"/>
                  </a:lnTo>
                  <a:lnTo>
                    <a:pt x="4092" y="848"/>
                  </a:lnTo>
                  <a:lnTo>
                    <a:pt x="4057" y="760"/>
                  </a:lnTo>
                  <a:lnTo>
                    <a:pt x="4014" y="675"/>
                  </a:lnTo>
                  <a:lnTo>
                    <a:pt x="3968" y="602"/>
                  </a:lnTo>
                  <a:lnTo>
                    <a:pt x="3917" y="536"/>
                  </a:lnTo>
                  <a:lnTo>
                    <a:pt x="3861" y="473"/>
                  </a:lnTo>
                  <a:lnTo>
                    <a:pt x="3800" y="417"/>
                  </a:lnTo>
                  <a:lnTo>
                    <a:pt x="3734" y="366"/>
                  </a:lnTo>
                  <a:lnTo>
                    <a:pt x="3665" y="322"/>
                  </a:lnTo>
                  <a:lnTo>
                    <a:pt x="3591" y="284"/>
                  </a:lnTo>
                  <a:lnTo>
                    <a:pt x="3514" y="251"/>
                  </a:lnTo>
                  <a:lnTo>
                    <a:pt x="3433" y="224"/>
                  </a:lnTo>
                  <a:lnTo>
                    <a:pt x="3349" y="206"/>
                  </a:lnTo>
                  <a:lnTo>
                    <a:pt x="3265" y="195"/>
                  </a:lnTo>
                  <a:lnTo>
                    <a:pt x="3179" y="191"/>
                  </a:lnTo>
                  <a:close/>
                  <a:moveTo>
                    <a:pt x="3176" y="0"/>
                  </a:moveTo>
                  <a:lnTo>
                    <a:pt x="3273" y="3"/>
                  </a:lnTo>
                  <a:lnTo>
                    <a:pt x="3367" y="15"/>
                  </a:lnTo>
                  <a:lnTo>
                    <a:pt x="3461" y="35"/>
                  </a:lnTo>
                  <a:lnTo>
                    <a:pt x="3553" y="61"/>
                  </a:lnTo>
                  <a:lnTo>
                    <a:pt x="3642" y="96"/>
                  </a:lnTo>
                  <a:lnTo>
                    <a:pt x="3729" y="139"/>
                  </a:lnTo>
                  <a:lnTo>
                    <a:pt x="3812" y="188"/>
                  </a:lnTo>
                  <a:lnTo>
                    <a:pt x="3891" y="244"/>
                  </a:lnTo>
                  <a:lnTo>
                    <a:pt x="3965" y="307"/>
                  </a:lnTo>
                  <a:lnTo>
                    <a:pt x="5340" y="307"/>
                  </a:lnTo>
                  <a:lnTo>
                    <a:pt x="5370" y="312"/>
                  </a:lnTo>
                  <a:lnTo>
                    <a:pt x="5396" y="327"/>
                  </a:lnTo>
                  <a:lnTo>
                    <a:pt x="5418" y="346"/>
                  </a:lnTo>
                  <a:lnTo>
                    <a:pt x="5431" y="373"/>
                  </a:lnTo>
                  <a:lnTo>
                    <a:pt x="5436" y="404"/>
                  </a:lnTo>
                  <a:lnTo>
                    <a:pt x="5431" y="434"/>
                  </a:lnTo>
                  <a:lnTo>
                    <a:pt x="5418" y="460"/>
                  </a:lnTo>
                  <a:lnTo>
                    <a:pt x="5396" y="482"/>
                  </a:lnTo>
                  <a:lnTo>
                    <a:pt x="5370" y="495"/>
                  </a:lnTo>
                  <a:lnTo>
                    <a:pt x="5340" y="500"/>
                  </a:lnTo>
                  <a:lnTo>
                    <a:pt x="4130" y="500"/>
                  </a:lnTo>
                  <a:lnTo>
                    <a:pt x="4181" y="579"/>
                  </a:lnTo>
                  <a:lnTo>
                    <a:pt x="4222" y="658"/>
                  </a:lnTo>
                  <a:lnTo>
                    <a:pt x="4257" y="739"/>
                  </a:lnTo>
                  <a:lnTo>
                    <a:pt x="4285" y="823"/>
                  </a:lnTo>
                  <a:lnTo>
                    <a:pt x="4306" y="907"/>
                  </a:lnTo>
                  <a:lnTo>
                    <a:pt x="5340" y="907"/>
                  </a:lnTo>
                  <a:lnTo>
                    <a:pt x="5370" y="912"/>
                  </a:lnTo>
                  <a:lnTo>
                    <a:pt x="5396" y="925"/>
                  </a:lnTo>
                  <a:lnTo>
                    <a:pt x="5418" y="947"/>
                  </a:lnTo>
                  <a:lnTo>
                    <a:pt x="5431" y="973"/>
                  </a:lnTo>
                  <a:lnTo>
                    <a:pt x="5436" y="1003"/>
                  </a:lnTo>
                  <a:lnTo>
                    <a:pt x="5431" y="1032"/>
                  </a:lnTo>
                  <a:lnTo>
                    <a:pt x="5418" y="1059"/>
                  </a:lnTo>
                  <a:lnTo>
                    <a:pt x="5396" y="1080"/>
                  </a:lnTo>
                  <a:lnTo>
                    <a:pt x="5370" y="1093"/>
                  </a:lnTo>
                  <a:lnTo>
                    <a:pt x="5340" y="1098"/>
                  </a:lnTo>
                  <a:lnTo>
                    <a:pt x="4331" y="1098"/>
                  </a:lnTo>
                  <a:lnTo>
                    <a:pt x="4332" y="1187"/>
                  </a:lnTo>
                  <a:lnTo>
                    <a:pt x="4326" y="1276"/>
                  </a:lnTo>
                  <a:lnTo>
                    <a:pt x="4313" y="1365"/>
                  </a:lnTo>
                  <a:lnTo>
                    <a:pt x="4291" y="1454"/>
                  </a:lnTo>
                  <a:lnTo>
                    <a:pt x="4276" y="1506"/>
                  </a:lnTo>
                  <a:lnTo>
                    <a:pt x="5340" y="1506"/>
                  </a:lnTo>
                  <a:lnTo>
                    <a:pt x="5370" y="1511"/>
                  </a:lnTo>
                  <a:lnTo>
                    <a:pt x="5396" y="1524"/>
                  </a:lnTo>
                  <a:lnTo>
                    <a:pt x="5418" y="1545"/>
                  </a:lnTo>
                  <a:lnTo>
                    <a:pt x="5431" y="1572"/>
                  </a:lnTo>
                  <a:lnTo>
                    <a:pt x="5436" y="1601"/>
                  </a:lnTo>
                  <a:lnTo>
                    <a:pt x="5431" y="1633"/>
                  </a:lnTo>
                  <a:lnTo>
                    <a:pt x="5418" y="1659"/>
                  </a:lnTo>
                  <a:lnTo>
                    <a:pt x="5396" y="1679"/>
                  </a:lnTo>
                  <a:lnTo>
                    <a:pt x="5370" y="1694"/>
                  </a:lnTo>
                  <a:lnTo>
                    <a:pt x="5340" y="1697"/>
                  </a:lnTo>
                  <a:lnTo>
                    <a:pt x="4194" y="1697"/>
                  </a:lnTo>
                  <a:lnTo>
                    <a:pt x="4149" y="1776"/>
                  </a:lnTo>
                  <a:lnTo>
                    <a:pt x="4097" y="1849"/>
                  </a:lnTo>
                  <a:lnTo>
                    <a:pt x="4041" y="1919"/>
                  </a:lnTo>
                  <a:lnTo>
                    <a:pt x="3978" y="1984"/>
                  </a:lnTo>
                  <a:lnTo>
                    <a:pt x="4705" y="3255"/>
                  </a:lnTo>
                  <a:lnTo>
                    <a:pt x="4723" y="3295"/>
                  </a:lnTo>
                  <a:lnTo>
                    <a:pt x="4736" y="3337"/>
                  </a:lnTo>
                  <a:lnTo>
                    <a:pt x="4741" y="3380"/>
                  </a:lnTo>
                  <a:lnTo>
                    <a:pt x="4739" y="3423"/>
                  </a:lnTo>
                  <a:lnTo>
                    <a:pt x="4731" y="3466"/>
                  </a:lnTo>
                  <a:lnTo>
                    <a:pt x="4716" y="3506"/>
                  </a:lnTo>
                  <a:lnTo>
                    <a:pt x="4696" y="3544"/>
                  </a:lnTo>
                  <a:lnTo>
                    <a:pt x="4670" y="3578"/>
                  </a:lnTo>
                  <a:lnTo>
                    <a:pt x="4639" y="3610"/>
                  </a:lnTo>
                  <a:lnTo>
                    <a:pt x="4601" y="3634"/>
                  </a:lnTo>
                  <a:lnTo>
                    <a:pt x="4556" y="3656"/>
                  </a:lnTo>
                  <a:lnTo>
                    <a:pt x="4510" y="3667"/>
                  </a:lnTo>
                  <a:lnTo>
                    <a:pt x="4462" y="3672"/>
                  </a:lnTo>
                  <a:lnTo>
                    <a:pt x="4421" y="3669"/>
                  </a:lnTo>
                  <a:lnTo>
                    <a:pt x="4382" y="3659"/>
                  </a:lnTo>
                  <a:lnTo>
                    <a:pt x="4342" y="3644"/>
                  </a:lnTo>
                  <a:lnTo>
                    <a:pt x="4308" y="3624"/>
                  </a:lnTo>
                  <a:lnTo>
                    <a:pt x="4275" y="3598"/>
                  </a:lnTo>
                  <a:lnTo>
                    <a:pt x="4245" y="3567"/>
                  </a:lnTo>
                  <a:lnTo>
                    <a:pt x="4220" y="3532"/>
                  </a:lnTo>
                  <a:lnTo>
                    <a:pt x="3494" y="2261"/>
                  </a:lnTo>
                  <a:lnTo>
                    <a:pt x="3392" y="2284"/>
                  </a:lnTo>
                  <a:lnTo>
                    <a:pt x="3288" y="2299"/>
                  </a:lnTo>
                  <a:lnTo>
                    <a:pt x="3183" y="2304"/>
                  </a:lnTo>
                  <a:lnTo>
                    <a:pt x="3082" y="2300"/>
                  </a:lnTo>
                  <a:lnTo>
                    <a:pt x="2980" y="2285"/>
                  </a:lnTo>
                  <a:lnTo>
                    <a:pt x="2879" y="2262"/>
                  </a:lnTo>
                  <a:lnTo>
                    <a:pt x="2782" y="2233"/>
                  </a:lnTo>
                  <a:lnTo>
                    <a:pt x="2688" y="2193"/>
                  </a:lnTo>
                  <a:lnTo>
                    <a:pt x="2601" y="2147"/>
                  </a:lnTo>
                  <a:lnTo>
                    <a:pt x="2517" y="2093"/>
                  </a:lnTo>
                  <a:lnTo>
                    <a:pt x="2438" y="2032"/>
                  </a:lnTo>
                  <a:lnTo>
                    <a:pt x="2364" y="1964"/>
                  </a:lnTo>
                  <a:lnTo>
                    <a:pt x="2298" y="1890"/>
                  </a:lnTo>
                  <a:lnTo>
                    <a:pt x="2237" y="1809"/>
                  </a:lnTo>
                  <a:lnTo>
                    <a:pt x="2183" y="1723"/>
                  </a:lnTo>
                  <a:lnTo>
                    <a:pt x="2168" y="1697"/>
                  </a:lnTo>
                  <a:lnTo>
                    <a:pt x="96" y="1697"/>
                  </a:lnTo>
                  <a:lnTo>
                    <a:pt x="66" y="1694"/>
                  </a:lnTo>
                  <a:lnTo>
                    <a:pt x="40" y="1679"/>
                  </a:lnTo>
                  <a:lnTo>
                    <a:pt x="18" y="1659"/>
                  </a:lnTo>
                  <a:lnTo>
                    <a:pt x="5" y="1633"/>
                  </a:lnTo>
                  <a:lnTo>
                    <a:pt x="0" y="1601"/>
                  </a:lnTo>
                  <a:lnTo>
                    <a:pt x="5" y="1572"/>
                  </a:lnTo>
                  <a:lnTo>
                    <a:pt x="18" y="1545"/>
                  </a:lnTo>
                  <a:lnTo>
                    <a:pt x="40" y="1524"/>
                  </a:lnTo>
                  <a:lnTo>
                    <a:pt x="66" y="1511"/>
                  </a:lnTo>
                  <a:lnTo>
                    <a:pt x="96" y="1506"/>
                  </a:lnTo>
                  <a:lnTo>
                    <a:pt x="2085" y="1506"/>
                  </a:lnTo>
                  <a:lnTo>
                    <a:pt x="2057" y="1405"/>
                  </a:lnTo>
                  <a:lnTo>
                    <a:pt x="2039" y="1303"/>
                  </a:lnTo>
                  <a:lnTo>
                    <a:pt x="2031" y="1201"/>
                  </a:lnTo>
                  <a:lnTo>
                    <a:pt x="2031" y="1098"/>
                  </a:lnTo>
                  <a:lnTo>
                    <a:pt x="96" y="1098"/>
                  </a:lnTo>
                  <a:lnTo>
                    <a:pt x="66" y="1093"/>
                  </a:lnTo>
                  <a:lnTo>
                    <a:pt x="40" y="1080"/>
                  </a:lnTo>
                  <a:lnTo>
                    <a:pt x="18" y="1059"/>
                  </a:lnTo>
                  <a:lnTo>
                    <a:pt x="5" y="1032"/>
                  </a:lnTo>
                  <a:lnTo>
                    <a:pt x="0" y="1003"/>
                  </a:lnTo>
                  <a:lnTo>
                    <a:pt x="5" y="973"/>
                  </a:lnTo>
                  <a:lnTo>
                    <a:pt x="18" y="947"/>
                  </a:lnTo>
                  <a:lnTo>
                    <a:pt x="40" y="925"/>
                  </a:lnTo>
                  <a:lnTo>
                    <a:pt x="66" y="912"/>
                  </a:lnTo>
                  <a:lnTo>
                    <a:pt x="96" y="907"/>
                  </a:lnTo>
                  <a:lnTo>
                    <a:pt x="2057" y="907"/>
                  </a:lnTo>
                  <a:lnTo>
                    <a:pt x="2079" y="821"/>
                  </a:lnTo>
                  <a:lnTo>
                    <a:pt x="2109" y="736"/>
                  </a:lnTo>
                  <a:lnTo>
                    <a:pt x="2143" y="655"/>
                  </a:lnTo>
                  <a:lnTo>
                    <a:pt x="2184" y="576"/>
                  </a:lnTo>
                  <a:lnTo>
                    <a:pt x="2232" y="500"/>
                  </a:lnTo>
                  <a:lnTo>
                    <a:pt x="96" y="500"/>
                  </a:lnTo>
                  <a:lnTo>
                    <a:pt x="66" y="495"/>
                  </a:lnTo>
                  <a:lnTo>
                    <a:pt x="40" y="482"/>
                  </a:lnTo>
                  <a:lnTo>
                    <a:pt x="18" y="460"/>
                  </a:lnTo>
                  <a:lnTo>
                    <a:pt x="5" y="434"/>
                  </a:lnTo>
                  <a:lnTo>
                    <a:pt x="0" y="404"/>
                  </a:lnTo>
                  <a:lnTo>
                    <a:pt x="5" y="373"/>
                  </a:lnTo>
                  <a:lnTo>
                    <a:pt x="18" y="346"/>
                  </a:lnTo>
                  <a:lnTo>
                    <a:pt x="40" y="327"/>
                  </a:lnTo>
                  <a:lnTo>
                    <a:pt x="66" y="312"/>
                  </a:lnTo>
                  <a:lnTo>
                    <a:pt x="96" y="307"/>
                  </a:lnTo>
                  <a:lnTo>
                    <a:pt x="2397" y="307"/>
                  </a:lnTo>
                  <a:lnTo>
                    <a:pt x="2463" y="251"/>
                  </a:lnTo>
                  <a:lnTo>
                    <a:pt x="2534" y="198"/>
                  </a:lnTo>
                  <a:lnTo>
                    <a:pt x="2609" y="152"/>
                  </a:lnTo>
                  <a:lnTo>
                    <a:pt x="2700" y="104"/>
                  </a:lnTo>
                  <a:lnTo>
                    <a:pt x="2794" y="66"/>
                  </a:lnTo>
                  <a:lnTo>
                    <a:pt x="2888" y="36"/>
                  </a:lnTo>
                  <a:lnTo>
                    <a:pt x="2983" y="17"/>
                  </a:lnTo>
                  <a:lnTo>
                    <a:pt x="3080" y="3"/>
                  </a:lnTo>
                  <a:lnTo>
                    <a:pt x="31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7"/>
            <p:cNvSpPr>
              <a:spLocks noEditPoints="1"/>
            </p:cNvSpPr>
            <p:nvPr/>
          </p:nvSpPr>
          <p:spPr bwMode="auto">
            <a:xfrm>
              <a:off x="3643" y="1759"/>
              <a:ext cx="857" cy="858"/>
            </a:xfrm>
            <a:custGeom>
              <a:avLst/>
              <a:gdLst>
                <a:gd name="T0" fmla="*/ 229 w 1713"/>
                <a:gd name="T1" fmla="*/ 1076 h 1714"/>
                <a:gd name="T2" fmla="*/ 280 w 1713"/>
                <a:gd name="T3" fmla="*/ 1188 h 1714"/>
                <a:gd name="T4" fmla="*/ 368 w 1713"/>
                <a:gd name="T5" fmla="*/ 1309 h 1714"/>
                <a:gd name="T6" fmla="*/ 480 w 1713"/>
                <a:gd name="T7" fmla="*/ 1406 h 1714"/>
                <a:gd name="T8" fmla="*/ 611 w 1713"/>
                <a:gd name="T9" fmla="*/ 1475 h 1714"/>
                <a:gd name="T10" fmla="*/ 756 w 1713"/>
                <a:gd name="T11" fmla="*/ 1515 h 1714"/>
                <a:gd name="T12" fmla="*/ 905 w 1713"/>
                <a:gd name="T13" fmla="*/ 1522 h 1714"/>
                <a:gd name="T14" fmla="*/ 1050 w 1713"/>
                <a:gd name="T15" fmla="*/ 1495 h 1714"/>
                <a:gd name="T16" fmla="*/ 1188 w 1713"/>
                <a:gd name="T17" fmla="*/ 1436 h 1714"/>
                <a:gd name="T18" fmla="*/ 1300 w 1713"/>
                <a:gd name="T19" fmla="*/ 1355 h 1714"/>
                <a:gd name="T20" fmla="*/ 1391 w 1713"/>
                <a:gd name="T21" fmla="*/ 1256 h 1714"/>
                <a:gd name="T22" fmla="*/ 1458 w 1713"/>
                <a:gd name="T23" fmla="*/ 1142 h 1714"/>
                <a:gd name="T24" fmla="*/ 1503 w 1713"/>
                <a:gd name="T25" fmla="*/ 1019 h 1714"/>
                <a:gd name="T26" fmla="*/ 855 w 1713"/>
                <a:gd name="T27" fmla="*/ 191 h 1714"/>
                <a:gd name="T28" fmla="*/ 720 w 1713"/>
                <a:gd name="T29" fmla="*/ 206 h 1714"/>
                <a:gd name="T30" fmla="*/ 588 w 1713"/>
                <a:gd name="T31" fmla="*/ 249 h 1714"/>
                <a:gd name="T32" fmla="*/ 463 w 1713"/>
                <a:gd name="T33" fmla="*/ 321 h 1714"/>
                <a:gd name="T34" fmla="*/ 354 w 1713"/>
                <a:gd name="T35" fmla="*/ 422 h 1714"/>
                <a:gd name="T36" fmla="*/ 270 w 1713"/>
                <a:gd name="T37" fmla="*/ 544 h 1714"/>
                <a:gd name="T38" fmla="*/ 216 w 1713"/>
                <a:gd name="T39" fmla="*/ 682 h 1714"/>
                <a:gd name="T40" fmla="*/ 193 w 1713"/>
                <a:gd name="T41" fmla="*/ 826 h 1714"/>
                <a:gd name="T42" fmla="*/ 1512 w 1713"/>
                <a:gd name="T43" fmla="*/ 750 h 1714"/>
                <a:gd name="T44" fmla="*/ 1470 w 1713"/>
                <a:gd name="T45" fmla="*/ 600 h 1714"/>
                <a:gd name="T46" fmla="*/ 1394 w 1713"/>
                <a:gd name="T47" fmla="*/ 463 h 1714"/>
                <a:gd name="T48" fmla="*/ 1293 w 1713"/>
                <a:gd name="T49" fmla="*/ 354 h 1714"/>
                <a:gd name="T50" fmla="*/ 1172 w 1713"/>
                <a:gd name="T51" fmla="*/ 270 h 1714"/>
                <a:gd name="T52" fmla="*/ 1031 w 1713"/>
                <a:gd name="T53" fmla="*/ 216 h 1714"/>
                <a:gd name="T54" fmla="*/ 915 w 1713"/>
                <a:gd name="T55" fmla="*/ 194 h 1714"/>
                <a:gd name="T56" fmla="*/ 832 w 1713"/>
                <a:gd name="T57" fmla="*/ 0 h 1714"/>
                <a:gd name="T58" fmla="*/ 999 w 1713"/>
                <a:gd name="T59" fmla="*/ 11 h 1714"/>
                <a:gd name="T60" fmla="*/ 1163 w 1713"/>
                <a:gd name="T61" fmla="*/ 56 h 1714"/>
                <a:gd name="T62" fmla="*/ 1313 w 1713"/>
                <a:gd name="T63" fmla="*/ 132 h 1714"/>
                <a:gd name="T64" fmla="*/ 1445 w 1713"/>
                <a:gd name="T65" fmla="*/ 232 h 1714"/>
                <a:gd name="T66" fmla="*/ 1555 w 1713"/>
                <a:gd name="T67" fmla="*/ 359 h 1714"/>
                <a:gd name="T68" fmla="*/ 1641 w 1713"/>
                <a:gd name="T69" fmla="*/ 509 h 1714"/>
                <a:gd name="T70" fmla="*/ 1694 w 1713"/>
                <a:gd name="T71" fmla="*/ 672 h 1714"/>
                <a:gd name="T72" fmla="*/ 1713 w 1713"/>
                <a:gd name="T73" fmla="*/ 837 h 1714"/>
                <a:gd name="T74" fmla="*/ 1702 w 1713"/>
                <a:gd name="T75" fmla="*/ 1002 h 1714"/>
                <a:gd name="T76" fmla="*/ 1657 w 1713"/>
                <a:gd name="T77" fmla="*/ 1160 h 1714"/>
                <a:gd name="T78" fmla="*/ 1585 w 1713"/>
                <a:gd name="T79" fmla="*/ 1309 h 1714"/>
                <a:gd name="T80" fmla="*/ 1484 w 1713"/>
                <a:gd name="T81" fmla="*/ 1442 h 1714"/>
                <a:gd name="T82" fmla="*/ 1356 w 1713"/>
                <a:gd name="T83" fmla="*/ 1555 h 1714"/>
                <a:gd name="T84" fmla="*/ 1201 w 1713"/>
                <a:gd name="T85" fmla="*/ 1644 h 1714"/>
                <a:gd name="T86" fmla="*/ 1031 w 1713"/>
                <a:gd name="T87" fmla="*/ 1698 h 1714"/>
                <a:gd name="T88" fmla="*/ 859 w 1713"/>
                <a:gd name="T89" fmla="*/ 1714 h 1714"/>
                <a:gd name="T90" fmla="*/ 697 w 1713"/>
                <a:gd name="T91" fmla="*/ 1700 h 1714"/>
                <a:gd name="T92" fmla="*/ 542 w 1713"/>
                <a:gd name="T93" fmla="*/ 1655 h 1714"/>
                <a:gd name="T94" fmla="*/ 399 w 1713"/>
                <a:gd name="T95" fmla="*/ 1583 h 1714"/>
                <a:gd name="T96" fmla="*/ 269 w 1713"/>
                <a:gd name="T97" fmla="*/ 1482 h 1714"/>
                <a:gd name="T98" fmla="*/ 160 w 1713"/>
                <a:gd name="T99" fmla="*/ 1355 h 1714"/>
                <a:gd name="T100" fmla="*/ 74 w 1713"/>
                <a:gd name="T101" fmla="*/ 1207 h 1714"/>
                <a:gd name="T102" fmla="*/ 22 w 1713"/>
                <a:gd name="T103" fmla="*/ 1048 h 1714"/>
                <a:gd name="T104" fmla="*/ 0 w 1713"/>
                <a:gd name="T105" fmla="*/ 883 h 1714"/>
                <a:gd name="T106" fmla="*/ 12 w 1713"/>
                <a:gd name="T107" fmla="*/ 715 h 1714"/>
                <a:gd name="T108" fmla="*/ 56 w 1713"/>
                <a:gd name="T109" fmla="*/ 550 h 1714"/>
                <a:gd name="T110" fmla="*/ 130 w 1713"/>
                <a:gd name="T111" fmla="*/ 400 h 1714"/>
                <a:gd name="T112" fmla="*/ 233 w 1713"/>
                <a:gd name="T113" fmla="*/ 268 h 1714"/>
                <a:gd name="T114" fmla="*/ 359 w 1713"/>
                <a:gd name="T115" fmla="*/ 158 h 1714"/>
                <a:gd name="T116" fmla="*/ 508 w 1713"/>
                <a:gd name="T117" fmla="*/ 74 h 1714"/>
                <a:gd name="T118" fmla="*/ 666 w 1713"/>
                <a:gd name="T119" fmla="*/ 21 h 1714"/>
                <a:gd name="T120" fmla="*/ 832 w 1713"/>
                <a:gd name="T121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3" h="1714">
                  <a:moveTo>
                    <a:pt x="211" y="1019"/>
                  </a:moveTo>
                  <a:lnTo>
                    <a:pt x="229" y="1076"/>
                  </a:lnTo>
                  <a:lnTo>
                    <a:pt x="252" y="1132"/>
                  </a:lnTo>
                  <a:lnTo>
                    <a:pt x="280" y="1188"/>
                  </a:lnTo>
                  <a:lnTo>
                    <a:pt x="322" y="1251"/>
                  </a:lnTo>
                  <a:lnTo>
                    <a:pt x="368" y="1309"/>
                  </a:lnTo>
                  <a:lnTo>
                    <a:pt x="422" y="1362"/>
                  </a:lnTo>
                  <a:lnTo>
                    <a:pt x="480" y="1406"/>
                  </a:lnTo>
                  <a:lnTo>
                    <a:pt x="544" y="1444"/>
                  </a:lnTo>
                  <a:lnTo>
                    <a:pt x="611" y="1475"/>
                  </a:lnTo>
                  <a:lnTo>
                    <a:pt x="682" y="1500"/>
                  </a:lnTo>
                  <a:lnTo>
                    <a:pt x="756" y="1515"/>
                  </a:lnTo>
                  <a:lnTo>
                    <a:pt x="831" y="1523"/>
                  </a:lnTo>
                  <a:lnTo>
                    <a:pt x="905" y="1522"/>
                  </a:lnTo>
                  <a:lnTo>
                    <a:pt x="977" y="1512"/>
                  </a:lnTo>
                  <a:lnTo>
                    <a:pt x="1050" y="1495"/>
                  </a:lnTo>
                  <a:lnTo>
                    <a:pt x="1120" y="1469"/>
                  </a:lnTo>
                  <a:lnTo>
                    <a:pt x="1188" y="1436"/>
                  </a:lnTo>
                  <a:lnTo>
                    <a:pt x="1246" y="1398"/>
                  </a:lnTo>
                  <a:lnTo>
                    <a:pt x="1300" y="1355"/>
                  </a:lnTo>
                  <a:lnTo>
                    <a:pt x="1348" y="1307"/>
                  </a:lnTo>
                  <a:lnTo>
                    <a:pt x="1391" y="1256"/>
                  </a:lnTo>
                  <a:lnTo>
                    <a:pt x="1427" y="1200"/>
                  </a:lnTo>
                  <a:lnTo>
                    <a:pt x="1458" y="1142"/>
                  </a:lnTo>
                  <a:lnTo>
                    <a:pt x="1483" y="1081"/>
                  </a:lnTo>
                  <a:lnTo>
                    <a:pt x="1503" y="1019"/>
                  </a:lnTo>
                  <a:lnTo>
                    <a:pt x="211" y="1019"/>
                  </a:lnTo>
                  <a:close/>
                  <a:moveTo>
                    <a:pt x="855" y="191"/>
                  </a:moveTo>
                  <a:lnTo>
                    <a:pt x="788" y="194"/>
                  </a:lnTo>
                  <a:lnTo>
                    <a:pt x="720" y="206"/>
                  </a:lnTo>
                  <a:lnTo>
                    <a:pt x="654" y="224"/>
                  </a:lnTo>
                  <a:lnTo>
                    <a:pt x="588" y="249"/>
                  </a:lnTo>
                  <a:lnTo>
                    <a:pt x="527" y="280"/>
                  </a:lnTo>
                  <a:lnTo>
                    <a:pt x="463" y="321"/>
                  </a:lnTo>
                  <a:lnTo>
                    <a:pt x="406" y="367"/>
                  </a:lnTo>
                  <a:lnTo>
                    <a:pt x="354" y="422"/>
                  </a:lnTo>
                  <a:lnTo>
                    <a:pt x="308" y="479"/>
                  </a:lnTo>
                  <a:lnTo>
                    <a:pt x="270" y="544"/>
                  </a:lnTo>
                  <a:lnTo>
                    <a:pt x="239" y="611"/>
                  </a:lnTo>
                  <a:lnTo>
                    <a:pt x="216" y="682"/>
                  </a:lnTo>
                  <a:lnTo>
                    <a:pt x="200" y="755"/>
                  </a:lnTo>
                  <a:lnTo>
                    <a:pt x="193" y="826"/>
                  </a:lnTo>
                  <a:lnTo>
                    <a:pt x="1521" y="826"/>
                  </a:lnTo>
                  <a:lnTo>
                    <a:pt x="1512" y="750"/>
                  </a:lnTo>
                  <a:lnTo>
                    <a:pt x="1496" y="674"/>
                  </a:lnTo>
                  <a:lnTo>
                    <a:pt x="1470" y="600"/>
                  </a:lnTo>
                  <a:lnTo>
                    <a:pt x="1435" y="527"/>
                  </a:lnTo>
                  <a:lnTo>
                    <a:pt x="1394" y="463"/>
                  </a:lnTo>
                  <a:lnTo>
                    <a:pt x="1346" y="405"/>
                  </a:lnTo>
                  <a:lnTo>
                    <a:pt x="1293" y="354"/>
                  </a:lnTo>
                  <a:lnTo>
                    <a:pt x="1234" y="308"/>
                  </a:lnTo>
                  <a:lnTo>
                    <a:pt x="1172" y="270"/>
                  </a:lnTo>
                  <a:lnTo>
                    <a:pt x="1104" y="239"/>
                  </a:lnTo>
                  <a:lnTo>
                    <a:pt x="1031" y="216"/>
                  </a:lnTo>
                  <a:lnTo>
                    <a:pt x="974" y="202"/>
                  </a:lnTo>
                  <a:lnTo>
                    <a:pt x="915" y="194"/>
                  </a:lnTo>
                  <a:lnTo>
                    <a:pt x="855" y="191"/>
                  </a:lnTo>
                  <a:close/>
                  <a:moveTo>
                    <a:pt x="832" y="0"/>
                  </a:moveTo>
                  <a:lnTo>
                    <a:pt x="915" y="1"/>
                  </a:lnTo>
                  <a:lnTo>
                    <a:pt x="999" y="11"/>
                  </a:lnTo>
                  <a:lnTo>
                    <a:pt x="1083" y="29"/>
                  </a:lnTo>
                  <a:lnTo>
                    <a:pt x="1163" y="56"/>
                  </a:lnTo>
                  <a:lnTo>
                    <a:pt x="1241" y="90"/>
                  </a:lnTo>
                  <a:lnTo>
                    <a:pt x="1313" y="132"/>
                  </a:lnTo>
                  <a:lnTo>
                    <a:pt x="1382" y="178"/>
                  </a:lnTo>
                  <a:lnTo>
                    <a:pt x="1445" y="232"/>
                  </a:lnTo>
                  <a:lnTo>
                    <a:pt x="1503" y="293"/>
                  </a:lnTo>
                  <a:lnTo>
                    <a:pt x="1555" y="359"/>
                  </a:lnTo>
                  <a:lnTo>
                    <a:pt x="1601" y="432"/>
                  </a:lnTo>
                  <a:lnTo>
                    <a:pt x="1641" y="509"/>
                  </a:lnTo>
                  <a:lnTo>
                    <a:pt x="1671" y="590"/>
                  </a:lnTo>
                  <a:lnTo>
                    <a:pt x="1694" y="672"/>
                  </a:lnTo>
                  <a:lnTo>
                    <a:pt x="1709" y="755"/>
                  </a:lnTo>
                  <a:lnTo>
                    <a:pt x="1713" y="837"/>
                  </a:lnTo>
                  <a:lnTo>
                    <a:pt x="1712" y="920"/>
                  </a:lnTo>
                  <a:lnTo>
                    <a:pt x="1702" y="1002"/>
                  </a:lnTo>
                  <a:lnTo>
                    <a:pt x="1684" y="1083"/>
                  </a:lnTo>
                  <a:lnTo>
                    <a:pt x="1657" y="1160"/>
                  </a:lnTo>
                  <a:lnTo>
                    <a:pt x="1626" y="1236"/>
                  </a:lnTo>
                  <a:lnTo>
                    <a:pt x="1585" y="1309"/>
                  </a:lnTo>
                  <a:lnTo>
                    <a:pt x="1539" y="1378"/>
                  </a:lnTo>
                  <a:lnTo>
                    <a:pt x="1484" y="1442"/>
                  </a:lnTo>
                  <a:lnTo>
                    <a:pt x="1424" y="1502"/>
                  </a:lnTo>
                  <a:lnTo>
                    <a:pt x="1356" y="1555"/>
                  </a:lnTo>
                  <a:lnTo>
                    <a:pt x="1284" y="1602"/>
                  </a:lnTo>
                  <a:lnTo>
                    <a:pt x="1201" y="1644"/>
                  </a:lnTo>
                  <a:lnTo>
                    <a:pt x="1117" y="1675"/>
                  </a:lnTo>
                  <a:lnTo>
                    <a:pt x="1031" y="1698"/>
                  </a:lnTo>
                  <a:lnTo>
                    <a:pt x="946" y="1711"/>
                  </a:lnTo>
                  <a:lnTo>
                    <a:pt x="859" y="1714"/>
                  </a:lnTo>
                  <a:lnTo>
                    <a:pt x="778" y="1711"/>
                  </a:lnTo>
                  <a:lnTo>
                    <a:pt x="697" y="1700"/>
                  </a:lnTo>
                  <a:lnTo>
                    <a:pt x="620" y="1681"/>
                  </a:lnTo>
                  <a:lnTo>
                    <a:pt x="542" y="1655"/>
                  </a:lnTo>
                  <a:lnTo>
                    <a:pt x="470" y="1622"/>
                  </a:lnTo>
                  <a:lnTo>
                    <a:pt x="399" y="1583"/>
                  </a:lnTo>
                  <a:lnTo>
                    <a:pt x="331" y="1535"/>
                  </a:lnTo>
                  <a:lnTo>
                    <a:pt x="269" y="1482"/>
                  </a:lnTo>
                  <a:lnTo>
                    <a:pt x="211" y="1423"/>
                  </a:lnTo>
                  <a:lnTo>
                    <a:pt x="160" y="1355"/>
                  </a:lnTo>
                  <a:lnTo>
                    <a:pt x="114" y="1284"/>
                  </a:lnTo>
                  <a:lnTo>
                    <a:pt x="74" y="1207"/>
                  </a:lnTo>
                  <a:lnTo>
                    <a:pt x="43" y="1129"/>
                  </a:lnTo>
                  <a:lnTo>
                    <a:pt x="22" y="1048"/>
                  </a:lnTo>
                  <a:lnTo>
                    <a:pt x="7" y="966"/>
                  </a:lnTo>
                  <a:lnTo>
                    <a:pt x="0" y="883"/>
                  </a:lnTo>
                  <a:lnTo>
                    <a:pt x="2" y="799"/>
                  </a:lnTo>
                  <a:lnTo>
                    <a:pt x="12" y="715"/>
                  </a:lnTo>
                  <a:lnTo>
                    <a:pt x="30" y="633"/>
                  </a:lnTo>
                  <a:lnTo>
                    <a:pt x="56" y="550"/>
                  </a:lnTo>
                  <a:lnTo>
                    <a:pt x="91" y="475"/>
                  </a:lnTo>
                  <a:lnTo>
                    <a:pt x="130" y="400"/>
                  </a:lnTo>
                  <a:lnTo>
                    <a:pt x="178" y="333"/>
                  </a:lnTo>
                  <a:lnTo>
                    <a:pt x="233" y="268"/>
                  </a:lnTo>
                  <a:lnTo>
                    <a:pt x="294" y="211"/>
                  </a:lnTo>
                  <a:lnTo>
                    <a:pt x="359" y="158"/>
                  </a:lnTo>
                  <a:lnTo>
                    <a:pt x="432" y="113"/>
                  </a:lnTo>
                  <a:lnTo>
                    <a:pt x="508" y="74"/>
                  </a:lnTo>
                  <a:lnTo>
                    <a:pt x="587" y="44"/>
                  </a:lnTo>
                  <a:lnTo>
                    <a:pt x="666" y="21"/>
                  </a:lnTo>
                  <a:lnTo>
                    <a:pt x="748" y="6"/>
                  </a:lnTo>
                  <a:lnTo>
                    <a:pt x="83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71153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ounded Rectangle 37"/>
          <p:cNvSpPr/>
          <p:nvPr/>
        </p:nvSpPr>
        <p:spPr>
          <a:xfrm>
            <a:off x="6683562" y="2010007"/>
            <a:ext cx="3376088" cy="4085993"/>
          </a:xfrm>
          <a:prstGeom prst="roundRect">
            <a:avLst>
              <a:gd name="adj" fmla="val 201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2800" dirty="0" smtClean="0">
              <a:solidFill>
                <a:schemeClr val="tx1"/>
              </a:solidFill>
              <a:latin typeface="Raleway" panose="020B0003030101060003" pitchFamily="34" charset="0"/>
            </a:endParaRPr>
          </a:p>
          <a:p>
            <a:pPr algn="ctr"/>
            <a:endParaRPr lang="en-US" sz="2400" dirty="0" smtClean="0">
              <a:solidFill>
                <a:schemeClr val="tx1"/>
              </a:solidFill>
              <a:latin typeface="Raleway" panose="020B0003030101060003" pitchFamily="34" charset="0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Robot learns from live operations – no programming or consulting required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Improvement at your own pace, without external parties</a:t>
            </a:r>
            <a:endParaRPr lang="en-US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7994564" y="1514188"/>
            <a:ext cx="754084" cy="754084"/>
          </a:xfrm>
          <a:prstGeom prst="ellipse">
            <a:avLst/>
          </a:pr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2066250" y="2010007"/>
            <a:ext cx="3376088" cy="4085993"/>
          </a:xfrm>
          <a:prstGeom prst="roundRect">
            <a:avLst>
              <a:gd name="adj" fmla="val 201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2000" dirty="0" smtClean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pPr algn="ctr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Traditional AI/NLP</a:t>
            </a:r>
          </a:p>
          <a:p>
            <a:pPr algn="ctr"/>
            <a:endParaRPr lang="en-US" sz="600" dirty="0" smtClean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pPr marL="342900" indent="-342900" defTabSz="3444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Requires expensive outside developers and linguistics consultants</a:t>
            </a:r>
          </a:p>
          <a:p>
            <a:pPr marL="342900" indent="-342900" defTabSz="3444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Improvements (CR) dictated by developers’ and linguistics consultants’ availability</a:t>
            </a:r>
            <a:endParaRPr lang="en-US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481253" y="34056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646420" y="3573851"/>
            <a:ext cx="899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gradFill>
                  <a:gsLst>
                    <a:gs pos="13000">
                      <a:srgbClr val="0084CB"/>
                    </a:gs>
                    <a:gs pos="100000">
                      <a:srgbClr val="00C2F3"/>
                    </a:gs>
                  </a:gsLst>
                  <a:lin ang="2700000" scaled="1"/>
                </a:gradFill>
                <a:latin typeface="Raleway" panose="020B0003030101060003" pitchFamily="34" charset="0"/>
              </a:rPr>
              <a:t>vs.</a:t>
            </a:r>
            <a:endParaRPr lang="en-CA" sz="3200" b="1" dirty="0">
              <a:gradFill>
                <a:gsLst>
                  <a:gs pos="13000">
                    <a:srgbClr val="0084CB"/>
                  </a:gs>
                  <a:gs pos="100000">
                    <a:srgbClr val="00C2F3"/>
                  </a:gs>
                </a:gsLst>
                <a:lin ang="2700000" scaled="1"/>
              </a:gradFill>
              <a:latin typeface="Raleway" panose="020B0003030101060003" pitchFamily="34" charset="0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3377252" y="1514188"/>
            <a:ext cx="754084" cy="754084"/>
          </a:xfrm>
          <a:prstGeom prst="ellipse">
            <a:avLst/>
          </a:pr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8639" y="1811072"/>
            <a:ext cx="1745934" cy="914400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24" name="Freeform 6"/>
          <p:cNvSpPr>
            <a:spLocks noChangeAspect="1" noEditPoints="1"/>
          </p:cNvSpPr>
          <p:nvPr/>
        </p:nvSpPr>
        <p:spPr bwMode="auto">
          <a:xfrm>
            <a:off x="6781786" y="2928854"/>
            <a:ext cx="184664" cy="182880"/>
          </a:xfrm>
          <a:custGeom>
            <a:avLst/>
            <a:gdLst>
              <a:gd name="T0" fmla="*/ 2188 w 3309"/>
              <a:gd name="T1" fmla="*/ 922 h 3277"/>
              <a:gd name="T2" fmla="*/ 2136 w 3309"/>
              <a:gd name="T3" fmla="*/ 966 h 3277"/>
              <a:gd name="T4" fmla="*/ 1087 w 3309"/>
              <a:gd name="T5" fmla="*/ 1747 h 3277"/>
              <a:gd name="T6" fmla="*/ 1022 w 3309"/>
              <a:gd name="T7" fmla="*/ 1730 h 3277"/>
              <a:gd name="T8" fmla="*/ 959 w 3309"/>
              <a:gd name="T9" fmla="*/ 1758 h 3277"/>
              <a:gd name="T10" fmla="*/ 927 w 3309"/>
              <a:gd name="T11" fmla="*/ 1818 h 3277"/>
              <a:gd name="T12" fmla="*/ 940 w 3309"/>
              <a:gd name="T13" fmla="*/ 1883 h 3277"/>
              <a:gd name="T14" fmla="*/ 1445 w 3309"/>
              <a:gd name="T15" fmla="*/ 2349 h 3277"/>
              <a:gd name="T16" fmla="*/ 1510 w 3309"/>
              <a:gd name="T17" fmla="*/ 2366 h 3277"/>
              <a:gd name="T18" fmla="*/ 1574 w 3309"/>
              <a:gd name="T19" fmla="*/ 2339 h 3277"/>
              <a:gd name="T20" fmla="*/ 1590 w 3309"/>
              <a:gd name="T21" fmla="*/ 2314 h 3277"/>
              <a:gd name="T22" fmla="*/ 1628 w 3309"/>
              <a:gd name="T23" fmla="*/ 2250 h 3277"/>
              <a:gd name="T24" fmla="*/ 1684 w 3309"/>
              <a:gd name="T25" fmla="*/ 2155 h 3277"/>
              <a:gd name="T26" fmla="*/ 1755 w 3309"/>
              <a:gd name="T27" fmla="*/ 2034 h 3277"/>
              <a:gd name="T28" fmla="*/ 1835 w 3309"/>
              <a:gd name="T29" fmla="*/ 1897 h 3277"/>
              <a:gd name="T30" fmla="*/ 1921 w 3309"/>
              <a:gd name="T31" fmla="*/ 1749 h 3277"/>
              <a:gd name="T32" fmla="*/ 2007 w 3309"/>
              <a:gd name="T33" fmla="*/ 1601 h 3277"/>
              <a:gd name="T34" fmla="*/ 2091 w 3309"/>
              <a:gd name="T35" fmla="*/ 1456 h 3277"/>
              <a:gd name="T36" fmla="*/ 2167 w 3309"/>
              <a:gd name="T37" fmla="*/ 1324 h 3277"/>
              <a:gd name="T38" fmla="*/ 2233 w 3309"/>
              <a:gd name="T39" fmla="*/ 1213 h 3277"/>
              <a:gd name="T40" fmla="*/ 2281 w 3309"/>
              <a:gd name="T41" fmla="*/ 1128 h 3277"/>
              <a:gd name="T42" fmla="*/ 2310 w 3309"/>
              <a:gd name="T43" fmla="*/ 1079 h 3277"/>
              <a:gd name="T44" fmla="*/ 2326 w 3309"/>
              <a:gd name="T45" fmla="*/ 1047 h 3277"/>
              <a:gd name="T46" fmla="*/ 2322 w 3309"/>
              <a:gd name="T47" fmla="*/ 981 h 3277"/>
              <a:gd name="T48" fmla="*/ 2278 w 3309"/>
              <a:gd name="T49" fmla="*/ 928 h 3277"/>
              <a:gd name="T50" fmla="*/ 1655 w 3309"/>
              <a:gd name="T51" fmla="*/ 0 h 3277"/>
              <a:gd name="T52" fmla="*/ 1963 w 3309"/>
              <a:gd name="T53" fmla="*/ 29 h 3277"/>
              <a:gd name="T54" fmla="*/ 2253 w 3309"/>
              <a:gd name="T55" fmla="*/ 110 h 3277"/>
              <a:gd name="T56" fmla="*/ 2518 w 3309"/>
              <a:gd name="T57" fmla="*/ 240 h 3277"/>
              <a:gd name="T58" fmla="*/ 2754 w 3309"/>
              <a:gd name="T59" fmla="*/ 414 h 3277"/>
              <a:gd name="T60" fmla="*/ 2955 w 3309"/>
              <a:gd name="T61" fmla="*/ 624 h 3277"/>
              <a:gd name="T62" fmla="*/ 3116 w 3309"/>
              <a:gd name="T63" fmla="*/ 869 h 3277"/>
              <a:gd name="T64" fmla="*/ 3231 w 3309"/>
              <a:gd name="T65" fmla="*/ 1140 h 3277"/>
              <a:gd name="T66" fmla="*/ 3296 w 3309"/>
              <a:gd name="T67" fmla="*/ 1433 h 3277"/>
              <a:gd name="T68" fmla="*/ 3306 w 3309"/>
              <a:gd name="T69" fmla="*/ 1742 h 3277"/>
              <a:gd name="T70" fmla="*/ 3258 w 3309"/>
              <a:gd name="T71" fmla="*/ 2042 h 3277"/>
              <a:gd name="T72" fmla="*/ 3159 w 3309"/>
              <a:gd name="T73" fmla="*/ 2321 h 3277"/>
              <a:gd name="T74" fmla="*/ 3013 w 3309"/>
              <a:gd name="T75" fmla="*/ 2575 h 3277"/>
              <a:gd name="T76" fmla="*/ 2825 w 3309"/>
              <a:gd name="T77" fmla="*/ 2798 h 3277"/>
              <a:gd name="T78" fmla="*/ 2601 w 3309"/>
              <a:gd name="T79" fmla="*/ 2984 h 3277"/>
              <a:gd name="T80" fmla="*/ 2345 w 3309"/>
              <a:gd name="T81" fmla="*/ 3129 h 3277"/>
              <a:gd name="T82" fmla="*/ 2062 w 3309"/>
              <a:gd name="T83" fmla="*/ 3227 h 3277"/>
              <a:gd name="T84" fmla="*/ 1760 w 3309"/>
              <a:gd name="T85" fmla="*/ 3274 h 3277"/>
              <a:gd name="T86" fmla="*/ 1447 w 3309"/>
              <a:gd name="T87" fmla="*/ 3265 h 3277"/>
              <a:gd name="T88" fmla="*/ 1151 w 3309"/>
              <a:gd name="T89" fmla="*/ 3200 h 3277"/>
              <a:gd name="T90" fmla="*/ 877 w 3309"/>
              <a:gd name="T91" fmla="*/ 3086 h 3277"/>
              <a:gd name="T92" fmla="*/ 630 w 3309"/>
              <a:gd name="T93" fmla="*/ 2926 h 3277"/>
              <a:gd name="T94" fmla="*/ 418 w 3309"/>
              <a:gd name="T95" fmla="*/ 2727 h 3277"/>
              <a:gd name="T96" fmla="*/ 243 w 3309"/>
              <a:gd name="T97" fmla="*/ 2494 h 3277"/>
              <a:gd name="T98" fmla="*/ 111 w 3309"/>
              <a:gd name="T99" fmla="*/ 2231 h 3277"/>
              <a:gd name="T100" fmla="*/ 28 w 3309"/>
              <a:gd name="T101" fmla="*/ 1944 h 3277"/>
              <a:gd name="T102" fmla="*/ 0 w 3309"/>
              <a:gd name="T103" fmla="*/ 1638 h 3277"/>
              <a:gd name="T104" fmla="*/ 28 w 3309"/>
              <a:gd name="T105" fmla="*/ 1333 h 3277"/>
              <a:gd name="T106" fmla="*/ 111 w 3309"/>
              <a:gd name="T107" fmla="*/ 1047 h 3277"/>
              <a:gd name="T108" fmla="*/ 243 w 3309"/>
              <a:gd name="T109" fmla="*/ 784 h 3277"/>
              <a:gd name="T110" fmla="*/ 418 w 3309"/>
              <a:gd name="T111" fmla="*/ 550 h 3277"/>
              <a:gd name="T112" fmla="*/ 630 w 3309"/>
              <a:gd name="T113" fmla="*/ 351 h 3277"/>
              <a:gd name="T114" fmla="*/ 877 w 3309"/>
              <a:gd name="T115" fmla="*/ 192 h 3277"/>
              <a:gd name="T116" fmla="*/ 1151 w 3309"/>
              <a:gd name="T117" fmla="*/ 78 h 3277"/>
              <a:gd name="T118" fmla="*/ 1447 w 3309"/>
              <a:gd name="T119" fmla="*/ 13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09" h="3277">
                <a:moveTo>
                  <a:pt x="2234" y="915"/>
                </a:moveTo>
                <a:lnTo>
                  <a:pt x="2210" y="916"/>
                </a:lnTo>
                <a:lnTo>
                  <a:pt x="2188" y="922"/>
                </a:lnTo>
                <a:lnTo>
                  <a:pt x="2168" y="932"/>
                </a:lnTo>
                <a:lnTo>
                  <a:pt x="2151" y="947"/>
                </a:lnTo>
                <a:lnTo>
                  <a:pt x="2136" y="966"/>
                </a:lnTo>
                <a:lnTo>
                  <a:pt x="1475" y="2100"/>
                </a:lnTo>
                <a:lnTo>
                  <a:pt x="1105" y="1763"/>
                </a:lnTo>
                <a:lnTo>
                  <a:pt x="1087" y="1747"/>
                </a:lnTo>
                <a:lnTo>
                  <a:pt x="1066" y="1737"/>
                </a:lnTo>
                <a:lnTo>
                  <a:pt x="1045" y="1731"/>
                </a:lnTo>
                <a:lnTo>
                  <a:pt x="1022" y="1730"/>
                </a:lnTo>
                <a:lnTo>
                  <a:pt x="999" y="1735"/>
                </a:lnTo>
                <a:lnTo>
                  <a:pt x="978" y="1744"/>
                </a:lnTo>
                <a:lnTo>
                  <a:pt x="959" y="1758"/>
                </a:lnTo>
                <a:lnTo>
                  <a:pt x="943" y="1775"/>
                </a:lnTo>
                <a:lnTo>
                  <a:pt x="933" y="1796"/>
                </a:lnTo>
                <a:lnTo>
                  <a:pt x="927" y="1818"/>
                </a:lnTo>
                <a:lnTo>
                  <a:pt x="926" y="1840"/>
                </a:lnTo>
                <a:lnTo>
                  <a:pt x="931" y="1862"/>
                </a:lnTo>
                <a:lnTo>
                  <a:pt x="940" y="1883"/>
                </a:lnTo>
                <a:lnTo>
                  <a:pt x="954" y="1902"/>
                </a:lnTo>
                <a:lnTo>
                  <a:pt x="1427" y="2334"/>
                </a:lnTo>
                <a:lnTo>
                  <a:pt x="1445" y="2349"/>
                </a:lnTo>
                <a:lnTo>
                  <a:pt x="1466" y="2360"/>
                </a:lnTo>
                <a:lnTo>
                  <a:pt x="1488" y="2366"/>
                </a:lnTo>
                <a:lnTo>
                  <a:pt x="1510" y="2366"/>
                </a:lnTo>
                <a:lnTo>
                  <a:pt x="1532" y="2362"/>
                </a:lnTo>
                <a:lnTo>
                  <a:pt x="1555" y="2354"/>
                </a:lnTo>
                <a:lnTo>
                  <a:pt x="1574" y="2339"/>
                </a:lnTo>
                <a:lnTo>
                  <a:pt x="1576" y="2336"/>
                </a:lnTo>
                <a:lnTo>
                  <a:pt x="1581" y="2327"/>
                </a:lnTo>
                <a:lnTo>
                  <a:pt x="1590" y="2314"/>
                </a:lnTo>
                <a:lnTo>
                  <a:pt x="1600" y="2297"/>
                </a:lnTo>
                <a:lnTo>
                  <a:pt x="1613" y="2275"/>
                </a:lnTo>
                <a:lnTo>
                  <a:pt x="1628" y="2250"/>
                </a:lnTo>
                <a:lnTo>
                  <a:pt x="1645" y="2222"/>
                </a:lnTo>
                <a:lnTo>
                  <a:pt x="1664" y="2189"/>
                </a:lnTo>
                <a:lnTo>
                  <a:pt x="1684" y="2155"/>
                </a:lnTo>
                <a:lnTo>
                  <a:pt x="1706" y="2117"/>
                </a:lnTo>
                <a:lnTo>
                  <a:pt x="1729" y="2076"/>
                </a:lnTo>
                <a:lnTo>
                  <a:pt x="1755" y="2034"/>
                </a:lnTo>
                <a:lnTo>
                  <a:pt x="1780" y="1989"/>
                </a:lnTo>
                <a:lnTo>
                  <a:pt x="1807" y="1944"/>
                </a:lnTo>
                <a:lnTo>
                  <a:pt x="1835" y="1897"/>
                </a:lnTo>
                <a:lnTo>
                  <a:pt x="1862" y="1848"/>
                </a:lnTo>
                <a:lnTo>
                  <a:pt x="1891" y="1798"/>
                </a:lnTo>
                <a:lnTo>
                  <a:pt x="1921" y="1749"/>
                </a:lnTo>
                <a:lnTo>
                  <a:pt x="1949" y="1699"/>
                </a:lnTo>
                <a:lnTo>
                  <a:pt x="1979" y="1650"/>
                </a:lnTo>
                <a:lnTo>
                  <a:pt x="2007" y="1601"/>
                </a:lnTo>
                <a:lnTo>
                  <a:pt x="2036" y="1551"/>
                </a:lnTo>
                <a:lnTo>
                  <a:pt x="2063" y="1503"/>
                </a:lnTo>
                <a:lnTo>
                  <a:pt x="2091" y="1456"/>
                </a:lnTo>
                <a:lnTo>
                  <a:pt x="2117" y="1410"/>
                </a:lnTo>
                <a:lnTo>
                  <a:pt x="2143" y="1366"/>
                </a:lnTo>
                <a:lnTo>
                  <a:pt x="2167" y="1324"/>
                </a:lnTo>
                <a:lnTo>
                  <a:pt x="2190" y="1284"/>
                </a:lnTo>
                <a:lnTo>
                  <a:pt x="2212" y="1248"/>
                </a:lnTo>
                <a:lnTo>
                  <a:pt x="2233" y="1213"/>
                </a:lnTo>
                <a:lnTo>
                  <a:pt x="2251" y="1182"/>
                </a:lnTo>
                <a:lnTo>
                  <a:pt x="2266" y="1153"/>
                </a:lnTo>
                <a:lnTo>
                  <a:pt x="2281" y="1128"/>
                </a:lnTo>
                <a:lnTo>
                  <a:pt x="2293" y="1107"/>
                </a:lnTo>
                <a:lnTo>
                  <a:pt x="2302" y="1091"/>
                </a:lnTo>
                <a:lnTo>
                  <a:pt x="2310" y="1079"/>
                </a:lnTo>
                <a:lnTo>
                  <a:pt x="2314" y="1072"/>
                </a:lnTo>
                <a:lnTo>
                  <a:pt x="2316" y="1069"/>
                </a:lnTo>
                <a:lnTo>
                  <a:pt x="2326" y="1047"/>
                </a:lnTo>
                <a:lnTo>
                  <a:pt x="2330" y="1025"/>
                </a:lnTo>
                <a:lnTo>
                  <a:pt x="2329" y="1003"/>
                </a:lnTo>
                <a:lnTo>
                  <a:pt x="2322" y="981"/>
                </a:lnTo>
                <a:lnTo>
                  <a:pt x="2312" y="961"/>
                </a:lnTo>
                <a:lnTo>
                  <a:pt x="2297" y="943"/>
                </a:lnTo>
                <a:lnTo>
                  <a:pt x="2278" y="928"/>
                </a:lnTo>
                <a:lnTo>
                  <a:pt x="2256" y="919"/>
                </a:lnTo>
                <a:lnTo>
                  <a:pt x="2234" y="915"/>
                </a:lnTo>
                <a:close/>
                <a:moveTo>
                  <a:pt x="1655" y="0"/>
                </a:moveTo>
                <a:lnTo>
                  <a:pt x="1760" y="3"/>
                </a:lnTo>
                <a:lnTo>
                  <a:pt x="1862" y="13"/>
                </a:lnTo>
                <a:lnTo>
                  <a:pt x="1963" y="29"/>
                </a:lnTo>
                <a:lnTo>
                  <a:pt x="2062" y="51"/>
                </a:lnTo>
                <a:lnTo>
                  <a:pt x="2159" y="78"/>
                </a:lnTo>
                <a:lnTo>
                  <a:pt x="2253" y="110"/>
                </a:lnTo>
                <a:lnTo>
                  <a:pt x="2345" y="149"/>
                </a:lnTo>
                <a:lnTo>
                  <a:pt x="2432" y="192"/>
                </a:lnTo>
                <a:lnTo>
                  <a:pt x="2518" y="240"/>
                </a:lnTo>
                <a:lnTo>
                  <a:pt x="2601" y="294"/>
                </a:lnTo>
                <a:lnTo>
                  <a:pt x="2679" y="351"/>
                </a:lnTo>
                <a:lnTo>
                  <a:pt x="2754" y="414"/>
                </a:lnTo>
                <a:lnTo>
                  <a:pt x="2825" y="480"/>
                </a:lnTo>
                <a:lnTo>
                  <a:pt x="2891" y="550"/>
                </a:lnTo>
                <a:lnTo>
                  <a:pt x="2955" y="624"/>
                </a:lnTo>
                <a:lnTo>
                  <a:pt x="3013" y="703"/>
                </a:lnTo>
                <a:lnTo>
                  <a:pt x="3067" y="784"/>
                </a:lnTo>
                <a:lnTo>
                  <a:pt x="3116" y="869"/>
                </a:lnTo>
                <a:lnTo>
                  <a:pt x="3159" y="956"/>
                </a:lnTo>
                <a:lnTo>
                  <a:pt x="3198" y="1047"/>
                </a:lnTo>
                <a:lnTo>
                  <a:pt x="3231" y="1140"/>
                </a:lnTo>
                <a:lnTo>
                  <a:pt x="3258" y="1235"/>
                </a:lnTo>
                <a:lnTo>
                  <a:pt x="3281" y="1333"/>
                </a:lnTo>
                <a:lnTo>
                  <a:pt x="3296" y="1433"/>
                </a:lnTo>
                <a:lnTo>
                  <a:pt x="3306" y="1535"/>
                </a:lnTo>
                <a:lnTo>
                  <a:pt x="3309" y="1638"/>
                </a:lnTo>
                <a:lnTo>
                  <a:pt x="3306" y="1742"/>
                </a:lnTo>
                <a:lnTo>
                  <a:pt x="3296" y="1845"/>
                </a:lnTo>
                <a:lnTo>
                  <a:pt x="3281" y="1944"/>
                </a:lnTo>
                <a:lnTo>
                  <a:pt x="3258" y="2042"/>
                </a:lnTo>
                <a:lnTo>
                  <a:pt x="3231" y="2138"/>
                </a:lnTo>
                <a:lnTo>
                  <a:pt x="3198" y="2231"/>
                </a:lnTo>
                <a:lnTo>
                  <a:pt x="3159" y="2321"/>
                </a:lnTo>
                <a:lnTo>
                  <a:pt x="3116" y="2409"/>
                </a:lnTo>
                <a:lnTo>
                  <a:pt x="3067" y="2494"/>
                </a:lnTo>
                <a:lnTo>
                  <a:pt x="3013" y="2575"/>
                </a:lnTo>
                <a:lnTo>
                  <a:pt x="2955" y="2653"/>
                </a:lnTo>
                <a:lnTo>
                  <a:pt x="2891" y="2727"/>
                </a:lnTo>
                <a:lnTo>
                  <a:pt x="2825" y="2798"/>
                </a:lnTo>
                <a:lnTo>
                  <a:pt x="2754" y="2864"/>
                </a:lnTo>
                <a:lnTo>
                  <a:pt x="2679" y="2926"/>
                </a:lnTo>
                <a:lnTo>
                  <a:pt x="2601" y="2984"/>
                </a:lnTo>
                <a:lnTo>
                  <a:pt x="2518" y="3036"/>
                </a:lnTo>
                <a:lnTo>
                  <a:pt x="2432" y="3086"/>
                </a:lnTo>
                <a:lnTo>
                  <a:pt x="2345" y="3129"/>
                </a:lnTo>
                <a:lnTo>
                  <a:pt x="2253" y="3167"/>
                </a:lnTo>
                <a:lnTo>
                  <a:pt x="2159" y="3200"/>
                </a:lnTo>
                <a:lnTo>
                  <a:pt x="2062" y="3227"/>
                </a:lnTo>
                <a:lnTo>
                  <a:pt x="1963" y="3249"/>
                </a:lnTo>
                <a:lnTo>
                  <a:pt x="1862" y="3265"/>
                </a:lnTo>
                <a:lnTo>
                  <a:pt x="1760" y="3274"/>
                </a:lnTo>
                <a:lnTo>
                  <a:pt x="1655" y="3277"/>
                </a:lnTo>
                <a:lnTo>
                  <a:pt x="1550" y="3274"/>
                </a:lnTo>
                <a:lnTo>
                  <a:pt x="1447" y="3265"/>
                </a:lnTo>
                <a:lnTo>
                  <a:pt x="1346" y="3249"/>
                </a:lnTo>
                <a:lnTo>
                  <a:pt x="1247" y="3227"/>
                </a:lnTo>
                <a:lnTo>
                  <a:pt x="1151" y="3200"/>
                </a:lnTo>
                <a:lnTo>
                  <a:pt x="1056" y="3167"/>
                </a:lnTo>
                <a:lnTo>
                  <a:pt x="966" y="3129"/>
                </a:lnTo>
                <a:lnTo>
                  <a:pt x="877" y="3086"/>
                </a:lnTo>
                <a:lnTo>
                  <a:pt x="791" y="3036"/>
                </a:lnTo>
                <a:lnTo>
                  <a:pt x="710" y="2984"/>
                </a:lnTo>
                <a:lnTo>
                  <a:pt x="630" y="2926"/>
                </a:lnTo>
                <a:lnTo>
                  <a:pt x="556" y="2864"/>
                </a:lnTo>
                <a:lnTo>
                  <a:pt x="484" y="2798"/>
                </a:lnTo>
                <a:lnTo>
                  <a:pt x="418" y="2727"/>
                </a:lnTo>
                <a:lnTo>
                  <a:pt x="355" y="2653"/>
                </a:lnTo>
                <a:lnTo>
                  <a:pt x="296" y="2575"/>
                </a:lnTo>
                <a:lnTo>
                  <a:pt x="243" y="2494"/>
                </a:lnTo>
                <a:lnTo>
                  <a:pt x="193" y="2409"/>
                </a:lnTo>
                <a:lnTo>
                  <a:pt x="150" y="2321"/>
                </a:lnTo>
                <a:lnTo>
                  <a:pt x="111" y="2231"/>
                </a:lnTo>
                <a:lnTo>
                  <a:pt x="78" y="2138"/>
                </a:lnTo>
                <a:lnTo>
                  <a:pt x="51" y="2042"/>
                </a:lnTo>
                <a:lnTo>
                  <a:pt x="28" y="1944"/>
                </a:lnTo>
                <a:lnTo>
                  <a:pt x="13" y="1845"/>
                </a:lnTo>
                <a:lnTo>
                  <a:pt x="3" y="1742"/>
                </a:lnTo>
                <a:lnTo>
                  <a:pt x="0" y="1638"/>
                </a:lnTo>
                <a:lnTo>
                  <a:pt x="3" y="1535"/>
                </a:lnTo>
                <a:lnTo>
                  <a:pt x="13" y="1433"/>
                </a:lnTo>
                <a:lnTo>
                  <a:pt x="28" y="1333"/>
                </a:lnTo>
                <a:lnTo>
                  <a:pt x="51" y="1235"/>
                </a:lnTo>
                <a:lnTo>
                  <a:pt x="78" y="1140"/>
                </a:lnTo>
                <a:lnTo>
                  <a:pt x="111" y="1047"/>
                </a:lnTo>
                <a:lnTo>
                  <a:pt x="150" y="956"/>
                </a:lnTo>
                <a:lnTo>
                  <a:pt x="193" y="869"/>
                </a:lnTo>
                <a:lnTo>
                  <a:pt x="243" y="784"/>
                </a:lnTo>
                <a:lnTo>
                  <a:pt x="296" y="703"/>
                </a:lnTo>
                <a:lnTo>
                  <a:pt x="355" y="624"/>
                </a:lnTo>
                <a:lnTo>
                  <a:pt x="418" y="550"/>
                </a:lnTo>
                <a:lnTo>
                  <a:pt x="484" y="480"/>
                </a:lnTo>
                <a:lnTo>
                  <a:pt x="556" y="414"/>
                </a:lnTo>
                <a:lnTo>
                  <a:pt x="630" y="351"/>
                </a:lnTo>
                <a:lnTo>
                  <a:pt x="710" y="294"/>
                </a:lnTo>
                <a:lnTo>
                  <a:pt x="791" y="240"/>
                </a:lnTo>
                <a:lnTo>
                  <a:pt x="877" y="192"/>
                </a:lnTo>
                <a:lnTo>
                  <a:pt x="966" y="149"/>
                </a:lnTo>
                <a:lnTo>
                  <a:pt x="1056" y="110"/>
                </a:lnTo>
                <a:lnTo>
                  <a:pt x="1151" y="78"/>
                </a:lnTo>
                <a:lnTo>
                  <a:pt x="1247" y="51"/>
                </a:lnTo>
                <a:lnTo>
                  <a:pt x="1346" y="29"/>
                </a:lnTo>
                <a:lnTo>
                  <a:pt x="1447" y="13"/>
                </a:lnTo>
                <a:lnTo>
                  <a:pt x="1550" y="3"/>
                </a:lnTo>
                <a:lnTo>
                  <a:pt x="1655" y="0"/>
                </a:lnTo>
                <a:close/>
              </a:path>
            </a:pathLst>
          </a:cu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6"/>
          <p:cNvSpPr>
            <a:spLocks noChangeAspect="1" noEditPoints="1"/>
          </p:cNvSpPr>
          <p:nvPr/>
        </p:nvSpPr>
        <p:spPr bwMode="auto">
          <a:xfrm>
            <a:off x="6794366" y="4168691"/>
            <a:ext cx="184664" cy="182880"/>
          </a:xfrm>
          <a:custGeom>
            <a:avLst/>
            <a:gdLst>
              <a:gd name="T0" fmla="*/ 2188 w 3309"/>
              <a:gd name="T1" fmla="*/ 922 h 3277"/>
              <a:gd name="T2" fmla="*/ 2136 w 3309"/>
              <a:gd name="T3" fmla="*/ 966 h 3277"/>
              <a:gd name="T4" fmla="*/ 1087 w 3309"/>
              <a:gd name="T5" fmla="*/ 1747 h 3277"/>
              <a:gd name="T6" fmla="*/ 1022 w 3309"/>
              <a:gd name="T7" fmla="*/ 1730 h 3277"/>
              <a:gd name="T8" fmla="*/ 959 w 3309"/>
              <a:gd name="T9" fmla="*/ 1758 h 3277"/>
              <a:gd name="T10" fmla="*/ 927 w 3309"/>
              <a:gd name="T11" fmla="*/ 1818 h 3277"/>
              <a:gd name="T12" fmla="*/ 940 w 3309"/>
              <a:gd name="T13" fmla="*/ 1883 h 3277"/>
              <a:gd name="T14" fmla="*/ 1445 w 3309"/>
              <a:gd name="T15" fmla="*/ 2349 h 3277"/>
              <a:gd name="T16" fmla="*/ 1510 w 3309"/>
              <a:gd name="T17" fmla="*/ 2366 h 3277"/>
              <a:gd name="T18" fmla="*/ 1574 w 3309"/>
              <a:gd name="T19" fmla="*/ 2339 h 3277"/>
              <a:gd name="T20" fmla="*/ 1590 w 3309"/>
              <a:gd name="T21" fmla="*/ 2314 h 3277"/>
              <a:gd name="T22" fmla="*/ 1628 w 3309"/>
              <a:gd name="T23" fmla="*/ 2250 h 3277"/>
              <a:gd name="T24" fmla="*/ 1684 w 3309"/>
              <a:gd name="T25" fmla="*/ 2155 h 3277"/>
              <a:gd name="T26" fmla="*/ 1755 w 3309"/>
              <a:gd name="T27" fmla="*/ 2034 h 3277"/>
              <a:gd name="T28" fmla="*/ 1835 w 3309"/>
              <a:gd name="T29" fmla="*/ 1897 h 3277"/>
              <a:gd name="T30" fmla="*/ 1921 w 3309"/>
              <a:gd name="T31" fmla="*/ 1749 h 3277"/>
              <a:gd name="T32" fmla="*/ 2007 w 3309"/>
              <a:gd name="T33" fmla="*/ 1601 h 3277"/>
              <a:gd name="T34" fmla="*/ 2091 w 3309"/>
              <a:gd name="T35" fmla="*/ 1456 h 3277"/>
              <a:gd name="T36" fmla="*/ 2167 w 3309"/>
              <a:gd name="T37" fmla="*/ 1324 h 3277"/>
              <a:gd name="T38" fmla="*/ 2233 w 3309"/>
              <a:gd name="T39" fmla="*/ 1213 h 3277"/>
              <a:gd name="T40" fmla="*/ 2281 w 3309"/>
              <a:gd name="T41" fmla="*/ 1128 h 3277"/>
              <a:gd name="T42" fmla="*/ 2310 w 3309"/>
              <a:gd name="T43" fmla="*/ 1079 h 3277"/>
              <a:gd name="T44" fmla="*/ 2326 w 3309"/>
              <a:gd name="T45" fmla="*/ 1047 h 3277"/>
              <a:gd name="T46" fmla="*/ 2322 w 3309"/>
              <a:gd name="T47" fmla="*/ 981 h 3277"/>
              <a:gd name="T48" fmla="*/ 2278 w 3309"/>
              <a:gd name="T49" fmla="*/ 928 h 3277"/>
              <a:gd name="T50" fmla="*/ 1655 w 3309"/>
              <a:gd name="T51" fmla="*/ 0 h 3277"/>
              <a:gd name="T52" fmla="*/ 1963 w 3309"/>
              <a:gd name="T53" fmla="*/ 29 h 3277"/>
              <a:gd name="T54" fmla="*/ 2253 w 3309"/>
              <a:gd name="T55" fmla="*/ 110 h 3277"/>
              <a:gd name="T56" fmla="*/ 2518 w 3309"/>
              <a:gd name="T57" fmla="*/ 240 h 3277"/>
              <a:gd name="T58" fmla="*/ 2754 w 3309"/>
              <a:gd name="T59" fmla="*/ 414 h 3277"/>
              <a:gd name="T60" fmla="*/ 2955 w 3309"/>
              <a:gd name="T61" fmla="*/ 624 h 3277"/>
              <a:gd name="T62" fmla="*/ 3116 w 3309"/>
              <a:gd name="T63" fmla="*/ 869 h 3277"/>
              <a:gd name="T64" fmla="*/ 3231 w 3309"/>
              <a:gd name="T65" fmla="*/ 1140 h 3277"/>
              <a:gd name="T66" fmla="*/ 3296 w 3309"/>
              <a:gd name="T67" fmla="*/ 1433 h 3277"/>
              <a:gd name="T68" fmla="*/ 3306 w 3309"/>
              <a:gd name="T69" fmla="*/ 1742 h 3277"/>
              <a:gd name="T70" fmla="*/ 3258 w 3309"/>
              <a:gd name="T71" fmla="*/ 2042 h 3277"/>
              <a:gd name="T72" fmla="*/ 3159 w 3309"/>
              <a:gd name="T73" fmla="*/ 2321 h 3277"/>
              <a:gd name="T74" fmla="*/ 3013 w 3309"/>
              <a:gd name="T75" fmla="*/ 2575 h 3277"/>
              <a:gd name="T76" fmla="*/ 2825 w 3309"/>
              <a:gd name="T77" fmla="*/ 2798 h 3277"/>
              <a:gd name="T78" fmla="*/ 2601 w 3309"/>
              <a:gd name="T79" fmla="*/ 2984 h 3277"/>
              <a:gd name="T80" fmla="*/ 2345 w 3309"/>
              <a:gd name="T81" fmla="*/ 3129 h 3277"/>
              <a:gd name="T82" fmla="*/ 2062 w 3309"/>
              <a:gd name="T83" fmla="*/ 3227 h 3277"/>
              <a:gd name="T84" fmla="*/ 1760 w 3309"/>
              <a:gd name="T85" fmla="*/ 3274 h 3277"/>
              <a:gd name="T86" fmla="*/ 1447 w 3309"/>
              <a:gd name="T87" fmla="*/ 3265 h 3277"/>
              <a:gd name="T88" fmla="*/ 1151 w 3309"/>
              <a:gd name="T89" fmla="*/ 3200 h 3277"/>
              <a:gd name="T90" fmla="*/ 877 w 3309"/>
              <a:gd name="T91" fmla="*/ 3086 h 3277"/>
              <a:gd name="T92" fmla="*/ 630 w 3309"/>
              <a:gd name="T93" fmla="*/ 2926 h 3277"/>
              <a:gd name="T94" fmla="*/ 418 w 3309"/>
              <a:gd name="T95" fmla="*/ 2727 h 3277"/>
              <a:gd name="T96" fmla="*/ 243 w 3309"/>
              <a:gd name="T97" fmla="*/ 2494 h 3277"/>
              <a:gd name="T98" fmla="*/ 111 w 3309"/>
              <a:gd name="T99" fmla="*/ 2231 h 3277"/>
              <a:gd name="T100" fmla="*/ 28 w 3309"/>
              <a:gd name="T101" fmla="*/ 1944 h 3277"/>
              <a:gd name="T102" fmla="*/ 0 w 3309"/>
              <a:gd name="T103" fmla="*/ 1638 h 3277"/>
              <a:gd name="T104" fmla="*/ 28 w 3309"/>
              <a:gd name="T105" fmla="*/ 1333 h 3277"/>
              <a:gd name="T106" fmla="*/ 111 w 3309"/>
              <a:gd name="T107" fmla="*/ 1047 h 3277"/>
              <a:gd name="T108" fmla="*/ 243 w 3309"/>
              <a:gd name="T109" fmla="*/ 784 h 3277"/>
              <a:gd name="T110" fmla="*/ 418 w 3309"/>
              <a:gd name="T111" fmla="*/ 550 h 3277"/>
              <a:gd name="T112" fmla="*/ 630 w 3309"/>
              <a:gd name="T113" fmla="*/ 351 h 3277"/>
              <a:gd name="T114" fmla="*/ 877 w 3309"/>
              <a:gd name="T115" fmla="*/ 192 h 3277"/>
              <a:gd name="T116" fmla="*/ 1151 w 3309"/>
              <a:gd name="T117" fmla="*/ 78 h 3277"/>
              <a:gd name="T118" fmla="*/ 1447 w 3309"/>
              <a:gd name="T119" fmla="*/ 13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09" h="3277">
                <a:moveTo>
                  <a:pt x="2234" y="915"/>
                </a:moveTo>
                <a:lnTo>
                  <a:pt x="2210" y="916"/>
                </a:lnTo>
                <a:lnTo>
                  <a:pt x="2188" y="922"/>
                </a:lnTo>
                <a:lnTo>
                  <a:pt x="2168" y="932"/>
                </a:lnTo>
                <a:lnTo>
                  <a:pt x="2151" y="947"/>
                </a:lnTo>
                <a:lnTo>
                  <a:pt x="2136" y="966"/>
                </a:lnTo>
                <a:lnTo>
                  <a:pt x="1475" y="2100"/>
                </a:lnTo>
                <a:lnTo>
                  <a:pt x="1105" y="1763"/>
                </a:lnTo>
                <a:lnTo>
                  <a:pt x="1087" y="1747"/>
                </a:lnTo>
                <a:lnTo>
                  <a:pt x="1066" y="1737"/>
                </a:lnTo>
                <a:lnTo>
                  <a:pt x="1045" y="1731"/>
                </a:lnTo>
                <a:lnTo>
                  <a:pt x="1022" y="1730"/>
                </a:lnTo>
                <a:lnTo>
                  <a:pt x="999" y="1735"/>
                </a:lnTo>
                <a:lnTo>
                  <a:pt x="978" y="1744"/>
                </a:lnTo>
                <a:lnTo>
                  <a:pt x="959" y="1758"/>
                </a:lnTo>
                <a:lnTo>
                  <a:pt x="943" y="1775"/>
                </a:lnTo>
                <a:lnTo>
                  <a:pt x="933" y="1796"/>
                </a:lnTo>
                <a:lnTo>
                  <a:pt x="927" y="1818"/>
                </a:lnTo>
                <a:lnTo>
                  <a:pt x="926" y="1840"/>
                </a:lnTo>
                <a:lnTo>
                  <a:pt x="931" y="1862"/>
                </a:lnTo>
                <a:lnTo>
                  <a:pt x="940" y="1883"/>
                </a:lnTo>
                <a:lnTo>
                  <a:pt x="954" y="1902"/>
                </a:lnTo>
                <a:lnTo>
                  <a:pt x="1427" y="2334"/>
                </a:lnTo>
                <a:lnTo>
                  <a:pt x="1445" y="2349"/>
                </a:lnTo>
                <a:lnTo>
                  <a:pt x="1466" y="2360"/>
                </a:lnTo>
                <a:lnTo>
                  <a:pt x="1488" y="2366"/>
                </a:lnTo>
                <a:lnTo>
                  <a:pt x="1510" y="2366"/>
                </a:lnTo>
                <a:lnTo>
                  <a:pt x="1532" y="2362"/>
                </a:lnTo>
                <a:lnTo>
                  <a:pt x="1555" y="2354"/>
                </a:lnTo>
                <a:lnTo>
                  <a:pt x="1574" y="2339"/>
                </a:lnTo>
                <a:lnTo>
                  <a:pt x="1576" y="2336"/>
                </a:lnTo>
                <a:lnTo>
                  <a:pt x="1581" y="2327"/>
                </a:lnTo>
                <a:lnTo>
                  <a:pt x="1590" y="2314"/>
                </a:lnTo>
                <a:lnTo>
                  <a:pt x="1600" y="2297"/>
                </a:lnTo>
                <a:lnTo>
                  <a:pt x="1613" y="2275"/>
                </a:lnTo>
                <a:lnTo>
                  <a:pt x="1628" y="2250"/>
                </a:lnTo>
                <a:lnTo>
                  <a:pt x="1645" y="2222"/>
                </a:lnTo>
                <a:lnTo>
                  <a:pt x="1664" y="2189"/>
                </a:lnTo>
                <a:lnTo>
                  <a:pt x="1684" y="2155"/>
                </a:lnTo>
                <a:lnTo>
                  <a:pt x="1706" y="2117"/>
                </a:lnTo>
                <a:lnTo>
                  <a:pt x="1729" y="2076"/>
                </a:lnTo>
                <a:lnTo>
                  <a:pt x="1755" y="2034"/>
                </a:lnTo>
                <a:lnTo>
                  <a:pt x="1780" y="1989"/>
                </a:lnTo>
                <a:lnTo>
                  <a:pt x="1807" y="1944"/>
                </a:lnTo>
                <a:lnTo>
                  <a:pt x="1835" y="1897"/>
                </a:lnTo>
                <a:lnTo>
                  <a:pt x="1862" y="1848"/>
                </a:lnTo>
                <a:lnTo>
                  <a:pt x="1891" y="1798"/>
                </a:lnTo>
                <a:lnTo>
                  <a:pt x="1921" y="1749"/>
                </a:lnTo>
                <a:lnTo>
                  <a:pt x="1949" y="1699"/>
                </a:lnTo>
                <a:lnTo>
                  <a:pt x="1979" y="1650"/>
                </a:lnTo>
                <a:lnTo>
                  <a:pt x="2007" y="1601"/>
                </a:lnTo>
                <a:lnTo>
                  <a:pt x="2036" y="1551"/>
                </a:lnTo>
                <a:lnTo>
                  <a:pt x="2063" y="1503"/>
                </a:lnTo>
                <a:lnTo>
                  <a:pt x="2091" y="1456"/>
                </a:lnTo>
                <a:lnTo>
                  <a:pt x="2117" y="1410"/>
                </a:lnTo>
                <a:lnTo>
                  <a:pt x="2143" y="1366"/>
                </a:lnTo>
                <a:lnTo>
                  <a:pt x="2167" y="1324"/>
                </a:lnTo>
                <a:lnTo>
                  <a:pt x="2190" y="1284"/>
                </a:lnTo>
                <a:lnTo>
                  <a:pt x="2212" y="1248"/>
                </a:lnTo>
                <a:lnTo>
                  <a:pt x="2233" y="1213"/>
                </a:lnTo>
                <a:lnTo>
                  <a:pt x="2251" y="1182"/>
                </a:lnTo>
                <a:lnTo>
                  <a:pt x="2266" y="1153"/>
                </a:lnTo>
                <a:lnTo>
                  <a:pt x="2281" y="1128"/>
                </a:lnTo>
                <a:lnTo>
                  <a:pt x="2293" y="1107"/>
                </a:lnTo>
                <a:lnTo>
                  <a:pt x="2302" y="1091"/>
                </a:lnTo>
                <a:lnTo>
                  <a:pt x="2310" y="1079"/>
                </a:lnTo>
                <a:lnTo>
                  <a:pt x="2314" y="1072"/>
                </a:lnTo>
                <a:lnTo>
                  <a:pt x="2316" y="1069"/>
                </a:lnTo>
                <a:lnTo>
                  <a:pt x="2326" y="1047"/>
                </a:lnTo>
                <a:lnTo>
                  <a:pt x="2330" y="1025"/>
                </a:lnTo>
                <a:lnTo>
                  <a:pt x="2329" y="1003"/>
                </a:lnTo>
                <a:lnTo>
                  <a:pt x="2322" y="981"/>
                </a:lnTo>
                <a:lnTo>
                  <a:pt x="2312" y="961"/>
                </a:lnTo>
                <a:lnTo>
                  <a:pt x="2297" y="943"/>
                </a:lnTo>
                <a:lnTo>
                  <a:pt x="2278" y="928"/>
                </a:lnTo>
                <a:lnTo>
                  <a:pt x="2256" y="919"/>
                </a:lnTo>
                <a:lnTo>
                  <a:pt x="2234" y="915"/>
                </a:lnTo>
                <a:close/>
                <a:moveTo>
                  <a:pt x="1655" y="0"/>
                </a:moveTo>
                <a:lnTo>
                  <a:pt x="1760" y="3"/>
                </a:lnTo>
                <a:lnTo>
                  <a:pt x="1862" y="13"/>
                </a:lnTo>
                <a:lnTo>
                  <a:pt x="1963" y="29"/>
                </a:lnTo>
                <a:lnTo>
                  <a:pt x="2062" y="51"/>
                </a:lnTo>
                <a:lnTo>
                  <a:pt x="2159" y="78"/>
                </a:lnTo>
                <a:lnTo>
                  <a:pt x="2253" y="110"/>
                </a:lnTo>
                <a:lnTo>
                  <a:pt x="2345" y="149"/>
                </a:lnTo>
                <a:lnTo>
                  <a:pt x="2432" y="192"/>
                </a:lnTo>
                <a:lnTo>
                  <a:pt x="2518" y="240"/>
                </a:lnTo>
                <a:lnTo>
                  <a:pt x="2601" y="294"/>
                </a:lnTo>
                <a:lnTo>
                  <a:pt x="2679" y="351"/>
                </a:lnTo>
                <a:lnTo>
                  <a:pt x="2754" y="414"/>
                </a:lnTo>
                <a:lnTo>
                  <a:pt x="2825" y="480"/>
                </a:lnTo>
                <a:lnTo>
                  <a:pt x="2891" y="550"/>
                </a:lnTo>
                <a:lnTo>
                  <a:pt x="2955" y="624"/>
                </a:lnTo>
                <a:lnTo>
                  <a:pt x="3013" y="703"/>
                </a:lnTo>
                <a:lnTo>
                  <a:pt x="3067" y="784"/>
                </a:lnTo>
                <a:lnTo>
                  <a:pt x="3116" y="869"/>
                </a:lnTo>
                <a:lnTo>
                  <a:pt x="3159" y="956"/>
                </a:lnTo>
                <a:lnTo>
                  <a:pt x="3198" y="1047"/>
                </a:lnTo>
                <a:lnTo>
                  <a:pt x="3231" y="1140"/>
                </a:lnTo>
                <a:lnTo>
                  <a:pt x="3258" y="1235"/>
                </a:lnTo>
                <a:lnTo>
                  <a:pt x="3281" y="1333"/>
                </a:lnTo>
                <a:lnTo>
                  <a:pt x="3296" y="1433"/>
                </a:lnTo>
                <a:lnTo>
                  <a:pt x="3306" y="1535"/>
                </a:lnTo>
                <a:lnTo>
                  <a:pt x="3309" y="1638"/>
                </a:lnTo>
                <a:lnTo>
                  <a:pt x="3306" y="1742"/>
                </a:lnTo>
                <a:lnTo>
                  <a:pt x="3296" y="1845"/>
                </a:lnTo>
                <a:lnTo>
                  <a:pt x="3281" y="1944"/>
                </a:lnTo>
                <a:lnTo>
                  <a:pt x="3258" y="2042"/>
                </a:lnTo>
                <a:lnTo>
                  <a:pt x="3231" y="2138"/>
                </a:lnTo>
                <a:lnTo>
                  <a:pt x="3198" y="2231"/>
                </a:lnTo>
                <a:lnTo>
                  <a:pt x="3159" y="2321"/>
                </a:lnTo>
                <a:lnTo>
                  <a:pt x="3116" y="2409"/>
                </a:lnTo>
                <a:lnTo>
                  <a:pt x="3067" y="2494"/>
                </a:lnTo>
                <a:lnTo>
                  <a:pt x="3013" y="2575"/>
                </a:lnTo>
                <a:lnTo>
                  <a:pt x="2955" y="2653"/>
                </a:lnTo>
                <a:lnTo>
                  <a:pt x="2891" y="2727"/>
                </a:lnTo>
                <a:lnTo>
                  <a:pt x="2825" y="2798"/>
                </a:lnTo>
                <a:lnTo>
                  <a:pt x="2754" y="2864"/>
                </a:lnTo>
                <a:lnTo>
                  <a:pt x="2679" y="2926"/>
                </a:lnTo>
                <a:lnTo>
                  <a:pt x="2601" y="2984"/>
                </a:lnTo>
                <a:lnTo>
                  <a:pt x="2518" y="3036"/>
                </a:lnTo>
                <a:lnTo>
                  <a:pt x="2432" y="3086"/>
                </a:lnTo>
                <a:lnTo>
                  <a:pt x="2345" y="3129"/>
                </a:lnTo>
                <a:lnTo>
                  <a:pt x="2253" y="3167"/>
                </a:lnTo>
                <a:lnTo>
                  <a:pt x="2159" y="3200"/>
                </a:lnTo>
                <a:lnTo>
                  <a:pt x="2062" y="3227"/>
                </a:lnTo>
                <a:lnTo>
                  <a:pt x="1963" y="3249"/>
                </a:lnTo>
                <a:lnTo>
                  <a:pt x="1862" y="3265"/>
                </a:lnTo>
                <a:lnTo>
                  <a:pt x="1760" y="3274"/>
                </a:lnTo>
                <a:lnTo>
                  <a:pt x="1655" y="3277"/>
                </a:lnTo>
                <a:lnTo>
                  <a:pt x="1550" y="3274"/>
                </a:lnTo>
                <a:lnTo>
                  <a:pt x="1447" y="3265"/>
                </a:lnTo>
                <a:lnTo>
                  <a:pt x="1346" y="3249"/>
                </a:lnTo>
                <a:lnTo>
                  <a:pt x="1247" y="3227"/>
                </a:lnTo>
                <a:lnTo>
                  <a:pt x="1151" y="3200"/>
                </a:lnTo>
                <a:lnTo>
                  <a:pt x="1056" y="3167"/>
                </a:lnTo>
                <a:lnTo>
                  <a:pt x="966" y="3129"/>
                </a:lnTo>
                <a:lnTo>
                  <a:pt x="877" y="3086"/>
                </a:lnTo>
                <a:lnTo>
                  <a:pt x="791" y="3036"/>
                </a:lnTo>
                <a:lnTo>
                  <a:pt x="710" y="2984"/>
                </a:lnTo>
                <a:lnTo>
                  <a:pt x="630" y="2926"/>
                </a:lnTo>
                <a:lnTo>
                  <a:pt x="556" y="2864"/>
                </a:lnTo>
                <a:lnTo>
                  <a:pt x="484" y="2798"/>
                </a:lnTo>
                <a:lnTo>
                  <a:pt x="418" y="2727"/>
                </a:lnTo>
                <a:lnTo>
                  <a:pt x="355" y="2653"/>
                </a:lnTo>
                <a:lnTo>
                  <a:pt x="296" y="2575"/>
                </a:lnTo>
                <a:lnTo>
                  <a:pt x="243" y="2494"/>
                </a:lnTo>
                <a:lnTo>
                  <a:pt x="193" y="2409"/>
                </a:lnTo>
                <a:lnTo>
                  <a:pt x="150" y="2321"/>
                </a:lnTo>
                <a:lnTo>
                  <a:pt x="111" y="2231"/>
                </a:lnTo>
                <a:lnTo>
                  <a:pt x="78" y="2138"/>
                </a:lnTo>
                <a:lnTo>
                  <a:pt x="51" y="2042"/>
                </a:lnTo>
                <a:lnTo>
                  <a:pt x="28" y="1944"/>
                </a:lnTo>
                <a:lnTo>
                  <a:pt x="13" y="1845"/>
                </a:lnTo>
                <a:lnTo>
                  <a:pt x="3" y="1742"/>
                </a:lnTo>
                <a:lnTo>
                  <a:pt x="0" y="1638"/>
                </a:lnTo>
                <a:lnTo>
                  <a:pt x="3" y="1535"/>
                </a:lnTo>
                <a:lnTo>
                  <a:pt x="13" y="1433"/>
                </a:lnTo>
                <a:lnTo>
                  <a:pt x="28" y="1333"/>
                </a:lnTo>
                <a:lnTo>
                  <a:pt x="51" y="1235"/>
                </a:lnTo>
                <a:lnTo>
                  <a:pt x="78" y="1140"/>
                </a:lnTo>
                <a:lnTo>
                  <a:pt x="111" y="1047"/>
                </a:lnTo>
                <a:lnTo>
                  <a:pt x="150" y="956"/>
                </a:lnTo>
                <a:lnTo>
                  <a:pt x="193" y="869"/>
                </a:lnTo>
                <a:lnTo>
                  <a:pt x="243" y="784"/>
                </a:lnTo>
                <a:lnTo>
                  <a:pt x="296" y="703"/>
                </a:lnTo>
                <a:lnTo>
                  <a:pt x="355" y="624"/>
                </a:lnTo>
                <a:lnTo>
                  <a:pt x="418" y="550"/>
                </a:lnTo>
                <a:lnTo>
                  <a:pt x="484" y="480"/>
                </a:lnTo>
                <a:lnTo>
                  <a:pt x="556" y="414"/>
                </a:lnTo>
                <a:lnTo>
                  <a:pt x="630" y="351"/>
                </a:lnTo>
                <a:lnTo>
                  <a:pt x="710" y="294"/>
                </a:lnTo>
                <a:lnTo>
                  <a:pt x="791" y="240"/>
                </a:lnTo>
                <a:lnTo>
                  <a:pt x="877" y="192"/>
                </a:lnTo>
                <a:lnTo>
                  <a:pt x="966" y="149"/>
                </a:lnTo>
                <a:lnTo>
                  <a:pt x="1056" y="110"/>
                </a:lnTo>
                <a:lnTo>
                  <a:pt x="1151" y="78"/>
                </a:lnTo>
                <a:lnTo>
                  <a:pt x="1247" y="51"/>
                </a:lnTo>
                <a:lnTo>
                  <a:pt x="1346" y="29"/>
                </a:lnTo>
                <a:lnTo>
                  <a:pt x="1447" y="13"/>
                </a:lnTo>
                <a:lnTo>
                  <a:pt x="1550" y="3"/>
                </a:lnTo>
                <a:lnTo>
                  <a:pt x="1655" y="0"/>
                </a:lnTo>
                <a:close/>
              </a:path>
            </a:pathLst>
          </a:cu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11"/>
          <p:cNvSpPr>
            <a:spLocks noChangeAspect="1" noEditPoints="1"/>
          </p:cNvSpPr>
          <p:nvPr/>
        </p:nvSpPr>
        <p:spPr bwMode="auto">
          <a:xfrm>
            <a:off x="3527037" y="1662630"/>
            <a:ext cx="454515" cy="457200"/>
          </a:xfrm>
          <a:custGeom>
            <a:avLst/>
            <a:gdLst>
              <a:gd name="T0" fmla="*/ 2052 w 3385"/>
              <a:gd name="T1" fmla="*/ 1972 h 3404"/>
              <a:gd name="T2" fmla="*/ 2358 w 3385"/>
              <a:gd name="T3" fmla="*/ 2206 h 3404"/>
              <a:gd name="T4" fmla="*/ 2463 w 3385"/>
              <a:gd name="T5" fmla="*/ 2439 h 3404"/>
              <a:gd name="T6" fmla="*/ 2366 w 3385"/>
              <a:gd name="T7" fmla="*/ 2509 h 3404"/>
              <a:gd name="T8" fmla="*/ 2259 w 3385"/>
              <a:gd name="T9" fmla="*/ 2404 h 3404"/>
              <a:gd name="T10" fmla="*/ 2039 w 3385"/>
              <a:gd name="T11" fmla="*/ 2181 h 3404"/>
              <a:gd name="T12" fmla="*/ 1727 w 3385"/>
              <a:gd name="T13" fmla="*/ 2098 h 3404"/>
              <a:gd name="T14" fmla="*/ 1409 w 3385"/>
              <a:gd name="T15" fmla="*/ 2181 h 3404"/>
              <a:gd name="T16" fmla="*/ 1190 w 3385"/>
              <a:gd name="T17" fmla="*/ 2403 h 3404"/>
              <a:gd name="T18" fmla="*/ 1097 w 3385"/>
              <a:gd name="T19" fmla="*/ 2509 h 3404"/>
              <a:gd name="T20" fmla="*/ 995 w 3385"/>
              <a:gd name="T21" fmla="*/ 2460 h 3404"/>
              <a:gd name="T22" fmla="*/ 1051 w 3385"/>
              <a:gd name="T23" fmla="*/ 2260 h 3404"/>
              <a:gd name="T24" fmla="*/ 1336 w 3385"/>
              <a:gd name="T25" fmla="*/ 2001 h 3404"/>
              <a:gd name="T26" fmla="*/ 1727 w 3385"/>
              <a:gd name="T27" fmla="*/ 1905 h 3404"/>
              <a:gd name="T28" fmla="*/ 2308 w 3385"/>
              <a:gd name="T29" fmla="*/ 1113 h 3404"/>
              <a:gd name="T30" fmla="*/ 2342 w 3385"/>
              <a:gd name="T31" fmla="*/ 1311 h 3404"/>
              <a:gd name="T32" fmla="*/ 2191 w 3385"/>
              <a:gd name="T33" fmla="*/ 1437 h 3404"/>
              <a:gd name="T34" fmla="*/ 2004 w 3385"/>
              <a:gd name="T35" fmla="*/ 1370 h 3404"/>
              <a:gd name="T36" fmla="*/ 1971 w 3385"/>
              <a:gd name="T37" fmla="*/ 1172 h 3404"/>
              <a:gd name="T38" fmla="*/ 2121 w 3385"/>
              <a:gd name="T39" fmla="*/ 1046 h 3404"/>
              <a:gd name="T40" fmla="*/ 1387 w 3385"/>
              <a:gd name="T41" fmla="*/ 1090 h 3404"/>
              <a:gd name="T42" fmla="*/ 1453 w 3385"/>
              <a:gd name="T43" fmla="*/ 1277 h 3404"/>
              <a:gd name="T44" fmla="*/ 1328 w 3385"/>
              <a:gd name="T45" fmla="*/ 1428 h 3404"/>
              <a:gd name="T46" fmla="*/ 1131 w 3385"/>
              <a:gd name="T47" fmla="*/ 1394 h 3404"/>
              <a:gd name="T48" fmla="*/ 1065 w 3385"/>
              <a:gd name="T49" fmla="*/ 1206 h 3404"/>
              <a:gd name="T50" fmla="*/ 1189 w 3385"/>
              <a:gd name="T51" fmla="*/ 1055 h 3404"/>
              <a:gd name="T52" fmla="*/ 1440 w 3385"/>
              <a:gd name="T53" fmla="*/ 286 h 3404"/>
              <a:gd name="T54" fmla="*/ 960 w 3385"/>
              <a:gd name="T55" fmla="*/ 464 h 3404"/>
              <a:gd name="T56" fmla="*/ 561 w 3385"/>
              <a:gd name="T57" fmla="*/ 819 h 3404"/>
              <a:gd name="T58" fmla="*/ 323 w 3385"/>
              <a:gd name="T59" fmla="*/ 1282 h 3404"/>
              <a:gd name="T60" fmla="*/ 264 w 3385"/>
              <a:gd name="T61" fmla="*/ 1787 h 3404"/>
              <a:gd name="T62" fmla="*/ 383 w 3385"/>
              <a:gd name="T63" fmla="*/ 2285 h 3404"/>
              <a:gd name="T64" fmla="*/ 680 w 3385"/>
              <a:gd name="T65" fmla="*/ 2720 h 3404"/>
              <a:gd name="T66" fmla="*/ 1113 w 3385"/>
              <a:gd name="T67" fmla="*/ 3019 h 3404"/>
              <a:gd name="T68" fmla="*/ 1608 w 3385"/>
              <a:gd name="T69" fmla="*/ 3139 h 3404"/>
              <a:gd name="T70" fmla="*/ 2110 w 3385"/>
              <a:gd name="T71" fmla="*/ 3079 h 3404"/>
              <a:gd name="T72" fmla="*/ 2570 w 3385"/>
              <a:gd name="T73" fmla="*/ 2840 h 3404"/>
              <a:gd name="T74" fmla="*/ 2923 w 3385"/>
              <a:gd name="T75" fmla="*/ 2438 h 3404"/>
              <a:gd name="T76" fmla="*/ 3101 w 3385"/>
              <a:gd name="T77" fmla="*/ 1956 h 3404"/>
              <a:gd name="T78" fmla="*/ 3101 w 3385"/>
              <a:gd name="T79" fmla="*/ 1448 h 3404"/>
              <a:gd name="T80" fmla="*/ 2923 w 3385"/>
              <a:gd name="T81" fmla="*/ 965 h 3404"/>
              <a:gd name="T82" fmla="*/ 2570 w 3385"/>
              <a:gd name="T83" fmla="*/ 564 h 3404"/>
              <a:gd name="T84" fmla="*/ 2110 w 3385"/>
              <a:gd name="T85" fmla="*/ 325 h 3404"/>
              <a:gd name="T86" fmla="*/ 1692 w 3385"/>
              <a:gd name="T87" fmla="*/ 0 h 3404"/>
              <a:gd name="T88" fmla="*/ 2241 w 3385"/>
              <a:gd name="T89" fmla="*/ 91 h 3404"/>
              <a:gd name="T90" fmla="*/ 2742 w 3385"/>
              <a:gd name="T91" fmla="*/ 366 h 3404"/>
              <a:gd name="T92" fmla="*/ 3132 w 3385"/>
              <a:gd name="T93" fmla="*/ 805 h 3404"/>
              <a:gd name="T94" fmla="*/ 3344 w 3385"/>
              <a:gd name="T95" fmla="*/ 1331 h 3404"/>
              <a:gd name="T96" fmla="*/ 3374 w 3385"/>
              <a:gd name="T97" fmla="*/ 1888 h 3404"/>
              <a:gd name="T98" fmla="*/ 3223 w 3385"/>
              <a:gd name="T99" fmla="*/ 2430 h 3404"/>
              <a:gd name="T100" fmla="*/ 2890 w 3385"/>
              <a:gd name="T101" fmla="*/ 2906 h 3404"/>
              <a:gd name="T102" fmla="*/ 2416 w 3385"/>
              <a:gd name="T103" fmla="*/ 3241 h 3404"/>
              <a:gd name="T104" fmla="*/ 1877 w 3385"/>
              <a:gd name="T105" fmla="*/ 3394 h 3404"/>
              <a:gd name="T106" fmla="*/ 1323 w 3385"/>
              <a:gd name="T107" fmla="*/ 3363 h 3404"/>
              <a:gd name="T108" fmla="*/ 802 w 3385"/>
              <a:gd name="T109" fmla="*/ 3150 h 3404"/>
              <a:gd name="T110" fmla="*/ 364 w 3385"/>
              <a:gd name="T111" fmla="*/ 2758 h 3404"/>
              <a:gd name="T112" fmla="*/ 92 w 3385"/>
              <a:gd name="T113" fmla="*/ 2254 h 3404"/>
              <a:gd name="T114" fmla="*/ 0 w 3385"/>
              <a:gd name="T115" fmla="*/ 1702 h 3404"/>
              <a:gd name="T116" fmla="*/ 92 w 3385"/>
              <a:gd name="T117" fmla="*/ 1149 h 3404"/>
              <a:gd name="T118" fmla="*/ 364 w 3385"/>
              <a:gd name="T119" fmla="*/ 646 h 3404"/>
              <a:gd name="T120" fmla="*/ 802 w 3385"/>
              <a:gd name="T121" fmla="*/ 254 h 3404"/>
              <a:gd name="T122" fmla="*/ 1323 w 3385"/>
              <a:gd name="T123" fmla="*/ 41 h 3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85" h="3404">
                <a:moveTo>
                  <a:pt x="1727" y="1905"/>
                </a:moveTo>
                <a:lnTo>
                  <a:pt x="1794" y="1908"/>
                </a:lnTo>
                <a:lnTo>
                  <a:pt x="1862" y="1917"/>
                </a:lnTo>
                <a:lnTo>
                  <a:pt x="1927" y="1930"/>
                </a:lnTo>
                <a:lnTo>
                  <a:pt x="1991" y="1949"/>
                </a:lnTo>
                <a:lnTo>
                  <a:pt x="2052" y="1972"/>
                </a:lnTo>
                <a:lnTo>
                  <a:pt x="2110" y="2000"/>
                </a:lnTo>
                <a:lnTo>
                  <a:pt x="2166" y="2034"/>
                </a:lnTo>
                <a:lnTo>
                  <a:pt x="2219" y="2070"/>
                </a:lnTo>
                <a:lnTo>
                  <a:pt x="2269" y="2112"/>
                </a:lnTo>
                <a:lnTo>
                  <a:pt x="2315" y="2157"/>
                </a:lnTo>
                <a:lnTo>
                  <a:pt x="2358" y="2206"/>
                </a:lnTo>
                <a:lnTo>
                  <a:pt x="2395" y="2259"/>
                </a:lnTo>
                <a:lnTo>
                  <a:pt x="2429" y="2316"/>
                </a:lnTo>
                <a:lnTo>
                  <a:pt x="2458" y="2375"/>
                </a:lnTo>
                <a:lnTo>
                  <a:pt x="2465" y="2396"/>
                </a:lnTo>
                <a:lnTo>
                  <a:pt x="2466" y="2417"/>
                </a:lnTo>
                <a:lnTo>
                  <a:pt x="2463" y="2439"/>
                </a:lnTo>
                <a:lnTo>
                  <a:pt x="2454" y="2458"/>
                </a:lnTo>
                <a:lnTo>
                  <a:pt x="2443" y="2476"/>
                </a:lnTo>
                <a:lnTo>
                  <a:pt x="2427" y="2490"/>
                </a:lnTo>
                <a:lnTo>
                  <a:pt x="2408" y="2502"/>
                </a:lnTo>
                <a:lnTo>
                  <a:pt x="2387" y="2508"/>
                </a:lnTo>
                <a:lnTo>
                  <a:pt x="2366" y="2509"/>
                </a:lnTo>
                <a:lnTo>
                  <a:pt x="2345" y="2506"/>
                </a:lnTo>
                <a:lnTo>
                  <a:pt x="2326" y="2499"/>
                </a:lnTo>
                <a:lnTo>
                  <a:pt x="2308" y="2486"/>
                </a:lnTo>
                <a:lnTo>
                  <a:pt x="2293" y="2471"/>
                </a:lnTo>
                <a:lnTo>
                  <a:pt x="2282" y="2452"/>
                </a:lnTo>
                <a:lnTo>
                  <a:pt x="2259" y="2404"/>
                </a:lnTo>
                <a:lnTo>
                  <a:pt x="2231" y="2358"/>
                </a:lnTo>
                <a:lnTo>
                  <a:pt x="2200" y="2316"/>
                </a:lnTo>
                <a:lnTo>
                  <a:pt x="2164" y="2277"/>
                </a:lnTo>
                <a:lnTo>
                  <a:pt x="2126" y="2241"/>
                </a:lnTo>
                <a:lnTo>
                  <a:pt x="2083" y="2209"/>
                </a:lnTo>
                <a:lnTo>
                  <a:pt x="2039" y="2181"/>
                </a:lnTo>
                <a:lnTo>
                  <a:pt x="1992" y="2156"/>
                </a:lnTo>
                <a:lnTo>
                  <a:pt x="1942" y="2136"/>
                </a:lnTo>
                <a:lnTo>
                  <a:pt x="1891" y="2119"/>
                </a:lnTo>
                <a:lnTo>
                  <a:pt x="1837" y="2108"/>
                </a:lnTo>
                <a:lnTo>
                  <a:pt x="1783" y="2101"/>
                </a:lnTo>
                <a:lnTo>
                  <a:pt x="1727" y="2098"/>
                </a:lnTo>
                <a:lnTo>
                  <a:pt x="1669" y="2101"/>
                </a:lnTo>
                <a:lnTo>
                  <a:pt x="1613" y="2108"/>
                </a:lnTo>
                <a:lnTo>
                  <a:pt x="1558" y="2119"/>
                </a:lnTo>
                <a:lnTo>
                  <a:pt x="1506" y="2136"/>
                </a:lnTo>
                <a:lnTo>
                  <a:pt x="1456" y="2156"/>
                </a:lnTo>
                <a:lnTo>
                  <a:pt x="1409" y="2181"/>
                </a:lnTo>
                <a:lnTo>
                  <a:pt x="1364" y="2209"/>
                </a:lnTo>
                <a:lnTo>
                  <a:pt x="1321" y="2241"/>
                </a:lnTo>
                <a:lnTo>
                  <a:pt x="1283" y="2276"/>
                </a:lnTo>
                <a:lnTo>
                  <a:pt x="1249" y="2316"/>
                </a:lnTo>
                <a:lnTo>
                  <a:pt x="1217" y="2358"/>
                </a:lnTo>
                <a:lnTo>
                  <a:pt x="1190" y="2403"/>
                </a:lnTo>
                <a:lnTo>
                  <a:pt x="1167" y="2452"/>
                </a:lnTo>
                <a:lnTo>
                  <a:pt x="1158" y="2469"/>
                </a:lnTo>
                <a:lnTo>
                  <a:pt x="1146" y="2483"/>
                </a:lnTo>
                <a:lnTo>
                  <a:pt x="1131" y="2495"/>
                </a:lnTo>
                <a:lnTo>
                  <a:pt x="1114" y="2503"/>
                </a:lnTo>
                <a:lnTo>
                  <a:pt x="1097" y="2509"/>
                </a:lnTo>
                <a:lnTo>
                  <a:pt x="1079" y="2510"/>
                </a:lnTo>
                <a:lnTo>
                  <a:pt x="1060" y="2509"/>
                </a:lnTo>
                <a:lnTo>
                  <a:pt x="1042" y="2503"/>
                </a:lnTo>
                <a:lnTo>
                  <a:pt x="1023" y="2493"/>
                </a:lnTo>
                <a:lnTo>
                  <a:pt x="1006" y="2478"/>
                </a:lnTo>
                <a:lnTo>
                  <a:pt x="995" y="2460"/>
                </a:lnTo>
                <a:lnTo>
                  <a:pt x="987" y="2441"/>
                </a:lnTo>
                <a:lnTo>
                  <a:pt x="983" y="2420"/>
                </a:lnTo>
                <a:lnTo>
                  <a:pt x="985" y="2398"/>
                </a:lnTo>
                <a:lnTo>
                  <a:pt x="991" y="2378"/>
                </a:lnTo>
                <a:lnTo>
                  <a:pt x="1018" y="2318"/>
                </a:lnTo>
                <a:lnTo>
                  <a:pt x="1051" y="2260"/>
                </a:lnTo>
                <a:lnTo>
                  <a:pt x="1088" y="2208"/>
                </a:lnTo>
                <a:lnTo>
                  <a:pt x="1130" y="2158"/>
                </a:lnTo>
                <a:lnTo>
                  <a:pt x="1177" y="2113"/>
                </a:lnTo>
                <a:lnTo>
                  <a:pt x="1226" y="2071"/>
                </a:lnTo>
                <a:lnTo>
                  <a:pt x="1280" y="2034"/>
                </a:lnTo>
                <a:lnTo>
                  <a:pt x="1336" y="2001"/>
                </a:lnTo>
                <a:lnTo>
                  <a:pt x="1395" y="1973"/>
                </a:lnTo>
                <a:lnTo>
                  <a:pt x="1458" y="1949"/>
                </a:lnTo>
                <a:lnTo>
                  <a:pt x="1522" y="1930"/>
                </a:lnTo>
                <a:lnTo>
                  <a:pt x="1588" y="1917"/>
                </a:lnTo>
                <a:lnTo>
                  <a:pt x="1656" y="1908"/>
                </a:lnTo>
                <a:lnTo>
                  <a:pt x="1727" y="1905"/>
                </a:lnTo>
                <a:close/>
                <a:moveTo>
                  <a:pt x="2156" y="1043"/>
                </a:moveTo>
                <a:lnTo>
                  <a:pt x="2191" y="1046"/>
                </a:lnTo>
                <a:lnTo>
                  <a:pt x="2225" y="1055"/>
                </a:lnTo>
                <a:lnTo>
                  <a:pt x="2256" y="1070"/>
                </a:lnTo>
                <a:lnTo>
                  <a:pt x="2284" y="1090"/>
                </a:lnTo>
                <a:lnTo>
                  <a:pt x="2308" y="1113"/>
                </a:lnTo>
                <a:lnTo>
                  <a:pt x="2327" y="1141"/>
                </a:lnTo>
                <a:lnTo>
                  <a:pt x="2341" y="1172"/>
                </a:lnTo>
                <a:lnTo>
                  <a:pt x="2350" y="1206"/>
                </a:lnTo>
                <a:lnTo>
                  <a:pt x="2354" y="1241"/>
                </a:lnTo>
                <a:lnTo>
                  <a:pt x="2350" y="1277"/>
                </a:lnTo>
                <a:lnTo>
                  <a:pt x="2342" y="1311"/>
                </a:lnTo>
                <a:lnTo>
                  <a:pt x="2327" y="1342"/>
                </a:lnTo>
                <a:lnTo>
                  <a:pt x="2308" y="1370"/>
                </a:lnTo>
                <a:lnTo>
                  <a:pt x="2284" y="1394"/>
                </a:lnTo>
                <a:lnTo>
                  <a:pt x="2256" y="1413"/>
                </a:lnTo>
                <a:lnTo>
                  <a:pt x="2225" y="1428"/>
                </a:lnTo>
                <a:lnTo>
                  <a:pt x="2191" y="1437"/>
                </a:lnTo>
                <a:lnTo>
                  <a:pt x="2156" y="1440"/>
                </a:lnTo>
                <a:lnTo>
                  <a:pt x="2121" y="1437"/>
                </a:lnTo>
                <a:lnTo>
                  <a:pt x="2087" y="1428"/>
                </a:lnTo>
                <a:lnTo>
                  <a:pt x="2056" y="1413"/>
                </a:lnTo>
                <a:lnTo>
                  <a:pt x="2028" y="1394"/>
                </a:lnTo>
                <a:lnTo>
                  <a:pt x="2004" y="1370"/>
                </a:lnTo>
                <a:lnTo>
                  <a:pt x="1986" y="1342"/>
                </a:lnTo>
                <a:lnTo>
                  <a:pt x="1971" y="1311"/>
                </a:lnTo>
                <a:lnTo>
                  <a:pt x="1962" y="1277"/>
                </a:lnTo>
                <a:lnTo>
                  <a:pt x="1959" y="1241"/>
                </a:lnTo>
                <a:lnTo>
                  <a:pt x="1962" y="1206"/>
                </a:lnTo>
                <a:lnTo>
                  <a:pt x="1971" y="1172"/>
                </a:lnTo>
                <a:lnTo>
                  <a:pt x="1986" y="1141"/>
                </a:lnTo>
                <a:lnTo>
                  <a:pt x="2004" y="1113"/>
                </a:lnTo>
                <a:lnTo>
                  <a:pt x="2028" y="1090"/>
                </a:lnTo>
                <a:lnTo>
                  <a:pt x="2056" y="1070"/>
                </a:lnTo>
                <a:lnTo>
                  <a:pt x="2087" y="1055"/>
                </a:lnTo>
                <a:lnTo>
                  <a:pt x="2121" y="1046"/>
                </a:lnTo>
                <a:lnTo>
                  <a:pt x="2156" y="1043"/>
                </a:lnTo>
                <a:close/>
                <a:moveTo>
                  <a:pt x="1259" y="1043"/>
                </a:moveTo>
                <a:lnTo>
                  <a:pt x="1294" y="1046"/>
                </a:lnTo>
                <a:lnTo>
                  <a:pt x="1328" y="1055"/>
                </a:lnTo>
                <a:lnTo>
                  <a:pt x="1359" y="1070"/>
                </a:lnTo>
                <a:lnTo>
                  <a:pt x="1387" y="1090"/>
                </a:lnTo>
                <a:lnTo>
                  <a:pt x="1410" y="1113"/>
                </a:lnTo>
                <a:lnTo>
                  <a:pt x="1429" y="1141"/>
                </a:lnTo>
                <a:lnTo>
                  <a:pt x="1444" y="1172"/>
                </a:lnTo>
                <a:lnTo>
                  <a:pt x="1453" y="1206"/>
                </a:lnTo>
                <a:lnTo>
                  <a:pt x="1456" y="1241"/>
                </a:lnTo>
                <a:lnTo>
                  <a:pt x="1453" y="1277"/>
                </a:lnTo>
                <a:lnTo>
                  <a:pt x="1444" y="1311"/>
                </a:lnTo>
                <a:lnTo>
                  <a:pt x="1429" y="1342"/>
                </a:lnTo>
                <a:lnTo>
                  <a:pt x="1410" y="1370"/>
                </a:lnTo>
                <a:lnTo>
                  <a:pt x="1387" y="1394"/>
                </a:lnTo>
                <a:lnTo>
                  <a:pt x="1359" y="1413"/>
                </a:lnTo>
                <a:lnTo>
                  <a:pt x="1328" y="1428"/>
                </a:lnTo>
                <a:lnTo>
                  <a:pt x="1294" y="1437"/>
                </a:lnTo>
                <a:lnTo>
                  <a:pt x="1259" y="1440"/>
                </a:lnTo>
                <a:lnTo>
                  <a:pt x="1224" y="1437"/>
                </a:lnTo>
                <a:lnTo>
                  <a:pt x="1189" y="1428"/>
                </a:lnTo>
                <a:lnTo>
                  <a:pt x="1159" y="1413"/>
                </a:lnTo>
                <a:lnTo>
                  <a:pt x="1131" y="1394"/>
                </a:lnTo>
                <a:lnTo>
                  <a:pt x="1107" y="1370"/>
                </a:lnTo>
                <a:lnTo>
                  <a:pt x="1088" y="1342"/>
                </a:lnTo>
                <a:lnTo>
                  <a:pt x="1074" y="1311"/>
                </a:lnTo>
                <a:lnTo>
                  <a:pt x="1065" y="1277"/>
                </a:lnTo>
                <a:lnTo>
                  <a:pt x="1061" y="1241"/>
                </a:lnTo>
                <a:lnTo>
                  <a:pt x="1065" y="1206"/>
                </a:lnTo>
                <a:lnTo>
                  <a:pt x="1074" y="1172"/>
                </a:lnTo>
                <a:lnTo>
                  <a:pt x="1088" y="1141"/>
                </a:lnTo>
                <a:lnTo>
                  <a:pt x="1107" y="1113"/>
                </a:lnTo>
                <a:lnTo>
                  <a:pt x="1131" y="1090"/>
                </a:lnTo>
                <a:lnTo>
                  <a:pt x="1159" y="1070"/>
                </a:lnTo>
                <a:lnTo>
                  <a:pt x="1189" y="1055"/>
                </a:lnTo>
                <a:lnTo>
                  <a:pt x="1224" y="1046"/>
                </a:lnTo>
                <a:lnTo>
                  <a:pt x="1259" y="1043"/>
                </a:lnTo>
                <a:close/>
                <a:moveTo>
                  <a:pt x="1692" y="263"/>
                </a:moveTo>
                <a:lnTo>
                  <a:pt x="1608" y="265"/>
                </a:lnTo>
                <a:lnTo>
                  <a:pt x="1524" y="273"/>
                </a:lnTo>
                <a:lnTo>
                  <a:pt x="1440" y="286"/>
                </a:lnTo>
                <a:lnTo>
                  <a:pt x="1357" y="302"/>
                </a:lnTo>
                <a:lnTo>
                  <a:pt x="1275" y="325"/>
                </a:lnTo>
                <a:lnTo>
                  <a:pt x="1193" y="353"/>
                </a:lnTo>
                <a:lnTo>
                  <a:pt x="1113" y="385"/>
                </a:lnTo>
                <a:lnTo>
                  <a:pt x="1036" y="423"/>
                </a:lnTo>
                <a:lnTo>
                  <a:pt x="960" y="464"/>
                </a:lnTo>
                <a:lnTo>
                  <a:pt x="886" y="511"/>
                </a:lnTo>
                <a:lnTo>
                  <a:pt x="815" y="564"/>
                </a:lnTo>
                <a:lnTo>
                  <a:pt x="746" y="621"/>
                </a:lnTo>
                <a:lnTo>
                  <a:pt x="680" y="684"/>
                </a:lnTo>
                <a:lnTo>
                  <a:pt x="619" y="750"/>
                </a:lnTo>
                <a:lnTo>
                  <a:pt x="561" y="819"/>
                </a:lnTo>
                <a:lnTo>
                  <a:pt x="509" y="891"/>
                </a:lnTo>
                <a:lnTo>
                  <a:pt x="462" y="965"/>
                </a:lnTo>
                <a:lnTo>
                  <a:pt x="420" y="1041"/>
                </a:lnTo>
                <a:lnTo>
                  <a:pt x="383" y="1120"/>
                </a:lnTo>
                <a:lnTo>
                  <a:pt x="350" y="1200"/>
                </a:lnTo>
                <a:lnTo>
                  <a:pt x="323" y="1282"/>
                </a:lnTo>
                <a:lnTo>
                  <a:pt x="300" y="1365"/>
                </a:lnTo>
                <a:lnTo>
                  <a:pt x="284" y="1448"/>
                </a:lnTo>
                <a:lnTo>
                  <a:pt x="271" y="1532"/>
                </a:lnTo>
                <a:lnTo>
                  <a:pt x="264" y="1616"/>
                </a:lnTo>
                <a:lnTo>
                  <a:pt x="261" y="1702"/>
                </a:lnTo>
                <a:lnTo>
                  <a:pt x="264" y="1787"/>
                </a:lnTo>
                <a:lnTo>
                  <a:pt x="271" y="1872"/>
                </a:lnTo>
                <a:lnTo>
                  <a:pt x="284" y="1956"/>
                </a:lnTo>
                <a:lnTo>
                  <a:pt x="300" y="2040"/>
                </a:lnTo>
                <a:lnTo>
                  <a:pt x="323" y="2122"/>
                </a:lnTo>
                <a:lnTo>
                  <a:pt x="350" y="2204"/>
                </a:lnTo>
                <a:lnTo>
                  <a:pt x="383" y="2285"/>
                </a:lnTo>
                <a:lnTo>
                  <a:pt x="420" y="2362"/>
                </a:lnTo>
                <a:lnTo>
                  <a:pt x="462" y="2439"/>
                </a:lnTo>
                <a:lnTo>
                  <a:pt x="509" y="2513"/>
                </a:lnTo>
                <a:lnTo>
                  <a:pt x="561" y="2585"/>
                </a:lnTo>
                <a:lnTo>
                  <a:pt x="619" y="2654"/>
                </a:lnTo>
                <a:lnTo>
                  <a:pt x="680" y="2720"/>
                </a:lnTo>
                <a:lnTo>
                  <a:pt x="746" y="2782"/>
                </a:lnTo>
                <a:lnTo>
                  <a:pt x="815" y="2840"/>
                </a:lnTo>
                <a:lnTo>
                  <a:pt x="886" y="2892"/>
                </a:lnTo>
                <a:lnTo>
                  <a:pt x="960" y="2940"/>
                </a:lnTo>
                <a:lnTo>
                  <a:pt x="1036" y="2982"/>
                </a:lnTo>
                <a:lnTo>
                  <a:pt x="1113" y="3019"/>
                </a:lnTo>
                <a:lnTo>
                  <a:pt x="1193" y="3052"/>
                </a:lnTo>
                <a:lnTo>
                  <a:pt x="1275" y="3079"/>
                </a:lnTo>
                <a:lnTo>
                  <a:pt x="1357" y="3102"/>
                </a:lnTo>
                <a:lnTo>
                  <a:pt x="1440" y="3119"/>
                </a:lnTo>
                <a:lnTo>
                  <a:pt x="1524" y="3131"/>
                </a:lnTo>
                <a:lnTo>
                  <a:pt x="1608" y="3139"/>
                </a:lnTo>
                <a:lnTo>
                  <a:pt x="1692" y="3142"/>
                </a:lnTo>
                <a:lnTo>
                  <a:pt x="1777" y="3139"/>
                </a:lnTo>
                <a:lnTo>
                  <a:pt x="1862" y="3131"/>
                </a:lnTo>
                <a:lnTo>
                  <a:pt x="1945" y="3119"/>
                </a:lnTo>
                <a:lnTo>
                  <a:pt x="2028" y="3101"/>
                </a:lnTo>
                <a:lnTo>
                  <a:pt x="2110" y="3079"/>
                </a:lnTo>
                <a:lnTo>
                  <a:pt x="2191" y="3052"/>
                </a:lnTo>
                <a:lnTo>
                  <a:pt x="2271" y="3019"/>
                </a:lnTo>
                <a:lnTo>
                  <a:pt x="2349" y="2982"/>
                </a:lnTo>
                <a:lnTo>
                  <a:pt x="2425" y="2939"/>
                </a:lnTo>
                <a:lnTo>
                  <a:pt x="2499" y="2892"/>
                </a:lnTo>
                <a:lnTo>
                  <a:pt x="2570" y="2840"/>
                </a:lnTo>
                <a:lnTo>
                  <a:pt x="2639" y="2782"/>
                </a:lnTo>
                <a:lnTo>
                  <a:pt x="2705" y="2720"/>
                </a:lnTo>
                <a:lnTo>
                  <a:pt x="2767" y="2654"/>
                </a:lnTo>
                <a:lnTo>
                  <a:pt x="2823" y="2585"/>
                </a:lnTo>
                <a:lnTo>
                  <a:pt x="2875" y="2512"/>
                </a:lnTo>
                <a:lnTo>
                  <a:pt x="2923" y="2438"/>
                </a:lnTo>
                <a:lnTo>
                  <a:pt x="2965" y="2362"/>
                </a:lnTo>
                <a:lnTo>
                  <a:pt x="3002" y="2283"/>
                </a:lnTo>
                <a:lnTo>
                  <a:pt x="3035" y="2204"/>
                </a:lnTo>
                <a:lnTo>
                  <a:pt x="3062" y="2122"/>
                </a:lnTo>
                <a:lnTo>
                  <a:pt x="3084" y="2040"/>
                </a:lnTo>
                <a:lnTo>
                  <a:pt x="3101" y="1956"/>
                </a:lnTo>
                <a:lnTo>
                  <a:pt x="3114" y="1872"/>
                </a:lnTo>
                <a:lnTo>
                  <a:pt x="3121" y="1787"/>
                </a:lnTo>
                <a:lnTo>
                  <a:pt x="3124" y="1702"/>
                </a:lnTo>
                <a:lnTo>
                  <a:pt x="3121" y="1616"/>
                </a:lnTo>
                <a:lnTo>
                  <a:pt x="3114" y="1532"/>
                </a:lnTo>
                <a:lnTo>
                  <a:pt x="3101" y="1448"/>
                </a:lnTo>
                <a:lnTo>
                  <a:pt x="3084" y="1365"/>
                </a:lnTo>
                <a:lnTo>
                  <a:pt x="3062" y="1282"/>
                </a:lnTo>
                <a:lnTo>
                  <a:pt x="3035" y="1200"/>
                </a:lnTo>
                <a:lnTo>
                  <a:pt x="3002" y="1120"/>
                </a:lnTo>
                <a:lnTo>
                  <a:pt x="2965" y="1041"/>
                </a:lnTo>
                <a:lnTo>
                  <a:pt x="2923" y="965"/>
                </a:lnTo>
                <a:lnTo>
                  <a:pt x="2875" y="891"/>
                </a:lnTo>
                <a:lnTo>
                  <a:pt x="2823" y="820"/>
                </a:lnTo>
                <a:lnTo>
                  <a:pt x="2767" y="750"/>
                </a:lnTo>
                <a:lnTo>
                  <a:pt x="2705" y="684"/>
                </a:lnTo>
                <a:lnTo>
                  <a:pt x="2639" y="621"/>
                </a:lnTo>
                <a:lnTo>
                  <a:pt x="2570" y="564"/>
                </a:lnTo>
                <a:lnTo>
                  <a:pt x="2499" y="511"/>
                </a:lnTo>
                <a:lnTo>
                  <a:pt x="2425" y="464"/>
                </a:lnTo>
                <a:lnTo>
                  <a:pt x="2349" y="423"/>
                </a:lnTo>
                <a:lnTo>
                  <a:pt x="2271" y="385"/>
                </a:lnTo>
                <a:lnTo>
                  <a:pt x="2191" y="353"/>
                </a:lnTo>
                <a:lnTo>
                  <a:pt x="2110" y="325"/>
                </a:lnTo>
                <a:lnTo>
                  <a:pt x="2028" y="302"/>
                </a:lnTo>
                <a:lnTo>
                  <a:pt x="1945" y="286"/>
                </a:lnTo>
                <a:lnTo>
                  <a:pt x="1862" y="273"/>
                </a:lnTo>
                <a:lnTo>
                  <a:pt x="1777" y="265"/>
                </a:lnTo>
                <a:lnTo>
                  <a:pt x="1692" y="263"/>
                </a:lnTo>
                <a:close/>
                <a:moveTo>
                  <a:pt x="1692" y="0"/>
                </a:moveTo>
                <a:lnTo>
                  <a:pt x="1785" y="2"/>
                </a:lnTo>
                <a:lnTo>
                  <a:pt x="1879" y="11"/>
                </a:lnTo>
                <a:lnTo>
                  <a:pt x="1970" y="23"/>
                </a:lnTo>
                <a:lnTo>
                  <a:pt x="2061" y="41"/>
                </a:lnTo>
                <a:lnTo>
                  <a:pt x="2152" y="64"/>
                </a:lnTo>
                <a:lnTo>
                  <a:pt x="2241" y="91"/>
                </a:lnTo>
                <a:lnTo>
                  <a:pt x="2330" y="125"/>
                </a:lnTo>
                <a:lnTo>
                  <a:pt x="2416" y="163"/>
                </a:lnTo>
                <a:lnTo>
                  <a:pt x="2501" y="206"/>
                </a:lnTo>
                <a:lnTo>
                  <a:pt x="2583" y="254"/>
                </a:lnTo>
                <a:lnTo>
                  <a:pt x="2664" y="308"/>
                </a:lnTo>
                <a:lnTo>
                  <a:pt x="2742" y="366"/>
                </a:lnTo>
                <a:lnTo>
                  <a:pt x="2817" y="430"/>
                </a:lnTo>
                <a:lnTo>
                  <a:pt x="2890" y="498"/>
                </a:lnTo>
                <a:lnTo>
                  <a:pt x="2958" y="571"/>
                </a:lnTo>
                <a:lnTo>
                  <a:pt x="3021" y="646"/>
                </a:lnTo>
                <a:lnTo>
                  <a:pt x="3079" y="725"/>
                </a:lnTo>
                <a:lnTo>
                  <a:pt x="3132" y="805"/>
                </a:lnTo>
                <a:lnTo>
                  <a:pt x="3180" y="889"/>
                </a:lnTo>
                <a:lnTo>
                  <a:pt x="3223" y="975"/>
                </a:lnTo>
                <a:lnTo>
                  <a:pt x="3261" y="1061"/>
                </a:lnTo>
                <a:lnTo>
                  <a:pt x="3293" y="1149"/>
                </a:lnTo>
                <a:lnTo>
                  <a:pt x="3321" y="1240"/>
                </a:lnTo>
                <a:lnTo>
                  <a:pt x="3344" y="1331"/>
                </a:lnTo>
                <a:lnTo>
                  <a:pt x="3362" y="1423"/>
                </a:lnTo>
                <a:lnTo>
                  <a:pt x="3374" y="1515"/>
                </a:lnTo>
                <a:lnTo>
                  <a:pt x="3382" y="1609"/>
                </a:lnTo>
                <a:lnTo>
                  <a:pt x="3385" y="1702"/>
                </a:lnTo>
                <a:lnTo>
                  <a:pt x="3382" y="1795"/>
                </a:lnTo>
                <a:lnTo>
                  <a:pt x="3374" y="1888"/>
                </a:lnTo>
                <a:lnTo>
                  <a:pt x="3362" y="1981"/>
                </a:lnTo>
                <a:lnTo>
                  <a:pt x="3344" y="2073"/>
                </a:lnTo>
                <a:lnTo>
                  <a:pt x="3321" y="2164"/>
                </a:lnTo>
                <a:lnTo>
                  <a:pt x="3293" y="2254"/>
                </a:lnTo>
                <a:lnTo>
                  <a:pt x="3261" y="2343"/>
                </a:lnTo>
                <a:lnTo>
                  <a:pt x="3223" y="2430"/>
                </a:lnTo>
                <a:lnTo>
                  <a:pt x="3180" y="2516"/>
                </a:lnTo>
                <a:lnTo>
                  <a:pt x="3132" y="2598"/>
                </a:lnTo>
                <a:lnTo>
                  <a:pt x="3079" y="2680"/>
                </a:lnTo>
                <a:lnTo>
                  <a:pt x="3021" y="2757"/>
                </a:lnTo>
                <a:lnTo>
                  <a:pt x="2958" y="2833"/>
                </a:lnTo>
                <a:lnTo>
                  <a:pt x="2890" y="2906"/>
                </a:lnTo>
                <a:lnTo>
                  <a:pt x="2817" y="2975"/>
                </a:lnTo>
                <a:lnTo>
                  <a:pt x="2742" y="3038"/>
                </a:lnTo>
                <a:lnTo>
                  <a:pt x="2664" y="3097"/>
                </a:lnTo>
                <a:lnTo>
                  <a:pt x="2583" y="3150"/>
                </a:lnTo>
                <a:lnTo>
                  <a:pt x="2501" y="3198"/>
                </a:lnTo>
                <a:lnTo>
                  <a:pt x="2416" y="3241"/>
                </a:lnTo>
                <a:lnTo>
                  <a:pt x="2330" y="3280"/>
                </a:lnTo>
                <a:lnTo>
                  <a:pt x="2241" y="3312"/>
                </a:lnTo>
                <a:lnTo>
                  <a:pt x="2152" y="3340"/>
                </a:lnTo>
                <a:lnTo>
                  <a:pt x="2061" y="3363"/>
                </a:lnTo>
                <a:lnTo>
                  <a:pt x="1970" y="3381"/>
                </a:lnTo>
                <a:lnTo>
                  <a:pt x="1877" y="3394"/>
                </a:lnTo>
                <a:lnTo>
                  <a:pt x="1785" y="3401"/>
                </a:lnTo>
                <a:lnTo>
                  <a:pt x="1692" y="3404"/>
                </a:lnTo>
                <a:lnTo>
                  <a:pt x="1600" y="3401"/>
                </a:lnTo>
                <a:lnTo>
                  <a:pt x="1507" y="3394"/>
                </a:lnTo>
                <a:lnTo>
                  <a:pt x="1415" y="3381"/>
                </a:lnTo>
                <a:lnTo>
                  <a:pt x="1323" y="3363"/>
                </a:lnTo>
                <a:lnTo>
                  <a:pt x="1233" y="3340"/>
                </a:lnTo>
                <a:lnTo>
                  <a:pt x="1144" y="3312"/>
                </a:lnTo>
                <a:lnTo>
                  <a:pt x="1055" y="3280"/>
                </a:lnTo>
                <a:lnTo>
                  <a:pt x="969" y="3241"/>
                </a:lnTo>
                <a:lnTo>
                  <a:pt x="884" y="3198"/>
                </a:lnTo>
                <a:lnTo>
                  <a:pt x="802" y="3150"/>
                </a:lnTo>
                <a:lnTo>
                  <a:pt x="720" y="3097"/>
                </a:lnTo>
                <a:lnTo>
                  <a:pt x="642" y="3038"/>
                </a:lnTo>
                <a:lnTo>
                  <a:pt x="568" y="2975"/>
                </a:lnTo>
                <a:lnTo>
                  <a:pt x="495" y="2907"/>
                </a:lnTo>
                <a:lnTo>
                  <a:pt x="427" y="2833"/>
                </a:lnTo>
                <a:lnTo>
                  <a:pt x="364" y="2758"/>
                </a:lnTo>
                <a:lnTo>
                  <a:pt x="306" y="2680"/>
                </a:lnTo>
                <a:lnTo>
                  <a:pt x="253" y="2598"/>
                </a:lnTo>
                <a:lnTo>
                  <a:pt x="205" y="2516"/>
                </a:lnTo>
                <a:lnTo>
                  <a:pt x="162" y="2430"/>
                </a:lnTo>
                <a:lnTo>
                  <a:pt x="124" y="2343"/>
                </a:lnTo>
                <a:lnTo>
                  <a:pt x="92" y="2254"/>
                </a:lnTo>
                <a:lnTo>
                  <a:pt x="63" y="2164"/>
                </a:lnTo>
                <a:lnTo>
                  <a:pt x="41" y="2073"/>
                </a:lnTo>
                <a:lnTo>
                  <a:pt x="23" y="1981"/>
                </a:lnTo>
                <a:lnTo>
                  <a:pt x="10" y="1888"/>
                </a:lnTo>
                <a:lnTo>
                  <a:pt x="3" y="1795"/>
                </a:lnTo>
                <a:lnTo>
                  <a:pt x="0" y="1702"/>
                </a:lnTo>
                <a:lnTo>
                  <a:pt x="3" y="1608"/>
                </a:lnTo>
                <a:lnTo>
                  <a:pt x="10" y="1515"/>
                </a:lnTo>
                <a:lnTo>
                  <a:pt x="23" y="1423"/>
                </a:lnTo>
                <a:lnTo>
                  <a:pt x="41" y="1331"/>
                </a:lnTo>
                <a:lnTo>
                  <a:pt x="63" y="1240"/>
                </a:lnTo>
                <a:lnTo>
                  <a:pt x="92" y="1149"/>
                </a:lnTo>
                <a:lnTo>
                  <a:pt x="124" y="1061"/>
                </a:lnTo>
                <a:lnTo>
                  <a:pt x="162" y="974"/>
                </a:lnTo>
                <a:lnTo>
                  <a:pt x="205" y="889"/>
                </a:lnTo>
                <a:lnTo>
                  <a:pt x="253" y="805"/>
                </a:lnTo>
                <a:lnTo>
                  <a:pt x="306" y="725"/>
                </a:lnTo>
                <a:lnTo>
                  <a:pt x="364" y="646"/>
                </a:lnTo>
                <a:lnTo>
                  <a:pt x="427" y="571"/>
                </a:lnTo>
                <a:lnTo>
                  <a:pt x="495" y="498"/>
                </a:lnTo>
                <a:lnTo>
                  <a:pt x="568" y="430"/>
                </a:lnTo>
                <a:lnTo>
                  <a:pt x="642" y="366"/>
                </a:lnTo>
                <a:lnTo>
                  <a:pt x="720" y="308"/>
                </a:lnTo>
                <a:lnTo>
                  <a:pt x="802" y="254"/>
                </a:lnTo>
                <a:lnTo>
                  <a:pt x="884" y="206"/>
                </a:lnTo>
                <a:lnTo>
                  <a:pt x="969" y="162"/>
                </a:lnTo>
                <a:lnTo>
                  <a:pt x="1055" y="125"/>
                </a:lnTo>
                <a:lnTo>
                  <a:pt x="1144" y="91"/>
                </a:lnTo>
                <a:lnTo>
                  <a:pt x="1233" y="64"/>
                </a:lnTo>
                <a:lnTo>
                  <a:pt x="1323" y="41"/>
                </a:lnTo>
                <a:lnTo>
                  <a:pt x="1415" y="23"/>
                </a:lnTo>
                <a:lnTo>
                  <a:pt x="1507" y="11"/>
                </a:lnTo>
                <a:lnTo>
                  <a:pt x="1600" y="2"/>
                </a:lnTo>
                <a:lnTo>
                  <a:pt x="169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4" name="Straight Connector 33"/>
          <p:cNvCxnSpPr/>
          <p:nvPr/>
        </p:nvCxnSpPr>
        <p:spPr>
          <a:xfrm>
            <a:off x="6096000" y="2402889"/>
            <a:ext cx="0" cy="105193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6096000" y="4353977"/>
            <a:ext cx="0" cy="105193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69"/>
          <a:stretch/>
        </p:blipFill>
        <p:spPr>
          <a:xfrm>
            <a:off x="8162795" y="1662630"/>
            <a:ext cx="417623" cy="457200"/>
          </a:xfrm>
          <a:prstGeom prst="ellipse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950476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Low Cost Independent Operations</a:t>
            </a:r>
          </a:p>
        </p:txBody>
      </p:sp>
      <p:grpSp>
        <p:nvGrpSpPr>
          <p:cNvPr id="19" name="Group 4"/>
          <p:cNvGrpSpPr>
            <a:grpSpLocks noChangeAspect="1"/>
          </p:cNvGrpSpPr>
          <p:nvPr/>
        </p:nvGrpSpPr>
        <p:grpSpPr bwMode="auto">
          <a:xfrm>
            <a:off x="583216" y="708526"/>
            <a:ext cx="420624" cy="420624"/>
            <a:chOff x="2880" y="1200"/>
            <a:chExt cx="1920" cy="1920"/>
          </a:xfr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</p:grpSpPr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3839" y="2160"/>
              <a:ext cx="432" cy="481"/>
            </a:xfrm>
            <a:custGeom>
              <a:avLst/>
              <a:gdLst>
                <a:gd name="T0" fmla="*/ 0 w 863"/>
                <a:gd name="T1" fmla="*/ 0 h 961"/>
                <a:gd name="T2" fmla="*/ 863 w 863"/>
                <a:gd name="T3" fmla="*/ 0 h 961"/>
                <a:gd name="T4" fmla="*/ 848 w 863"/>
                <a:gd name="T5" fmla="*/ 58 h 961"/>
                <a:gd name="T6" fmla="*/ 831 w 863"/>
                <a:gd name="T7" fmla="*/ 116 h 961"/>
                <a:gd name="T8" fmla="*/ 812 w 863"/>
                <a:gd name="T9" fmla="*/ 176 h 961"/>
                <a:gd name="T10" fmla="*/ 792 w 863"/>
                <a:gd name="T11" fmla="*/ 235 h 961"/>
                <a:gd name="T12" fmla="*/ 770 w 863"/>
                <a:gd name="T13" fmla="*/ 293 h 961"/>
                <a:gd name="T14" fmla="*/ 746 w 863"/>
                <a:gd name="T15" fmla="*/ 351 h 961"/>
                <a:gd name="T16" fmla="*/ 720 w 863"/>
                <a:gd name="T17" fmla="*/ 408 h 961"/>
                <a:gd name="T18" fmla="*/ 693 w 863"/>
                <a:gd name="T19" fmla="*/ 464 h 961"/>
                <a:gd name="T20" fmla="*/ 663 w 863"/>
                <a:gd name="T21" fmla="*/ 519 h 961"/>
                <a:gd name="T22" fmla="*/ 632 w 863"/>
                <a:gd name="T23" fmla="*/ 571 h 961"/>
                <a:gd name="T24" fmla="*/ 598 w 863"/>
                <a:gd name="T25" fmla="*/ 623 h 961"/>
                <a:gd name="T26" fmla="*/ 562 w 863"/>
                <a:gd name="T27" fmla="*/ 670 h 961"/>
                <a:gd name="T28" fmla="*/ 523 w 863"/>
                <a:gd name="T29" fmla="*/ 716 h 961"/>
                <a:gd name="T30" fmla="*/ 484 w 863"/>
                <a:gd name="T31" fmla="*/ 759 h 961"/>
                <a:gd name="T32" fmla="*/ 441 w 863"/>
                <a:gd name="T33" fmla="*/ 798 h 961"/>
                <a:gd name="T34" fmla="*/ 395 w 863"/>
                <a:gd name="T35" fmla="*/ 834 h 961"/>
                <a:gd name="T36" fmla="*/ 347 w 863"/>
                <a:gd name="T37" fmla="*/ 866 h 961"/>
                <a:gd name="T38" fmla="*/ 297 w 863"/>
                <a:gd name="T39" fmla="*/ 894 h 961"/>
                <a:gd name="T40" fmla="*/ 243 w 863"/>
                <a:gd name="T41" fmla="*/ 917 h 961"/>
                <a:gd name="T42" fmla="*/ 187 w 863"/>
                <a:gd name="T43" fmla="*/ 937 h 961"/>
                <a:gd name="T44" fmla="*/ 128 w 863"/>
                <a:gd name="T45" fmla="*/ 950 h 961"/>
                <a:gd name="T46" fmla="*/ 66 w 863"/>
                <a:gd name="T47" fmla="*/ 959 h 961"/>
                <a:gd name="T48" fmla="*/ 0 w 863"/>
                <a:gd name="T49" fmla="*/ 961 h 961"/>
                <a:gd name="T50" fmla="*/ 0 w 863"/>
                <a:gd name="T51" fmla="*/ 0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63" h="961">
                  <a:moveTo>
                    <a:pt x="0" y="0"/>
                  </a:moveTo>
                  <a:lnTo>
                    <a:pt x="863" y="0"/>
                  </a:lnTo>
                  <a:lnTo>
                    <a:pt x="848" y="58"/>
                  </a:lnTo>
                  <a:lnTo>
                    <a:pt x="831" y="116"/>
                  </a:lnTo>
                  <a:lnTo>
                    <a:pt x="812" y="176"/>
                  </a:lnTo>
                  <a:lnTo>
                    <a:pt x="792" y="235"/>
                  </a:lnTo>
                  <a:lnTo>
                    <a:pt x="770" y="293"/>
                  </a:lnTo>
                  <a:lnTo>
                    <a:pt x="746" y="351"/>
                  </a:lnTo>
                  <a:lnTo>
                    <a:pt x="720" y="408"/>
                  </a:lnTo>
                  <a:lnTo>
                    <a:pt x="693" y="464"/>
                  </a:lnTo>
                  <a:lnTo>
                    <a:pt x="663" y="519"/>
                  </a:lnTo>
                  <a:lnTo>
                    <a:pt x="632" y="571"/>
                  </a:lnTo>
                  <a:lnTo>
                    <a:pt x="598" y="623"/>
                  </a:lnTo>
                  <a:lnTo>
                    <a:pt x="562" y="670"/>
                  </a:lnTo>
                  <a:lnTo>
                    <a:pt x="523" y="716"/>
                  </a:lnTo>
                  <a:lnTo>
                    <a:pt x="484" y="759"/>
                  </a:lnTo>
                  <a:lnTo>
                    <a:pt x="441" y="798"/>
                  </a:lnTo>
                  <a:lnTo>
                    <a:pt x="395" y="834"/>
                  </a:lnTo>
                  <a:lnTo>
                    <a:pt x="347" y="866"/>
                  </a:lnTo>
                  <a:lnTo>
                    <a:pt x="297" y="894"/>
                  </a:lnTo>
                  <a:lnTo>
                    <a:pt x="243" y="917"/>
                  </a:lnTo>
                  <a:lnTo>
                    <a:pt x="187" y="937"/>
                  </a:lnTo>
                  <a:lnTo>
                    <a:pt x="128" y="950"/>
                  </a:lnTo>
                  <a:lnTo>
                    <a:pt x="66" y="959"/>
                  </a:lnTo>
                  <a:lnTo>
                    <a:pt x="0" y="9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3363" y="1683"/>
              <a:ext cx="476" cy="476"/>
            </a:xfrm>
            <a:custGeom>
              <a:avLst/>
              <a:gdLst>
                <a:gd name="T0" fmla="*/ 953 w 953"/>
                <a:gd name="T1" fmla="*/ 0 h 952"/>
                <a:gd name="T2" fmla="*/ 953 w 953"/>
                <a:gd name="T3" fmla="*/ 952 h 952"/>
                <a:gd name="T4" fmla="*/ 92 w 953"/>
                <a:gd name="T5" fmla="*/ 952 h 952"/>
                <a:gd name="T6" fmla="*/ 74 w 953"/>
                <a:gd name="T7" fmla="*/ 876 h 952"/>
                <a:gd name="T8" fmla="*/ 58 w 953"/>
                <a:gd name="T9" fmla="*/ 803 h 952"/>
                <a:gd name="T10" fmla="*/ 44 w 953"/>
                <a:gd name="T11" fmla="*/ 731 h 952"/>
                <a:gd name="T12" fmla="*/ 32 w 953"/>
                <a:gd name="T13" fmla="*/ 663 h 952"/>
                <a:gd name="T14" fmla="*/ 23 w 953"/>
                <a:gd name="T15" fmla="*/ 600 h 952"/>
                <a:gd name="T16" fmla="*/ 15 w 953"/>
                <a:gd name="T17" fmla="*/ 542 h 952"/>
                <a:gd name="T18" fmla="*/ 8 w 953"/>
                <a:gd name="T19" fmla="*/ 490 h 952"/>
                <a:gd name="T20" fmla="*/ 3 w 953"/>
                <a:gd name="T21" fmla="*/ 444 h 952"/>
                <a:gd name="T22" fmla="*/ 0 w 953"/>
                <a:gd name="T23" fmla="*/ 406 h 952"/>
                <a:gd name="T24" fmla="*/ 953 w 953"/>
                <a:gd name="T25" fmla="*/ 0 h 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3" h="952">
                  <a:moveTo>
                    <a:pt x="953" y="0"/>
                  </a:moveTo>
                  <a:lnTo>
                    <a:pt x="953" y="952"/>
                  </a:lnTo>
                  <a:lnTo>
                    <a:pt x="92" y="952"/>
                  </a:lnTo>
                  <a:lnTo>
                    <a:pt x="74" y="876"/>
                  </a:lnTo>
                  <a:lnTo>
                    <a:pt x="58" y="803"/>
                  </a:lnTo>
                  <a:lnTo>
                    <a:pt x="44" y="731"/>
                  </a:lnTo>
                  <a:lnTo>
                    <a:pt x="32" y="663"/>
                  </a:lnTo>
                  <a:lnTo>
                    <a:pt x="23" y="600"/>
                  </a:lnTo>
                  <a:lnTo>
                    <a:pt x="15" y="542"/>
                  </a:lnTo>
                  <a:lnTo>
                    <a:pt x="8" y="490"/>
                  </a:lnTo>
                  <a:lnTo>
                    <a:pt x="3" y="444"/>
                  </a:lnTo>
                  <a:lnTo>
                    <a:pt x="0" y="406"/>
                  </a:lnTo>
                  <a:lnTo>
                    <a:pt x="9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8"/>
            <p:cNvSpPr>
              <a:spLocks noEditPoints="1"/>
            </p:cNvSpPr>
            <p:nvPr/>
          </p:nvSpPr>
          <p:spPr bwMode="auto">
            <a:xfrm>
              <a:off x="2880" y="1200"/>
              <a:ext cx="1920" cy="1920"/>
            </a:xfrm>
            <a:custGeom>
              <a:avLst/>
              <a:gdLst>
                <a:gd name="T0" fmla="*/ 762 w 3840"/>
                <a:gd name="T1" fmla="*/ 1322 h 3840"/>
                <a:gd name="T2" fmla="*/ 768 w 3840"/>
                <a:gd name="T3" fmla="*/ 1402 h 3840"/>
                <a:gd name="T4" fmla="*/ 784 w 3840"/>
                <a:gd name="T5" fmla="*/ 1551 h 3840"/>
                <a:gd name="T6" fmla="*/ 815 w 3840"/>
                <a:gd name="T7" fmla="*/ 1749 h 3840"/>
                <a:gd name="T8" fmla="*/ 866 w 3840"/>
                <a:gd name="T9" fmla="*/ 1978 h 3840"/>
                <a:gd name="T10" fmla="*/ 940 w 3840"/>
                <a:gd name="T11" fmla="*/ 2224 h 3840"/>
                <a:gd name="T12" fmla="*/ 1045 w 3840"/>
                <a:gd name="T13" fmla="*/ 2468 h 3840"/>
                <a:gd name="T14" fmla="*/ 1182 w 3840"/>
                <a:gd name="T15" fmla="*/ 2691 h 3840"/>
                <a:gd name="T16" fmla="*/ 1358 w 3840"/>
                <a:gd name="T17" fmla="*/ 2880 h 3840"/>
                <a:gd name="T18" fmla="*/ 1578 w 3840"/>
                <a:gd name="T19" fmla="*/ 3014 h 3840"/>
                <a:gd name="T20" fmla="*/ 1846 w 3840"/>
                <a:gd name="T21" fmla="*/ 3078 h 3840"/>
                <a:gd name="T22" fmla="*/ 2134 w 3840"/>
                <a:gd name="T23" fmla="*/ 3056 h 3840"/>
                <a:gd name="T24" fmla="*/ 2377 w 3840"/>
                <a:gd name="T25" fmla="*/ 2954 h 3840"/>
                <a:gd name="T26" fmla="*/ 2575 w 3840"/>
                <a:gd name="T27" fmla="*/ 2792 h 3840"/>
                <a:gd name="T28" fmla="*/ 2731 w 3840"/>
                <a:gd name="T29" fmla="*/ 2583 h 3840"/>
                <a:gd name="T30" fmla="*/ 2851 w 3840"/>
                <a:gd name="T31" fmla="*/ 2347 h 3840"/>
                <a:gd name="T32" fmla="*/ 2941 w 3840"/>
                <a:gd name="T33" fmla="*/ 2100 h 3840"/>
                <a:gd name="T34" fmla="*/ 3002 w 3840"/>
                <a:gd name="T35" fmla="*/ 1861 h 3840"/>
                <a:gd name="T36" fmla="*/ 3043 w 3840"/>
                <a:gd name="T37" fmla="*/ 1644 h 3840"/>
                <a:gd name="T38" fmla="*/ 3065 w 3840"/>
                <a:gd name="T39" fmla="*/ 1470 h 3840"/>
                <a:gd name="T40" fmla="*/ 3075 w 3840"/>
                <a:gd name="T41" fmla="*/ 1352 h 3840"/>
                <a:gd name="T42" fmla="*/ 3080 w 3840"/>
                <a:gd name="T43" fmla="*/ 1245 h 3840"/>
                <a:gd name="T44" fmla="*/ 2152 w 3840"/>
                <a:gd name="T45" fmla="*/ 14 h 3840"/>
                <a:gd name="T46" fmla="*/ 2590 w 3840"/>
                <a:gd name="T47" fmla="*/ 120 h 3840"/>
                <a:gd name="T48" fmla="*/ 2982 w 3840"/>
                <a:gd name="T49" fmla="*/ 320 h 3840"/>
                <a:gd name="T50" fmla="*/ 3315 w 3840"/>
                <a:gd name="T51" fmla="*/ 602 h 3840"/>
                <a:gd name="T52" fmla="*/ 3578 w 3840"/>
                <a:gd name="T53" fmla="*/ 951 h 3840"/>
                <a:gd name="T54" fmla="*/ 3756 w 3840"/>
                <a:gd name="T55" fmla="*/ 1356 h 3840"/>
                <a:gd name="T56" fmla="*/ 3837 w 3840"/>
                <a:gd name="T57" fmla="*/ 1802 h 3840"/>
                <a:gd name="T58" fmla="*/ 3809 w 3840"/>
                <a:gd name="T59" fmla="*/ 2266 h 3840"/>
                <a:gd name="T60" fmla="*/ 3678 w 3840"/>
                <a:gd name="T61" fmla="*/ 2693 h 3840"/>
                <a:gd name="T62" fmla="*/ 3456 w 3840"/>
                <a:gd name="T63" fmla="*/ 3072 h 3840"/>
                <a:gd name="T64" fmla="*/ 3157 w 3840"/>
                <a:gd name="T65" fmla="*/ 3389 h 3840"/>
                <a:gd name="T66" fmla="*/ 2793 w 3840"/>
                <a:gd name="T67" fmla="*/ 3631 h 3840"/>
                <a:gd name="T68" fmla="*/ 2376 w 3840"/>
                <a:gd name="T69" fmla="*/ 3785 h 3840"/>
                <a:gd name="T70" fmla="*/ 1919 w 3840"/>
                <a:gd name="T71" fmla="*/ 3840 h 3840"/>
                <a:gd name="T72" fmla="*/ 1464 w 3840"/>
                <a:gd name="T73" fmla="*/ 3785 h 3840"/>
                <a:gd name="T74" fmla="*/ 1047 w 3840"/>
                <a:gd name="T75" fmla="*/ 3631 h 3840"/>
                <a:gd name="T76" fmla="*/ 683 w 3840"/>
                <a:gd name="T77" fmla="*/ 3389 h 3840"/>
                <a:gd name="T78" fmla="*/ 384 w 3840"/>
                <a:gd name="T79" fmla="*/ 3072 h 3840"/>
                <a:gd name="T80" fmla="*/ 162 w 3840"/>
                <a:gd name="T81" fmla="*/ 2693 h 3840"/>
                <a:gd name="T82" fmla="*/ 31 w 3840"/>
                <a:gd name="T83" fmla="*/ 2266 h 3840"/>
                <a:gd name="T84" fmla="*/ 3 w 3840"/>
                <a:gd name="T85" fmla="*/ 1802 h 3840"/>
                <a:gd name="T86" fmla="*/ 84 w 3840"/>
                <a:gd name="T87" fmla="*/ 1356 h 3840"/>
                <a:gd name="T88" fmla="*/ 262 w 3840"/>
                <a:gd name="T89" fmla="*/ 951 h 3840"/>
                <a:gd name="T90" fmla="*/ 525 w 3840"/>
                <a:gd name="T91" fmla="*/ 602 h 3840"/>
                <a:gd name="T92" fmla="*/ 858 w 3840"/>
                <a:gd name="T93" fmla="*/ 320 h 3840"/>
                <a:gd name="T94" fmla="*/ 1250 w 3840"/>
                <a:gd name="T95" fmla="*/ 120 h 3840"/>
                <a:gd name="T96" fmla="*/ 1688 w 3840"/>
                <a:gd name="T97" fmla="*/ 14 h 3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40" h="3840">
                  <a:moveTo>
                    <a:pt x="1919" y="751"/>
                  </a:moveTo>
                  <a:lnTo>
                    <a:pt x="759" y="1245"/>
                  </a:lnTo>
                  <a:lnTo>
                    <a:pt x="762" y="1314"/>
                  </a:lnTo>
                  <a:lnTo>
                    <a:pt x="762" y="1322"/>
                  </a:lnTo>
                  <a:lnTo>
                    <a:pt x="763" y="1335"/>
                  </a:lnTo>
                  <a:lnTo>
                    <a:pt x="765" y="1352"/>
                  </a:lnTo>
                  <a:lnTo>
                    <a:pt x="766" y="1375"/>
                  </a:lnTo>
                  <a:lnTo>
                    <a:pt x="768" y="1402"/>
                  </a:lnTo>
                  <a:lnTo>
                    <a:pt x="771" y="1434"/>
                  </a:lnTo>
                  <a:lnTo>
                    <a:pt x="775" y="1470"/>
                  </a:lnTo>
                  <a:lnTo>
                    <a:pt x="778" y="1508"/>
                  </a:lnTo>
                  <a:lnTo>
                    <a:pt x="784" y="1551"/>
                  </a:lnTo>
                  <a:lnTo>
                    <a:pt x="790" y="1597"/>
                  </a:lnTo>
                  <a:lnTo>
                    <a:pt x="797" y="1644"/>
                  </a:lnTo>
                  <a:lnTo>
                    <a:pt x="805" y="1695"/>
                  </a:lnTo>
                  <a:lnTo>
                    <a:pt x="815" y="1749"/>
                  </a:lnTo>
                  <a:lnTo>
                    <a:pt x="826" y="1804"/>
                  </a:lnTo>
                  <a:lnTo>
                    <a:pt x="838" y="1861"/>
                  </a:lnTo>
                  <a:lnTo>
                    <a:pt x="851" y="1919"/>
                  </a:lnTo>
                  <a:lnTo>
                    <a:pt x="866" y="1978"/>
                  </a:lnTo>
                  <a:lnTo>
                    <a:pt x="882" y="2040"/>
                  </a:lnTo>
                  <a:lnTo>
                    <a:pt x="899" y="2100"/>
                  </a:lnTo>
                  <a:lnTo>
                    <a:pt x="919" y="2162"/>
                  </a:lnTo>
                  <a:lnTo>
                    <a:pt x="940" y="2224"/>
                  </a:lnTo>
                  <a:lnTo>
                    <a:pt x="963" y="2285"/>
                  </a:lnTo>
                  <a:lnTo>
                    <a:pt x="989" y="2347"/>
                  </a:lnTo>
                  <a:lnTo>
                    <a:pt x="1016" y="2408"/>
                  </a:lnTo>
                  <a:lnTo>
                    <a:pt x="1045" y="2468"/>
                  </a:lnTo>
                  <a:lnTo>
                    <a:pt x="1075" y="2526"/>
                  </a:lnTo>
                  <a:lnTo>
                    <a:pt x="1109" y="2583"/>
                  </a:lnTo>
                  <a:lnTo>
                    <a:pt x="1144" y="2638"/>
                  </a:lnTo>
                  <a:lnTo>
                    <a:pt x="1182" y="2691"/>
                  </a:lnTo>
                  <a:lnTo>
                    <a:pt x="1223" y="2743"/>
                  </a:lnTo>
                  <a:lnTo>
                    <a:pt x="1265" y="2792"/>
                  </a:lnTo>
                  <a:lnTo>
                    <a:pt x="1310" y="2837"/>
                  </a:lnTo>
                  <a:lnTo>
                    <a:pt x="1358" y="2880"/>
                  </a:lnTo>
                  <a:lnTo>
                    <a:pt x="1409" y="2918"/>
                  </a:lnTo>
                  <a:lnTo>
                    <a:pt x="1463" y="2954"/>
                  </a:lnTo>
                  <a:lnTo>
                    <a:pt x="1519" y="2986"/>
                  </a:lnTo>
                  <a:lnTo>
                    <a:pt x="1578" y="3014"/>
                  </a:lnTo>
                  <a:lnTo>
                    <a:pt x="1640" y="3037"/>
                  </a:lnTo>
                  <a:lnTo>
                    <a:pt x="1705" y="3056"/>
                  </a:lnTo>
                  <a:lnTo>
                    <a:pt x="1773" y="3070"/>
                  </a:lnTo>
                  <a:lnTo>
                    <a:pt x="1846" y="3078"/>
                  </a:lnTo>
                  <a:lnTo>
                    <a:pt x="1919" y="3080"/>
                  </a:lnTo>
                  <a:lnTo>
                    <a:pt x="1994" y="3078"/>
                  </a:lnTo>
                  <a:lnTo>
                    <a:pt x="2067" y="3070"/>
                  </a:lnTo>
                  <a:lnTo>
                    <a:pt x="2134" y="3056"/>
                  </a:lnTo>
                  <a:lnTo>
                    <a:pt x="2200" y="3037"/>
                  </a:lnTo>
                  <a:lnTo>
                    <a:pt x="2262" y="3014"/>
                  </a:lnTo>
                  <a:lnTo>
                    <a:pt x="2321" y="2986"/>
                  </a:lnTo>
                  <a:lnTo>
                    <a:pt x="2377" y="2954"/>
                  </a:lnTo>
                  <a:lnTo>
                    <a:pt x="2431" y="2918"/>
                  </a:lnTo>
                  <a:lnTo>
                    <a:pt x="2481" y="2880"/>
                  </a:lnTo>
                  <a:lnTo>
                    <a:pt x="2530" y="2837"/>
                  </a:lnTo>
                  <a:lnTo>
                    <a:pt x="2575" y="2792"/>
                  </a:lnTo>
                  <a:lnTo>
                    <a:pt x="2617" y="2743"/>
                  </a:lnTo>
                  <a:lnTo>
                    <a:pt x="2658" y="2691"/>
                  </a:lnTo>
                  <a:lnTo>
                    <a:pt x="2695" y="2638"/>
                  </a:lnTo>
                  <a:lnTo>
                    <a:pt x="2731" y="2583"/>
                  </a:lnTo>
                  <a:lnTo>
                    <a:pt x="2765" y="2526"/>
                  </a:lnTo>
                  <a:lnTo>
                    <a:pt x="2795" y="2468"/>
                  </a:lnTo>
                  <a:lnTo>
                    <a:pt x="2824" y="2408"/>
                  </a:lnTo>
                  <a:lnTo>
                    <a:pt x="2851" y="2347"/>
                  </a:lnTo>
                  <a:lnTo>
                    <a:pt x="2877" y="2285"/>
                  </a:lnTo>
                  <a:lnTo>
                    <a:pt x="2900" y="2224"/>
                  </a:lnTo>
                  <a:lnTo>
                    <a:pt x="2921" y="2162"/>
                  </a:lnTo>
                  <a:lnTo>
                    <a:pt x="2941" y="2100"/>
                  </a:lnTo>
                  <a:lnTo>
                    <a:pt x="2958" y="2040"/>
                  </a:lnTo>
                  <a:lnTo>
                    <a:pt x="2974" y="1978"/>
                  </a:lnTo>
                  <a:lnTo>
                    <a:pt x="2989" y="1919"/>
                  </a:lnTo>
                  <a:lnTo>
                    <a:pt x="3002" y="1861"/>
                  </a:lnTo>
                  <a:lnTo>
                    <a:pt x="3014" y="1804"/>
                  </a:lnTo>
                  <a:lnTo>
                    <a:pt x="3025" y="1749"/>
                  </a:lnTo>
                  <a:lnTo>
                    <a:pt x="3035" y="1695"/>
                  </a:lnTo>
                  <a:lnTo>
                    <a:pt x="3043" y="1644"/>
                  </a:lnTo>
                  <a:lnTo>
                    <a:pt x="3050" y="1597"/>
                  </a:lnTo>
                  <a:lnTo>
                    <a:pt x="3056" y="1551"/>
                  </a:lnTo>
                  <a:lnTo>
                    <a:pt x="3062" y="1508"/>
                  </a:lnTo>
                  <a:lnTo>
                    <a:pt x="3065" y="1470"/>
                  </a:lnTo>
                  <a:lnTo>
                    <a:pt x="3069" y="1434"/>
                  </a:lnTo>
                  <a:lnTo>
                    <a:pt x="3072" y="1402"/>
                  </a:lnTo>
                  <a:lnTo>
                    <a:pt x="3074" y="1375"/>
                  </a:lnTo>
                  <a:lnTo>
                    <a:pt x="3075" y="1352"/>
                  </a:lnTo>
                  <a:lnTo>
                    <a:pt x="3077" y="1335"/>
                  </a:lnTo>
                  <a:lnTo>
                    <a:pt x="3078" y="1322"/>
                  </a:lnTo>
                  <a:lnTo>
                    <a:pt x="3078" y="1314"/>
                  </a:lnTo>
                  <a:lnTo>
                    <a:pt x="3080" y="1245"/>
                  </a:lnTo>
                  <a:lnTo>
                    <a:pt x="1919" y="751"/>
                  </a:lnTo>
                  <a:close/>
                  <a:moveTo>
                    <a:pt x="1919" y="0"/>
                  </a:moveTo>
                  <a:lnTo>
                    <a:pt x="2036" y="3"/>
                  </a:lnTo>
                  <a:lnTo>
                    <a:pt x="2152" y="14"/>
                  </a:lnTo>
                  <a:lnTo>
                    <a:pt x="2266" y="31"/>
                  </a:lnTo>
                  <a:lnTo>
                    <a:pt x="2376" y="55"/>
                  </a:lnTo>
                  <a:lnTo>
                    <a:pt x="2484" y="84"/>
                  </a:lnTo>
                  <a:lnTo>
                    <a:pt x="2590" y="120"/>
                  </a:lnTo>
                  <a:lnTo>
                    <a:pt x="2693" y="162"/>
                  </a:lnTo>
                  <a:lnTo>
                    <a:pt x="2793" y="209"/>
                  </a:lnTo>
                  <a:lnTo>
                    <a:pt x="2889" y="262"/>
                  </a:lnTo>
                  <a:lnTo>
                    <a:pt x="2982" y="320"/>
                  </a:lnTo>
                  <a:lnTo>
                    <a:pt x="3071" y="384"/>
                  </a:lnTo>
                  <a:lnTo>
                    <a:pt x="3157" y="451"/>
                  </a:lnTo>
                  <a:lnTo>
                    <a:pt x="3238" y="525"/>
                  </a:lnTo>
                  <a:lnTo>
                    <a:pt x="3315" y="602"/>
                  </a:lnTo>
                  <a:lnTo>
                    <a:pt x="3389" y="683"/>
                  </a:lnTo>
                  <a:lnTo>
                    <a:pt x="3456" y="768"/>
                  </a:lnTo>
                  <a:lnTo>
                    <a:pt x="3520" y="858"/>
                  </a:lnTo>
                  <a:lnTo>
                    <a:pt x="3578" y="951"/>
                  </a:lnTo>
                  <a:lnTo>
                    <a:pt x="3631" y="1047"/>
                  </a:lnTo>
                  <a:lnTo>
                    <a:pt x="3678" y="1147"/>
                  </a:lnTo>
                  <a:lnTo>
                    <a:pt x="3720" y="1250"/>
                  </a:lnTo>
                  <a:lnTo>
                    <a:pt x="3756" y="1356"/>
                  </a:lnTo>
                  <a:lnTo>
                    <a:pt x="3785" y="1464"/>
                  </a:lnTo>
                  <a:lnTo>
                    <a:pt x="3809" y="1574"/>
                  </a:lnTo>
                  <a:lnTo>
                    <a:pt x="3826" y="1688"/>
                  </a:lnTo>
                  <a:lnTo>
                    <a:pt x="3837" y="1802"/>
                  </a:lnTo>
                  <a:lnTo>
                    <a:pt x="3840" y="1919"/>
                  </a:lnTo>
                  <a:lnTo>
                    <a:pt x="3837" y="2036"/>
                  </a:lnTo>
                  <a:lnTo>
                    <a:pt x="3826" y="2152"/>
                  </a:lnTo>
                  <a:lnTo>
                    <a:pt x="3809" y="2266"/>
                  </a:lnTo>
                  <a:lnTo>
                    <a:pt x="3785" y="2376"/>
                  </a:lnTo>
                  <a:lnTo>
                    <a:pt x="3756" y="2484"/>
                  </a:lnTo>
                  <a:lnTo>
                    <a:pt x="3720" y="2590"/>
                  </a:lnTo>
                  <a:lnTo>
                    <a:pt x="3678" y="2693"/>
                  </a:lnTo>
                  <a:lnTo>
                    <a:pt x="3631" y="2793"/>
                  </a:lnTo>
                  <a:lnTo>
                    <a:pt x="3578" y="2889"/>
                  </a:lnTo>
                  <a:lnTo>
                    <a:pt x="3520" y="2982"/>
                  </a:lnTo>
                  <a:lnTo>
                    <a:pt x="3456" y="3072"/>
                  </a:lnTo>
                  <a:lnTo>
                    <a:pt x="3389" y="3157"/>
                  </a:lnTo>
                  <a:lnTo>
                    <a:pt x="3315" y="3238"/>
                  </a:lnTo>
                  <a:lnTo>
                    <a:pt x="3238" y="3315"/>
                  </a:lnTo>
                  <a:lnTo>
                    <a:pt x="3157" y="3389"/>
                  </a:lnTo>
                  <a:lnTo>
                    <a:pt x="3071" y="3456"/>
                  </a:lnTo>
                  <a:lnTo>
                    <a:pt x="2982" y="3520"/>
                  </a:lnTo>
                  <a:lnTo>
                    <a:pt x="2889" y="3578"/>
                  </a:lnTo>
                  <a:lnTo>
                    <a:pt x="2793" y="3631"/>
                  </a:lnTo>
                  <a:lnTo>
                    <a:pt x="2693" y="3678"/>
                  </a:lnTo>
                  <a:lnTo>
                    <a:pt x="2590" y="3720"/>
                  </a:lnTo>
                  <a:lnTo>
                    <a:pt x="2484" y="3756"/>
                  </a:lnTo>
                  <a:lnTo>
                    <a:pt x="2376" y="3785"/>
                  </a:lnTo>
                  <a:lnTo>
                    <a:pt x="2266" y="3809"/>
                  </a:lnTo>
                  <a:lnTo>
                    <a:pt x="2152" y="3826"/>
                  </a:lnTo>
                  <a:lnTo>
                    <a:pt x="2036" y="3837"/>
                  </a:lnTo>
                  <a:lnTo>
                    <a:pt x="1919" y="3840"/>
                  </a:lnTo>
                  <a:lnTo>
                    <a:pt x="1802" y="3837"/>
                  </a:lnTo>
                  <a:lnTo>
                    <a:pt x="1688" y="3826"/>
                  </a:lnTo>
                  <a:lnTo>
                    <a:pt x="1574" y="3809"/>
                  </a:lnTo>
                  <a:lnTo>
                    <a:pt x="1464" y="3785"/>
                  </a:lnTo>
                  <a:lnTo>
                    <a:pt x="1356" y="3756"/>
                  </a:lnTo>
                  <a:lnTo>
                    <a:pt x="1250" y="3720"/>
                  </a:lnTo>
                  <a:lnTo>
                    <a:pt x="1147" y="3678"/>
                  </a:lnTo>
                  <a:lnTo>
                    <a:pt x="1047" y="3631"/>
                  </a:lnTo>
                  <a:lnTo>
                    <a:pt x="951" y="3578"/>
                  </a:lnTo>
                  <a:lnTo>
                    <a:pt x="858" y="3520"/>
                  </a:lnTo>
                  <a:lnTo>
                    <a:pt x="768" y="3456"/>
                  </a:lnTo>
                  <a:lnTo>
                    <a:pt x="683" y="3389"/>
                  </a:lnTo>
                  <a:lnTo>
                    <a:pt x="602" y="3315"/>
                  </a:lnTo>
                  <a:lnTo>
                    <a:pt x="525" y="3238"/>
                  </a:lnTo>
                  <a:lnTo>
                    <a:pt x="451" y="3157"/>
                  </a:lnTo>
                  <a:lnTo>
                    <a:pt x="384" y="3072"/>
                  </a:lnTo>
                  <a:lnTo>
                    <a:pt x="320" y="2982"/>
                  </a:lnTo>
                  <a:lnTo>
                    <a:pt x="262" y="2889"/>
                  </a:lnTo>
                  <a:lnTo>
                    <a:pt x="209" y="2793"/>
                  </a:lnTo>
                  <a:lnTo>
                    <a:pt x="162" y="2693"/>
                  </a:lnTo>
                  <a:lnTo>
                    <a:pt x="120" y="2590"/>
                  </a:lnTo>
                  <a:lnTo>
                    <a:pt x="84" y="2484"/>
                  </a:lnTo>
                  <a:lnTo>
                    <a:pt x="55" y="2376"/>
                  </a:lnTo>
                  <a:lnTo>
                    <a:pt x="31" y="2266"/>
                  </a:lnTo>
                  <a:lnTo>
                    <a:pt x="14" y="2152"/>
                  </a:lnTo>
                  <a:lnTo>
                    <a:pt x="3" y="2036"/>
                  </a:lnTo>
                  <a:lnTo>
                    <a:pt x="0" y="1919"/>
                  </a:lnTo>
                  <a:lnTo>
                    <a:pt x="3" y="1802"/>
                  </a:lnTo>
                  <a:lnTo>
                    <a:pt x="14" y="1688"/>
                  </a:lnTo>
                  <a:lnTo>
                    <a:pt x="31" y="1574"/>
                  </a:lnTo>
                  <a:lnTo>
                    <a:pt x="55" y="1464"/>
                  </a:lnTo>
                  <a:lnTo>
                    <a:pt x="84" y="1356"/>
                  </a:lnTo>
                  <a:lnTo>
                    <a:pt x="120" y="1250"/>
                  </a:lnTo>
                  <a:lnTo>
                    <a:pt x="162" y="1147"/>
                  </a:lnTo>
                  <a:lnTo>
                    <a:pt x="209" y="1047"/>
                  </a:lnTo>
                  <a:lnTo>
                    <a:pt x="262" y="951"/>
                  </a:lnTo>
                  <a:lnTo>
                    <a:pt x="320" y="858"/>
                  </a:lnTo>
                  <a:lnTo>
                    <a:pt x="384" y="768"/>
                  </a:lnTo>
                  <a:lnTo>
                    <a:pt x="451" y="683"/>
                  </a:lnTo>
                  <a:lnTo>
                    <a:pt x="525" y="602"/>
                  </a:lnTo>
                  <a:lnTo>
                    <a:pt x="602" y="525"/>
                  </a:lnTo>
                  <a:lnTo>
                    <a:pt x="683" y="451"/>
                  </a:lnTo>
                  <a:lnTo>
                    <a:pt x="768" y="384"/>
                  </a:lnTo>
                  <a:lnTo>
                    <a:pt x="858" y="320"/>
                  </a:lnTo>
                  <a:lnTo>
                    <a:pt x="951" y="262"/>
                  </a:lnTo>
                  <a:lnTo>
                    <a:pt x="1047" y="209"/>
                  </a:lnTo>
                  <a:lnTo>
                    <a:pt x="1147" y="162"/>
                  </a:lnTo>
                  <a:lnTo>
                    <a:pt x="1250" y="120"/>
                  </a:lnTo>
                  <a:lnTo>
                    <a:pt x="1356" y="84"/>
                  </a:lnTo>
                  <a:lnTo>
                    <a:pt x="1464" y="55"/>
                  </a:lnTo>
                  <a:lnTo>
                    <a:pt x="1574" y="31"/>
                  </a:lnTo>
                  <a:lnTo>
                    <a:pt x="1688" y="14"/>
                  </a:lnTo>
                  <a:lnTo>
                    <a:pt x="1802" y="3"/>
                  </a:lnTo>
                  <a:lnTo>
                    <a:pt x="19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45493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481253" y="340567"/>
            <a:ext cx="19559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HOW IT </a:t>
            </a:r>
            <a:r>
              <a:rPr lang="en-US" b="1" dirty="0" smtClean="0">
                <a:solidFill>
                  <a:srgbClr val="00C2F3"/>
                </a:solidFill>
                <a:latin typeface="Raleway" panose="020B0003030101060003" pitchFamily="34" charset="0"/>
              </a:rPr>
              <a:t>WORK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950476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What is required to get started? – NOT MUCH!</a:t>
            </a:r>
          </a:p>
        </p:txBody>
      </p:sp>
      <p:grpSp>
        <p:nvGrpSpPr>
          <p:cNvPr id="7" name="Group 4"/>
          <p:cNvGrpSpPr>
            <a:grpSpLocks noChangeAspect="1"/>
          </p:cNvGrpSpPr>
          <p:nvPr/>
        </p:nvGrpSpPr>
        <p:grpSpPr bwMode="auto">
          <a:xfrm>
            <a:off x="583216" y="708526"/>
            <a:ext cx="420624" cy="420624"/>
            <a:chOff x="2880" y="1200"/>
            <a:chExt cx="1920" cy="1920"/>
          </a:xfr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</p:grpSpPr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3839" y="2160"/>
              <a:ext cx="432" cy="481"/>
            </a:xfrm>
            <a:custGeom>
              <a:avLst/>
              <a:gdLst>
                <a:gd name="T0" fmla="*/ 0 w 863"/>
                <a:gd name="T1" fmla="*/ 0 h 961"/>
                <a:gd name="T2" fmla="*/ 863 w 863"/>
                <a:gd name="T3" fmla="*/ 0 h 961"/>
                <a:gd name="T4" fmla="*/ 848 w 863"/>
                <a:gd name="T5" fmla="*/ 58 h 961"/>
                <a:gd name="T6" fmla="*/ 831 w 863"/>
                <a:gd name="T7" fmla="*/ 116 h 961"/>
                <a:gd name="T8" fmla="*/ 812 w 863"/>
                <a:gd name="T9" fmla="*/ 176 h 961"/>
                <a:gd name="T10" fmla="*/ 792 w 863"/>
                <a:gd name="T11" fmla="*/ 235 h 961"/>
                <a:gd name="T12" fmla="*/ 770 w 863"/>
                <a:gd name="T13" fmla="*/ 293 h 961"/>
                <a:gd name="T14" fmla="*/ 746 w 863"/>
                <a:gd name="T15" fmla="*/ 351 h 961"/>
                <a:gd name="T16" fmla="*/ 720 w 863"/>
                <a:gd name="T17" fmla="*/ 408 h 961"/>
                <a:gd name="T18" fmla="*/ 693 w 863"/>
                <a:gd name="T19" fmla="*/ 464 h 961"/>
                <a:gd name="T20" fmla="*/ 663 w 863"/>
                <a:gd name="T21" fmla="*/ 519 h 961"/>
                <a:gd name="T22" fmla="*/ 632 w 863"/>
                <a:gd name="T23" fmla="*/ 571 h 961"/>
                <a:gd name="T24" fmla="*/ 598 w 863"/>
                <a:gd name="T25" fmla="*/ 623 h 961"/>
                <a:gd name="T26" fmla="*/ 562 w 863"/>
                <a:gd name="T27" fmla="*/ 670 h 961"/>
                <a:gd name="T28" fmla="*/ 523 w 863"/>
                <a:gd name="T29" fmla="*/ 716 h 961"/>
                <a:gd name="T30" fmla="*/ 484 w 863"/>
                <a:gd name="T31" fmla="*/ 759 h 961"/>
                <a:gd name="T32" fmla="*/ 441 w 863"/>
                <a:gd name="T33" fmla="*/ 798 h 961"/>
                <a:gd name="T34" fmla="*/ 395 w 863"/>
                <a:gd name="T35" fmla="*/ 834 h 961"/>
                <a:gd name="T36" fmla="*/ 347 w 863"/>
                <a:gd name="T37" fmla="*/ 866 h 961"/>
                <a:gd name="T38" fmla="*/ 297 w 863"/>
                <a:gd name="T39" fmla="*/ 894 h 961"/>
                <a:gd name="T40" fmla="*/ 243 w 863"/>
                <a:gd name="T41" fmla="*/ 917 h 961"/>
                <a:gd name="T42" fmla="*/ 187 w 863"/>
                <a:gd name="T43" fmla="*/ 937 h 961"/>
                <a:gd name="T44" fmla="*/ 128 w 863"/>
                <a:gd name="T45" fmla="*/ 950 h 961"/>
                <a:gd name="T46" fmla="*/ 66 w 863"/>
                <a:gd name="T47" fmla="*/ 959 h 961"/>
                <a:gd name="T48" fmla="*/ 0 w 863"/>
                <a:gd name="T49" fmla="*/ 961 h 961"/>
                <a:gd name="T50" fmla="*/ 0 w 863"/>
                <a:gd name="T51" fmla="*/ 0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63" h="961">
                  <a:moveTo>
                    <a:pt x="0" y="0"/>
                  </a:moveTo>
                  <a:lnTo>
                    <a:pt x="863" y="0"/>
                  </a:lnTo>
                  <a:lnTo>
                    <a:pt x="848" y="58"/>
                  </a:lnTo>
                  <a:lnTo>
                    <a:pt x="831" y="116"/>
                  </a:lnTo>
                  <a:lnTo>
                    <a:pt x="812" y="176"/>
                  </a:lnTo>
                  <a:lnTo>
                    <a:pt x="792" y="235"/>
                  </a:lnTo>
                  <a:lnTo>
                    <a:pt x="770" y="293"/>
                  </a:lnTo>
                  <a:lnTo>
                    <a:pt x="746" y="351"/>
                  </a:lnTo>
                  <a:lnTo>
                    <a:pt x="720" y="408"/>
                  </a:lnTo>
                  <a:lnTo>
                    <a:pt x="693" y="464"/>
                  </a:lnTo>
                  <a:lnTo>
                    <a:pt x="663" y="519"/>
                  </a:lnTo>
                  <a:lnTo>
                    <a:pt x="632" y="571"/>
                  </a:lnTo>
                  <a:lnTo>
                    <a:pt x="598" y="623"/>
                  </a:lnTo>
                  <a:lnTo>
                    <a:pt x="562" y="670"/>
                  </a:lnTo>
                  <a:lnTo>
                    <a:pt x="523" y="716"/>
                  </a:lnTo>
                  <a:lnTo>
                    <a:pt x="484" y="759"/>
                  </a:lnTo>
                  <a:lnTo>
                    <a:pt x="441" y="798"/>
                  </a:lnTo>
                  <a:lnTo>
                    <a:pt x="395" y="834"/>
                  </a:lnTo>
                  <a:lnTo>
                    <a:pt x="347" y="866"/>
                  </a:lnTo>
                  <a:lnTo>
                    <a:pt x="297" y="894"/>
                  </a:lnTo>
                  <a:lnTo>
                    <a:pt x="243" y="917"/>
                  </a:lnTo>
                  <a:lnTo>
                    <a:pt x="187" y="937"/>
                  </a:lnTo>
                  <a:lnTo>
                    <a:pt x="128" y="950"/>
                  </a:lnTo>
                  <a:lnTo>
                    <a:pt x="66" y="959"/>
                  </a:lnTo>
                  <a:lnTo>
                    <a:pt x="0" y="96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3363" y="1683"/>
              <a:ext cx="476" cy="476"/>
            </a:xfrm>
            <a:custGeom>
              <a:avLst/>
              <a:gdLst>
                <a:gd name="T0" fmla="*/ 953 w 953"/>
                <a:gd name="T1" fmla="*/ 0 h 952"/>
                <a:gd name="T2" fmla="*/ 953 w 953"/>
                <a:gd name="T3" fmla="*/ 952 h 952"/>
                <a:gd name="T4" fmla="*/ 92 w 953"/>
                <a:gd name="T5" fmla="*/ 952 h 952"/>
                <a:gd name="T6" fmla="*/ 74 w 953"/>
                <a:gd name="T7" fmla="*/ 876 h 952"/>
                <a:gd name="T8" fmla="*/ 58 w 953"/>
                <a:gd name="T9" fmla="*/ 803 h 952"/>
                <a:gd name="T10" fmla="*/ 44 w 953"/>
                <a:gd name="T11" fmla="*/ 731 h 952"/>
                <a:gd name="T12" fmla="*/ 32 w 953"/>
                <a:gd name="T13" fmla="*/ 663 h 952"/>
                <a:gd name="T14" fmla="*/ 23 w 953"/>
                <a:gd name="T15" fmla="*/ 600 h 952"/>
                <a:gd name="T16" fmla="*/ 15 w 953"/>
                <a:gd name="T17" fmla="*/ 542 h 952"/>
                <a:gd name="T18" fmla="*/ 8 w 953"/>
                <a:gd name="T19" fmla="*/ 490 h 952"/>
                <a:gd name="T20" fmla="*/ 3 w 953"/>
                <a:gd name="T21" fmla="*/ 444 h 952"/>
                <a:gd name="T22" fmla="*/ 0 w 953"/>
                <a:gd name="T23" fmla="*/ 406 h 952"/>
                <a:gd name="T24" fmla="*/ 953 w 953"/>
                <a:gd name="T25" fmla="*/ 0 h 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3" h="952">
                  <a:moveTo>
                    <a:pt x="953" y="0"/>
                  </a:moveTo>
                  <a:lnTo>
                    <a:pt x="953" y="952"/>
                  </a:lnTo>
                  <a:lnTo>
                    <a:pt x="92" y="952"/>
                  </a:lnTo>
                  <a:lnTo>
                    <a:pt x="74" y="876"/>
                  </a:lnTo>
                  <a:lnTo>
                    <a:pt x="58" y="803"/>
                  </a:lnTo>
                  <a:lnTo>
                    <a:pt x="44" y="731"/>
                  </a:lnTo>
                  <a:lnTo>
                    <a:pt x="32" y="663"/>
                  </a:lnTo>
                  <a:lnTo>
                    <a:pt x="23" y="600"/>
                  </a:lnTo>
                  <a:lnTo>
                    <a:pt x="15" y="542"/>
                  </a:lnTo>
                  <a:lnTo>
                    <a:pt x="8" y="490"/>
                  </a:lnTo>
                  <a:lnTo>
                    <a:pt x="3" y="444"/>
                  </a:lnTo>
                  <a:lnTo>
                    <a:pt x="0" y="406"/>
                  </a:lnTo>
                  <a:lnTo>
                    <a:pt x="9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2880" y="1200"/>
              <a:ext cx="1920" cy="1920"/>
            </a:xfrm>
            <a:custGeom>
              <a:avLst/>
              <a:gdLst>
                <a:gd name="T0" fmla="*/ 762 w 3840"/>
                <a:gd name="T1" fmla="*/ 1322 h 3840"/>
                <a:gd name="T2" fmla="*/ 768 w 3840"/>
                <a:gd name="T3" fmla="*/ 1402 h 3840"/>
                <a:gd name="T4" fmla="*/ 784 w 3840"/>
                <a:gd name="T5" fmla="*/ 1551 h 3840"/>
                <a:gd name="T6" fmla="*/ 815 w 3840"/>
                <a:gd name="T7" fmla="*/ 1749 h 3840"/>
                <a:gd name="T8" fmla="*/ 866 w 3840"/>
                <a:gd name="T9" fmla="*/ 1978 h 3840"/>
                <a:gd name="T10" fmla="*/ 940 w 3840"/>
                <a:gd name="T11" fmla="*/ 2224 h 3840"/>
                <a:gd name="T12" fmla="*/ 1045 w 3840"/>
                <a:gd name="T13" fmla="*/ 2468 h 3840"/>
                <a:gd name="T14" fmla="*/ 1182 w 3840"/>
                <a:gd name="T15" fmla="*/ 2691 h 3840"/>
                <a:gd name="T16" fmla="*/ 1358 w 3840"/>
                <a:gd name="T17" fmla="*/ 2880 h 3840"/>
                <a:gd name="T18" fmla="*/ 1578 w 3840"/>
                <a:gd name="T19" fmla="*/ 3014 h 3840"/>
                <a:gd name="T20" fmla="*/ 1846 w 3840"/>
                <a:gd name="T21" fmla="*/ 3078 h 3840"/>
                <a:gd name="T22" fmla="*/ 2134 w 3840"/>
                <a:gd name="T23" fmla="*/ 3056 h 3840"/>
                <a:gd name="T24" fmla="*/ 2377 w 3840"/>
                <a:gd name="T25" fmla="*/ 2954 h 3840"/>
                <a:gd name="T26" fmla="*/ 2575 w 3840"/>
                <a:gd name="T27" fmla="*/ 2792 h 3840"/>
                <a:gd name="T28" fmla="*/ 2731 w 3840"/>
                <a:gd name="T29" fmla="*/ 2583 h 3840"/>
                <a:gd name="T30" fmla="*/ 2851 w 3840"/>
                <a:gd name="T31" fmla="*/ 2347 h 3840"/>
                <a:gd name="T32" fmla="*/ 2941 w 3840"/>
                <a:gd name="T33" fmla="*/ 2100 h 3840"/>
                <a:gd name="T34" fmla="*/ 3002 w 3840"/>
                <a:gd name="T35" fmla="*/ 1861 h 3840"/>
                <a:gd name="T36" fmla="*/ 3043 w 3840"/>
                <a:gd name="T37" fmla="*/ 1644 h 3840"/>
                <a:gd name="T38" fmla="*/ 3065 w 3840"/>
                <a:gd name="T39" fmla="*/ 1470 h 3840"/>
                <a:gd name="T40" fmla="*/ 3075 w 3840"/>
                <a:gd name="T41" fmla="*/ 1352 h 3840"/>
                <a:gd name="T42" fmla="*/ 3080 w 3840"/>
                <a:gd name="T43" fmla="*/ 1245 h 3840"/>
                <a:gd name="T44" fmla="*/ 2152 w 3840"/>
                <a:gd name="T45" fmla="*/ 14 h 3840"/>
                <a:gd name="T46" fmla="*/ 2590 w 3840"/>
                <a:gd name="T47" fmla="*/ 120 h 3840"/>
                <a:gd name="T48" fmla="*/ 2982 w 3840"/>
                <a:gd name="T49" fmla="*/ 320 h 3840"/>
                <a:gd name="T50" fmla="*/ 3315 w 3840"/>
                <a:gd name="T51" fmla="*/ 602 h 3840"/>
                <a:gd name="T52" fmla="*/ 3578 w 3840"/>
                <a:gd name="T53" fmla="*/ 951 h 3840"/>
                <a:gd name="T54" fmla="*/ 3756 w 3840"/>
                <a:gd name="T55" fmla="*/ 1356 h 3840"/>
                <a:gd name="T56" fmla="*/ 3837 w 3840"/>
                <a:gd name="T57" fmla="*/ 1802 h 3840"/>
                <a:gd name="T58" fmla="*/ 3809 w 3840"/>
                <a:gd name="T59" fmla="*/ 2266 h 3840"/>
                <a:gd name="T60" fmla="*/ 3678 w 3840"/>
                <a:gd name="T61" fmla="*/ 2693 h 3840"/>
                <a:gd name="T62" fmla="*/ 3456 w 3840"/>
                <a:gd name="T63" fmla="*/ 3072 h 3840"/>
                <a:gd name="T64" fmla="*/ 3157 w 3840"/>
                <a:gd name="T65" fmla="*/ 3389 h 3840"/>
                <a:gd name="T66" fmla="*/ 2793 w 3840"/>
                <a:gd name="T67" fmla="*/ 3631 h 3840"/>
                <a:gd name="T68" fmla="*/ 2376 w 3840"/>
                <a:gd name="T69" fmla="*/ 3785 h 3840"/>
                <a:gd name="T70" fmla="*/ 1919 w 3840"/>
                <a:gd name="T71" fmla="*/ 3840 h 3840"/>
                <a:gd name="T72" fmla="*/ 1464 w 3840"/>
                <a:gd name="T73" fmla="*/ 3785 h 3840"/>
                <a:gd name="T74" fmla="*/ 1047 w 3840"/>
                <a:gd name="T75" fmla="*/ 3631 h 3840"/>
                <a:gd name="T76" fmla="*/ 683 w 3840"/>
                <a:gd name="T77" fmla="*/ 3389 h 3840"/>
                <a:gd name="T78" fmla="*/ 384 w 3840"/>
                <a:gd name="T79" fmla="*/ 3072 h 3840"/>
                <a:gd name="T80" fmla="*/ 162 w 3840"/>
                <a:gd name="T81" fmla="*/ 2693 h 3840"/>
                <a:gd name="T82" fmla="*/ 31 w 3840"/>
                <a:gd name="T83" fmla="*/ 2266 h 3840"/>
                <a:gd name="T84" fmla="*/ 3 w 3840"/>
                <a:gd name="T85" fmla="*/ 1802 h 3840"/>
                <a:gd name="T86" fmla="*/ 84 w 3840"/>
                <a:gd name="T87" fmla="*/ 1356 h 3840"/>
                <a:gd name="T88" fmla="*/ 262 w 3840"/>
                <a:gd name="T89" fmla="*/ 951 h 3840"/>
                <a:gd name="T90" fmla="*/ 525 w 3840"/>
                <a:gd name="T91" fmla="*/ 602 h 3840"/>
                <a:gd name="T92" fmla="*/ 858 w 3840"/>
                <a:gd name="T93" fmla="*/ 320 h 3840"/>
                <a:gd name="T94" fmla="*/ 1250 w 3840"/>
                <a:gd name="T95" fmla="*/ 120 h 3840"/>
                <a:gd name="T96" fmla="*/ 1688 w 3840"/>
                <a:gd name="T97" fmla="*/ 14 h 3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40" h="3840">
                  <a:moveTo>
                    <a:pt x="1919" y="751"/>
                  </a:moveTo>
                  <a:lnTo>
                    <a:pt x="759" y="1245"/>
                  </a:lnTo>
                  <a:lnTo>
                    <a:pt x="762" y="1314"/>
                  </a:lnTo>
                  <a:lnTo>
                    <a:pt x="762" y="1322"/>
                  </a:lnTo>
                  <a:lnTo>
                    <a:pt x="763" y="1335"/>
                  </a:lnTo>
                  <a:lnTo>
                    <a:pt x="765" y="1352"/>
                  </a:lnTo>
                  <a:lnTo>
                    <a:pt x="766" y="1375"/>
                  </a:lnTo>
                  <a:lnTo>
                    <a:pt x="768" y="1402"/>
                  </a:lnTo>
                  <a:lnTo>
                    <a:pt x="771" y="1434"/>
                  </a:lnTo>
                  <a:lnTo>
                    <a:pt x="775" y="1470"/>
                  </a:lnTo>
                  <a:lnTo>
                    <a:pt x="778" y="1508"/>
                  </a:lnTo>
                  <a:lnTo>
                    <a:pt x="784" y="1551"/>
                  </a:lnTo>
                  <a:lnTo>
                    <a:pt x="790" y="1597"/>
                  </a:lnTo>
                  <a:lnTo>
                    <a:pt x="797" y="1644"/>
                  </a:lnTo>
                  <a:lnTo>
                    <a:pt x="805" y="1695"/>
                  </a:lnTo>
                  <a:lnTo>
                    <a:pt x="815" y="1749"/>
                  </a:lnTo>
                  <a:lnTo>
                    <a:pt x="826" y="1804"/>
                  </a:lnTo>
                  <a:lnTo>
                    <a:pt x="838" y="1861"/>
                  </a:lnTo>
                  <a:lnTo>
                    <a:pt x="851" y="1919"/>
                  </a:lnTo>
                  <a:lnTo>
                    <a:pt x="866" y="1978"/>
                  </a:lnTo>
                  <a:lnTo>
                    <a:pt x="882" y="2040"/>
                  </a:lnTo>
                  <a:lnTo>
                    <a:pt x="899" y="2100"/>
                  </a:lnTo>
                  <a:lnTo>
                    <a:pt x="919" y="2162"/>
                  </a:lnTo>
                  <a:lnTo>
                    <a:pt x="940" y="2224"/>
                  </a:lnTo>
                  <a:lnTo>
                    <a:pt x="963" y="2285"/>
                  </a:lnTo>
                  <a:lnTo>
                    <a:pt x="989" y="2347"/>
                  </a:lnTo>
                  <a:lnTo>
                    <a:pt x="1016" y="2408"/>
                  </a:lnTo>
                  <a:lnTo>
                    <a:pt x="1045" y="2468"/>
                  </a:lnTo>
                  <a:lnTo>
                    <a:pt x="1075" y="2526"/>
                  </a:lnTo>
                  <a:lnTo>
                    <a:pt x="1109" y="2583"/>
                  </a:lnTo>
                  <a:lnTo>
                    <a:pt x="1144" y="2638"/>
                  </a:lnTo>
                  <a:lnTo>
                    <a:pt x="1182" y="2691"/>
                  </a:lnTo>
                  <a:lnTo>
                    <a:pt x="1223" y="2743"/>
                  </a:lnTo>
                  <a:lnTo>
                    <a:pt x="1265" y="2792"/>
                  </a:lnTo>
                  <a:lnTo>
                    <a:pt x="1310" y="2837"/>
                  </a:lnTo>
                  <a:lnTo>
                    <a:pt x="1358" y="2880"/>
                  </a:lnTo>
                  <a:lnTo>
                    <a:pt x="1409" y="2918"/>
                  </a:lnTo>
                  <a:lnTo>
                    <a:pt x="1463" y="2954"/>
                  </a:lnTo>
                  <a:lnTo>
                    <a:pt x="1519" y="2986"/>
                  </a:lnTo>
                  <a:lnTo>
                    <a:pt x="1578" y="3014"/>
                  </a:lnTo>
                  <a:lnTo>
                    <a:pt x="1640" y="3037"/>
                  </a:lnTo>
                  <a:lnTo>
                    <a:pt x="1705" y="3056"/>
                  </a:lnTo>
                  <a:lnTo>
                    <a:pt x="1773" y="3070"/>
                  </a:lnTo>
                  <a:lnTo>
                    <a:pt x="1846" y="3078"/>
                  </a:lnTo>
                  <a:lnTo>
                    <a:pt x="1919" y="3080"/>
                  </a:lnTo>
                  <a:lnTo>
                    <a:pt x="1994" y="3078"/>
                  </a:lnTo>
                  <a:lnTo>
                    <a:pt x="2067" y="3070"/>
                  </a:lnTo>
                  <a:lnTo>
                    <a:pt x="2134" y="3056"/>
                  </a:lnTo>
                  <a:lnTo>
                    <a:pt x="2200" y="3037"/>
                  </a:lnTo>
                  <a:lnTo>
                    <a:pt x="2262" y="3014"/>
                  </a:lnTo>
                  <a:lnTo>
                    <a:pt x="2321" y="2986"/>
                  </a:lnTo>
                  <a:lnTo>
                    <a:pt x="2377" y="2954"/>
                  </a:lnTo>
                  <a:lnTo>
                    <a:pt x="2431" y="2918"/>
                  </a:lnTo>
                  <a:lnTo>
                    <a:pt x="2481" y="2880"/>
                  </a:lnTo>
                  <a:lnTo>
                    <a:pt x="2530" y="2837"/>
                  </a:lnTo>
                  <a:lnTo>
                    <a:pt x="2575" y="2792"/>
                  </a:lnTo>
                  <a:lnTo>
                    <a:pt x="2617" y="2743"/>
                  </a:lnTo>
                  <a:lnTo>
                    <a:pt x="2658" y="2691"/>
                  </a:lnTo>
                  <a:lnTo>
                    <a:pt x="2695" y="2638"/>
                  </a:lnTo>
                  <a:lnTo>
                    <a:pt x="2731" y="2583"/>
                  </a:lnTo>
                  <a:lnTo>
                    <a:pt x="2765" y="2526"/>
                  </a:lnTo>
                  <a:lnTo>
                    <a:pt x="2795" y="2468"/>
                  </a:lnTo>
                  <a:lnTo>
                    <a:pt x="2824" y="2408"/>
                  </a:lnTo>
                  <a:lnTo>
                    <a:pt x="2851" y="2347"/>
                  </a:lnTo>
                  <a:lnTo>
                    <a:pt x="2877" y="2285"/>
                  </a:lnTo>
                  <a:lnTo>
                    <a:pt x="2900" y="2224"/>
                  </a:lnTo>
                  <a:lnTo>
                    <a:pt x="2921" y="2162"/>
                  </a:lnTo>
                  <a:lnTo>
                    <a:pt x="2941" y="2100"/>
                  </a:lnTo>
                  <a:lnTo>
                    <a:pt x="2958" y="2040"/>
                  </a:lnTo>
                  <a:lnTo>
                    <a:pt x="2974" y="1978"/>
                  </a:lnTo>
                  <a:lnTo>
                    <a:pt x="2989" y="1919"/>
                  </a:lnTo>
                  <a:lnTo>
                    <a:pt x="3002" y="1861"/>
                  </a:lnTo>
                  <a:lnTo>
                    <a:pt x="3014" y="1804"/>
                  </a:lnTo>
                  <a:lnTo>
                    <a:pt x="3025" y="1749"/>
                  </a:lnTo>
                  <a:lnTo>
                    <a:pt x="3035" y="1695"/>
                  </a:lnTo>
                  <a:lnTo>
                    <a:pt x="3043" y="1644"/>
                  </a:lnTo>
                  <a:lnTo>
                    <a:pt x="3050" y="1597"/>
                  </a:lnTo>
                  <a:lnTo>
                    <a:pt x="3056" y="1551"/>
                  </a:lnTo>
                  <a:lnTo>
                    <a:pt x="3062" y="1508"/>
                  </a:lnTo>
                  <a:lnTo>
                    <a:pt x="3065" y="1470"/>
                  </a:lnTo>
                  <a:lnTo>
                    <a:pt x="3069" y="1434"/>
                  </a:lnTo>
                  <a:lnTo>
                    <a:pt x="3072" y="1402"/>
                  </a:lnTo>
                  <a:lnTo>
                    <a:pt x="3074" y="1375"/>
                  </a:lnTo>
                  <a:lnTo>
                    <a:pt x="3075" y="1352"/>
                  </a:lnTo>
                  <a:lnTo>
                    <a:pt x="3077" y="1335"/>
                  </a:lnTo>
                  <a:lnTo>
                    <a:pt x="3078" y="1322"/>
                  </a:lnTo>
                  <a:lnTo>
                    <a:pt x="3078" y="1314"/>
                  </a:lnTo>
                  <a:lnTo>
                    <a:pt x="3080" y="1245"/>
                  </a:lnTo>
                  <a:lnTo>
                    <a:pt x="1919" y="751"/>
                  </a:lnTo>
                  <a:close/>
                  <a:moveTo>
                    <a:pt x="1919" y="0"/>
                  </a:moveTo>
                  <a:lnTo>
                    <a:pt x="2036" y="3"/>
                  </a:lnTo>
                  <a:lnTo>
                    <a:pt x="2152" y="14"/>
                  </a:lnTo>
                  <a:lnTo>
                    <a:pt x="2266" y="31"/>
                  </a:lnTo>
                  <a:lnTo>
                    <a:pt x="2376" y="55"/>
                  </a:lnTo>
                  <a:lnTo>
                    <a:pt x="2484" y="84"/>
                  </a:lnTo>
                  <a:lnTo>
                    <a:pt x="2590" y="120"/>
                  </a:lnTo>
                  <a:lnTo>
                    <a:pt x="2693" y="162"/>
                  </a:lnTo>
                  <a:lnTo>
                    <a:pt x="2793" y="209"/>
                  </a:lnTo>
                  <a:lnTo>
                    <a:pt x="2889" y="262"/>
                  </a:lnTo>
                  <a:lnTo>
                    <a:pt x="2982" y="320"/>
                  </a:lnTo>
                  <a:lnTo>
                    <a:pt x="3071" y="384"/>
                  </a:lnTo>
                  <a:lnTo>
                    <a:pt x="3157" y="451"/>
                  </a:lnTo>
                  <a:lnTo>
                    <a:pt x="3238" y="525"/>
                  </a:lnTo>
                  <a:lnTo>
                    <a:pt x="3315" y="602"/>
                  </a:lnTo>
                  <a:lnTo>
                    <a:pt x="3389" y="683"/>
                  </a:lnTo>
                  <a:lnTo>
                    <a:pt x="3456" y="768"/>
                  </a:lnTo>
                  <a:lnTo>
                    <a:pt x="3520" y="858"/>
                  </a:lnTo>
                  <a:lnTo>
                    <a:pt x="3578" y="951"/>
                  </a:lnTo>
                  <a:lnTo>
                    <a:pt x="3631" y="1047"/>
                  </a:lnTo>
                  <a:lnTo>
                    <a:pt x="3678" y="1147"/>
                  </a:lnTo>
                  <a:lnTo>
                    <a:pt x="3720" y="1250"/>
                  </a:lnTo>
                  <a:lnTo>
                    <a:pt x="3756" y="1356"/>
                  </a:lnTo>
                  <a:lnTo>
                    <a:pt x="3785" y="1464"/>
                  </a:lnTo>
                  <a:lnTo>
                    <a:pt x="3809" y="1574"/>
                  </a:lnTo>
                  <a:lnTo>
                    <a:pt x="3826" y="1688"/>
                  </a:lnTo>
                  <a:lnTo>
                    <a:pt x="3837" y="1802"/>
                  </a:lnTo>
                  <a:lnTo>
                    <a:pt x="3840" y="1919"/>
                  </a:lnTo>
                  <a:lnTo>
                    <a:pt x="3837" y="2036"/>
                  </a:lnTo>
                  <a:lnTo>
                    <a:pt x="3826" y="2152"/>
                  </a:lnTo>
                  <a:lnTo>
                    <a:pt x="3809" y="2266"/>
                  </a:lnTo>
                  <a:lnTo>
                    <a:pt x="3785" y="2376"/>
                  </a:lnTo>
                  <a:lnTo>
                    <a:pt x="3756" y="2484"/>
                  </a:lnTo>
                  <a:lnTo>
                    <a:pt x="3720" y="2590"/>
                  </a:lnTo>
                  <a:lnTo>
                    <a:pt x="3678" y="2693"/>
                  </a:lnTo>
                  <a:lnTo>
                    <a:pt x="3631" y="2793"/>
                  </a:lnTo>
                  <a:lnTo>
                    <a:pt x="3578" y="2889"/>
                  </a:lnTo>
                  <a:lnTo>
                    <a:pt x="3520" y="2982"/>
                  </a:lnTo>
                  <a:lnTo>
                    <a:pt x="3456" y="3072"/>
                  </a:lnTo>
                  <a:lnTo>
                    <a:pt x="3389" y="3157"/>
                  </a:lnTo>
                  <a:lnTo>
                    <a:pt x="3315" y="3238"/>
                  </a:lnTo>
                  <a:lnTo>
                    <a:pt x="3238" y="3315"/>
                  </a:lnTo>
                  <a:lnTo>
                    <a:pt x="3157" y="3389"/>
                  </a:lnTo>
                  <a:lnTo>
                    <a:pt x="3071" y="3456"/>
                  </a:lnTo>
                  <a:lnTo>
                    <a:pt x="2982" y="3520"/>
                  </a:lnTo>
                  <a:lnTo>
                    <a:pt x="2889" y="3578"/>
                  </a:lnTo>
                  <a:lnTo>
                    <a:pt x="2793" y="3631"/>
                  </a:lnTo>
                  <a:lnTo>
                    <a:pt x="2693" y="3678"/>
                  </a:lnTo>
                  <a:lnTo>
                    <a:pt x="2590" y="3720"/>
                  </a:lnTo>
                  <a:lnTo>
                    <a:pt x="2484" y="3756"/>
                  </a:lnTo>
                  <a:lnTo>
                    <a:pt x="2376" y="3785"/>
                  </a:lnTo>
                  <a:lnTo>
                    <a:pt x="2266" y="3809"/>
                  </a:lnTo>
                  <a:lnTo>
                    <a:pt x="2152" y="3826"/>
                  </a:lnTo>
                  <a:lnTo>
                    <a:pt x="2036" y="3837"/>
                  </a:lnTo>
                  <a:lnTo>
                    <a:pt x="1919" y="3840"/>
                  </a:lnTo>
                  <a:lnTo>
                    <a:pt x="1802" y="3837"/>
                  </a:lnTo>
                  <a:lnTo>
                    <a:pt x="1688" y="3826"/>
                  </a:lnTo>
                  <a:lnTo>
                    <a:pt x="1574" y="3809"/>
                  </a:lnTo>
                  <a:lnTo>
                    <a:pt x="1464" y="3785"/>
                  </a:lnTo>
                  <a:lnTo>
                    <a:pt x="1356" y="3756"/>
                  </a:lnTo>
                  <a:lnTo>
                    <a:pt x="1250" y="3720"/>
                  </a:lnTo>
                  <a:lnTo>
                    <a:pt x="1147" y="3678"/>
                  </a:lnTo>
                  <a:lnTo>
                    <a:pt x="1047" y="3631"/>
                  </a:lnTo>
                  <a:lnTo>
                    <a:pt x="951" y="3578"/>
                  </a:lnTo>
                  <a:lnTo>
                    <a:pt x="858" y="3520"/>
                  </a:lnTo>
                  <a:lnTo>
                    <a:pt x="768" y="3456"/>
                  </a:lnTo>
                  <a:lnTo>
                    <a:pt x="683" y="3389"/>
                  </a:lnTo>
                  <a:lnTo>
                    <a:pt x="602" y="3315"/>
                  </a:lnTo>
                  <a:lnTo>
                    <a:pt x="525" y="3238"/>
                  </a:lnTo>
                  <a:lnTo>
                    <a:pt x="451" y="3157"/>
                  </a:lnTo>
                  <a:lnTo>
                    <a:pt x="384" y="3072"/>
                  </a:lnTo>
                  <a:lnTo>
                    <a:pt x="320" y="2982"/>
                  </a:lnTo>
                  <a:lnTo>
                    <a:pt x="262" y="2889"/>
                  </a:lnTo>
                  <a:lnTo>
                    <a:pt x="209" y="2793"/>
                  </a:lnTo>
                  <a:lnTo>
                    <a:pt x="162" y="2693"/>
                  </a:lnTo>
                  <a:lnTo>
                    <a:pt x="120" y="2590"/>
                  </a:lnTo>
                  <a:lnTo>
                    <a:pt x="84" y="2484"/>
                  </a:lnTo>
                  <a:lnTo>
                    <a:pt x="55" y="2376"/>
                  </a:lnTo>
                  <a:lnTo>
                    <a:pt x="31" y="2266"/>
                  </a:lnTo>
                  <a:lnTo>
                    <a:pt x="14" y="2152"/>
                  </a:lnTo>
                  <a:lnTo>
                    <a:pt x="3" y="2036"/>
                  </a:lnTo>
                  <a:lnTo>
                    <a:pt x="0" y="1919"/>
                  </a:lnTo>
                  <a:lnTo>
                    <a:pt x="3" y="1802"/>
                  </a:lnTo>
                  <a:lnTo>
                    <a:pt x="14" y="1688"/>
                  </a:lnTo>
                  <a:lnTo>
                    <a:pt x="31" y="1574"/>
                  </a:lnTo>
                  <a:lnTo>
                    <a:pt x="55" y="1464"/>
                  </a:lnTo>
                  <a:lnTo>
                    <a:pt x="84" y="1356"/>
                  </a:lnTo>
                  <a:lnTo>
                    <a:pt x="120" y="1250"/>
                  </a:lnTo>
                  <a:lnTo>
                    <a:pt x="162" y="1147"/>
                  </a:lnTo>
                  <a:lnTo>
                    <a:pt x="209" y="1047"/>
                  </a:lnTo>
                  <a:lnTo>
                    <a:pt x="262" y="951"/>
                  </a:lnTo>
                  <a:lnTo>
                    <a:pt x="320" y="858"/>
                  </a:lnTo>
                  <a:lnTo>
                    <a:pt x="384" y="768"/>
                  </a:lnTo>
                  <a:lnTo>
                    <a:pt x="451" y="683"/>
                  </a:lnTo>
                  <a:lnTo>
                    <a:pt x="525" y="602"/>
                  </a:lnTo>
                  <a:lnTo>
                    <a:pt x="602" y="525"/>
                  </a:lnTo>
                  <a:lnTo>
                    <a:pt x="683" y="451"/>
                  </a:lnTo>
                  <a:lnTo>
                    <a:pt x="768" y="384"/>
                  </a:lnTo>
                  <a:lnTo>
                    <a:pt x="858" y="320"/>
                  </a:lnTo>
                  <a:lnTo>
                    <a:pt x="951" y="262"/>
                  </a:lnTo>
                  <a:lnTo>
                    <a:pt x="1047" y="209"/>
                  </a:lnTo>
                  <a:lnTo>
                    <a:pt x="1147" y="162"/>
                  </a:lnTo>
                  <a:lnTo>
                    <a:pt x="1250" y="120"/>
                  </a:lnTo>
                  <a:lnTo>
                    <a:pt x="1356" y="84"/>
                  </a:lnTo>
                  <a:lnTo>
                    <a:pt x="1464" y="55"/>
                  </a:lnTo>
                  <a:lnTo>
                    <a:pt x="1574" y="31"/>
                  </a:lnTo>
                  <a:lnTo>
                    <a:pt x="1688" y="14"/>
                  </a:lnTo>
                  <a:lnTo>
                    <a:pt x="1802" y="3"/>
                  </a:lnTo>
                  <a:lnTo>
                    <a:pt x="19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177640" y="2116955"/>
            <a:ext cx="2836054" cy="3663964"/>
            <a:chOff x="1302335" y="2449475"/>
            <a:chExt cx="2836054" cy="3663964"/>
          </a:xfrm>
        </p:grpSpPr>
        <p:pic>
          <p:nvPicPr>
            <p:cNvPr id="22" name="Picture 2" descr="http://maxpixel.freegreatpicture.com/static/photo/1x/Training-Education-Library-Literature-Reading-Book-1261800.jpg"/>
            <p:cNvPicPr preferRelativeResize="0">
              <a:picLocks noChangeArrowheads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48762" y="2449475"/>
              <a:ext cx="2743200" cy="2743200"/>
            </a:xfrm>
            <a:prstGeom prst="ellipse">
              <a:avLst/>
            </a:prstGeom>
            <a:ln w="38100" cap="sq">
              <a:solidFill>
                <a:srgbClr val="0084CB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Box 23"/>
            <p:cNvSpPr txBox="1"/>
            <p:nvPr/>
          </p:nvSpPr>
          <p:spPr>
            <a:xfrm>
              <a:off x="1302335" y="5467108"/>
              <a:ext cx="283605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0084CB"/>
                  </a:solidFill>
                  <a:latin typeface="Raleway" panose="020B0003030101060003" pitchFamily="34" charset="0"/>
                </a:rPr>
                <a:t>Provide us with your existing training material</a:t>
              </a:r>
              <a:endParaRPr lang="en-CA" dirty="0">
                <a:solidFill>
                  <a:srgbClr val="0084CB"/>
                </a:solidFill>
                <a:latin typeface="Raleway" panose="020B0003030101060003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8181079" y="2116955"/>
            <a:ext cx="2989428" cy="3663964"/>
            <a:chOff x="8305774" y="2449475"/>
            <a:chExt cx="2989428" cy="3663964"/>
          </a:xfrm>
        </p:grpSpPr>
        <p:pic>
          <p:nvPicPr>
            <p:cNvPr id="23" name="Picture 4" descr="https://upload.wikimedia.org/wikipedia/commons/thumb/0/01/SSJ100_training_class_1_%289321306040%29.jpg/1024px-SSJ100_training_class_1_%289321306040%29.jpg"/>
            <p:cNvPicPr preferRelativeResize="0">
              <a:picLocks noChangeArrowheads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428888" y="2449475"/>
              <a:ext cx="2743200" cy="2743200"/>
            </a:xfrm>
            <a:prstGeom prst="ellipse">
              <a:avLst/>
            </a:prstGeom>
            <a:ln w="38100" cap="sq">
              <a:solidFill>
                <a:srgbClr val="0084CB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TextBox 26"/>
            <p:cNvSpPr txBox="1"/>
            <p:nvPr/>
          </p:nvSpPr>
          <p:spPr>
            <a:xfrm>
              <a:off x="8305774" y="5467108"/>
              <a:ext cx="298942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800" b="1"/>
              </a:lvl1pPr>
            </a:lstStyle>
            <a:p>
              <a:r>
                <a:rPr lang="en-US" sz="1800" b="0" dirty="0">
                  <a:solidFill>
                    <a:srgbClr val="0084CB"/>
                  </a:solidFill>
                  <a:latin typeface="Raleway" panose="020B0003030101060003" pitchFamily="34" charset="0"/>
                </a:rPr>
                <a:t>We train your customer service reps together</a:t>
              </a:r>
              <a:endParaRPr lang="en-CA" sz="1800" b="0" dirty="0">
                <a:solidFill>
                  <a:srgbClr val="0084CB"/>
                </a:solidFill>
                <a:latin typeface="Raleway" panose="020B0003030101060003" pitchFamily="34" charset="0"/>
              </a:endParaRPr>
            </a:p>
          </p:txBody>
        </p:sp>
      </p:grpSp>
      <p:sp>
        <p:nvSpPr>
          <p:cNvPr id="13" name="Right Arrow 12"/>
          <p:cNvSpPr/>
          <p:nvPr/>
        </p:nvSpPr>
        <p:spPr>
          <a:xfrm>
            <a:off x="4130669" y="3266882"/>
            <a:ext cx="387927" cy="443345"/>
          </a:xfrm>
          <a:prstGeom prst="rightArrow">
            <a:avLst/>
          </a:prstGeom>
          <a:gradFill>
            <a:gsLst>
              <a:gs pos="0">
                <a:srgbClr val="00C2F3"/>
              </a:gs>
              <a:gs pos="100000">
                <a:srgbClr val="0084CB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Arrow 28"/>
          <p:cNvSpPr/>
          <p:nvPr/>
        </p:nvSpPr>
        <p:spPr>
          <a:xfrm>
            <a:off x="7670732" y="3266882"/>
            <a:ext cx="387927" cy="443345"/>
          </a:xfrm>
          <a:prstGeom prst="rightArrow">
            <a:avLst/>
          </a:prstGeom>
          <a:gradFill>
            <a:gsLst>
              <a:gs pos="0">
                <a:srgbClr val="00C2F3"/>
              </a:gs>
              <a:gs pos="100000">
                <a:srgbClr val="0084CB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4684639" y="2116955"/>
            <a:ext cx="2743200" cy="3725519"/>
            <a:chOff x="4684639" y="2116955"/>
            <a:chExt cx="2743200" cy="3725519"/>
          </a:xfrm>
        </p:grpSpPr>
        <p:sp>
          <p:nvSpPr>
            <p:cNvPr id="26" name="TextBox 25"/>
            <p:cNvSpPr txBox="1"/>
            <p:nvPr/>
          </p:nvSpPr>
          <p:spPr>
            <a:xfrm>
              <a:off x="4766935" y="5134588"/>
              <a:ext cx="2660904" cy="70788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defPPr>
                <a:defRPr lang="en-US"/>
              </a:defPPr>
              <a:lvl1pPr algn="ctr">
                <a:defRPr sz="2800" b="1"/>
              </a:lvl1pPr>
            </a:lstStyle>
            <a:p>
              <a:r>
                <a:rPr lang="en-US" sz="1800" b="0" dirty="0">
                  <a:solidFill>
                    <a:srgbClr val="0084CB"/>
                  </a:solidFill>
                  <a:latin typeface="Raleway" panose="020B0003030101060003" pitchFamily="34" charset="0"/>
                </a:rPr>
                <a:t>We’ll design a draft </a:t>
              </a:r>
              <a:r>
                <a:rPr lang="en-US" sz="1800" b="0" dirty="0" smtClean="0">
                  <a:solidFill>
                    <a:srgbClr val="0084CB"/>
                  </a:solidFill>
                  <a:latin typeface="Raleway" panose="020B0003030101060003" pitchFamily="34" charset="0"/>
                </a:rPr>
                <a:t>“call script” </a:t>
              </a:r>
              <a:r>
                <a:rPr lang="en-US" sz="1800" b="0" dirty="0">
                  <a:solidFill>
                    <a:srgbClr val="0084CB"/>
                  </a:solidFill>
                  <a:latin typeface="Raleway" panose="020B0003030101060003" pitchFamily="34" charset="0"/>
                </a:rPr>
                <a:t>for you</a:t>
              </a:r>
              <a:endParaRPr lang="en-CA" sz="1800" b="0" dirty="0">
                <a:solidFill>
                  <a:srgbClr val="0084CB"/>
                </a:solidFill>
                <a:latin typeface="Raleway" panose="020B0003030101060003" pitchFamily="34" charset="0"/>
              </a:endParaRPr>
            </a:p>
          </p:txBody>
        </p:sp>
        <p:pic>
          <p:nvPicPr>
            <p:cNvPr id="2050" name="Picture 2" descr="\\10.10.1.18\Projects\Korah\Ccr\doc\PowerPoint slides\Source images\Good_Call_Flow.jpg"/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84639" y="2116955"/>
              <a:ext cx="2743200" cy="2743200"/>
            </a:xfrm>
            <a:prstGeom prst="ellipse">
              <a:avLst/>
            </a:prstGeom>
            <a:ln w="38100" cap="rnd">
              <a:solidFill>
                <a:srgbClr val="0084C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90027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481253" y="340567"/>
            <a:ext cx="19559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HOW IT </a:t>
            </a:r>
            <a:r>
              <a:rPr lang="en-US" b="1" dirty="0" smtClean="0">
                <a:solidFill>
                  <a:srgbClr val="00C2F3"/>
                </a:solidFill>
                <a:latin typeface="Raleway" panose="020B0003030101060003" pitchFamily="34" charset="0"/>
              </a:rPr>
              <a:t>WORKS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477388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Implementing </a:t>
            </a:r>
            <a:r>
              <a:rPr lang="en-US" sz="2600" dirty="0" err="1">
                <a:solidFill>
                  <a:srgbClr val="0084CB"/>
                </a:solidFill>
                <a:latin typeface="Raleway" panose="020B0003030101060003" pitchFamily="34" charset="0"/>
              </a:rPr>
              <a:t>ccRobot</a:t>
            </a:r>
            <a:endParaRPr lang="en-US" sz="26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869109" y="5245348"/>
            <a:ext cx="7422522" cy="1436636"/>
            <a:chOff x="2169505" y="4998610"/>
            <a:chExt cx="7422522" cy="1436636"/>
          </a:xfrm>
        </p:grpSpPr>
        <p:grpSp>
          <p:nvGrpSpPr>
            <p:cNvPr id="2" name="Group 1"/>
            <p:cNvGrpSpPr/>
            <p:nvPr/>
          </p:nvGrpSpPr>
          <p:grpSpPr>
            <a:xfrm>
              <a:off x="2169505" y="5182517"/>
              <a:ext cx="6506776" cy="1252729"/>
              <a:chOff x="3504603" y="5301461"/>
              <a:chExt cx="6506776" cy="1252729"/>
            </a:xfrm>
          </p:grpSpPr>
          <p:sp>
            <p:nvSpPr>
              <p:cNvPr id="40" name="Freeform 39"/>
              <p:cNvSpPr/>
              <p:nvPr/>
            </p:nvSpPr>
            <p:spPr>
              <a:xfrm rot="10800000" flipH="1">
                <a:off x="3504603" y="5301461"/>
                <a:ext cx="5800262" cy="1252729"/>
              </a:xfrm>
              <a:custGeom>
                <a:avLst/>
                <a:gdLst>
                  <a:gd name="connsiteX0" fmla="*/ 5800262 w 5800262"/>
                  <a:gd name="connsiteY0" fmla="*/ 1898771 h 1898771"/>
                  <a:gd name="connsiteX1" fmla="*/ 0 w 5800262"/>
                  <a:gd name="connsiteY1" fmla="*/ 1898771 h 1898771"/>
                  <a:gd name="connsiteX2" fmla="*/ 0 w 5800262"/>
                  <a:gd name="connsiteY2" fmla="*/ 422396 h 1898771"/>
                  <a:gd name="connsiteX3" fmla="*/ 938596 w 5800262"/>
                  <a:gd name="connsiteY3" fmla="*/ 0 h 1898771"/>
                  <a:gd name="connsiteX4" fmla="*/ 1943101 w 5800262"/>
                  <a:gd name="connsiteY4" fmla="*/ 422396 h 1898771"/>
                  <a:gd name="connsiteX5" fmla="*/ 5800262 w 5800262"/>
                  <a:gd name="connsiteY5" fmla="*/ 422396 h 1898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00262" h="1898771">
                    <a:moveTo>
                      <a:pt x="5800262" y="1898771"/>
                    </a:moveTo>
                    <a:lnTo>
                      <a:pt x="0" y="1898771"/>
                    </a:lnTo>
                    <a:lnTo>
                      <a:pt x="0" y="422396"/>
                    </a:lnTo>
                    <a:lnTo>
                      <a:pt x="938596" y="0"/>
                    </a:lnTo>
                    <a:lnTo>
                      <a:pt x="1943101" y="422396"/>
                    </a:lnTo>
                    <a:lnTo>
                      <a:pt x="5800262" y="422396"/>
                    </a:lnTo>
                    <a:close/>
                  </a:path>
                </a:pathLst>
              </a:custGeom>
              <a:solidFill>
                <a:srgbClr val="0084CB"/>
              </a:solidFill>
              <a:ln w="508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48" name="Straight Connector 47"/>
              <p:cNvCxnSpPr/>
              <p:nvPr/>
            </p:nvCxnSpPr>
            <p:spPr>
              <a:xfrm>
                <a:off x="5427023" y="5500254"/>
                <a:ext cx="0" cy="653143"/>
              </a:xfrm>
              <a:prstGeom prst="line">
                <a:avLst/>
              </a:prstGeom>
              <a:ln w="254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Rectangle 53"/>
              <p:cNvSpPr/>
              <p:nvPr/>
            </p:nvSpPr>
            <p:spPr>
              <a:xfrm>
                <a:off x="3924857" y="5786635"/>
                <a:ext cx="1098378" cy="3416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kern="0" dirty="0">
                    <a:solidFill>
                      <a:prstClr val="white"/>
                    </a:solidFill>
                    <a:latin typeface="Raleway" panose="020B0003030101060003" pitchFamily="34" charset="0"/>
                  </a:rPr>
                  <a:t>Ongoing</a:t>
                </a:r>
              </a:p>
            </p:txBody>
          </p:sp>
          <p:sp>
            <p:nvSpPr>
              <p:cNvPr id="59" name="Isosceles Triangle 35"/>
              <p:cNvSpPr/>
              <p:nvPr/>
            </p:nvSpPr>
            <p:spPr>
              <a:xfrm rot="5400000">
                <a:off x="9175356" y="5421625"/>
                <a:ext cx="932688" cy="739358"/>
              </a:xfrm>
              <a:custGeom>
                <a:avLst/>
                <a:gdLst>
                  <a:gd name="connsiteX0" fmla="*/ 0 w 874238"/>
                  <a:gd name="connsiteY0" fmla="*/ 739358 h 739358"/>
                  <a:gd name="connsiteX1" fmla="*/ 437119 w 874238"/>
                  <a:gd name="connsiteY1" fmla="*/ 0 h 739358"/>
                  <a:gd name="connsiteX2" fmla="*/ 874238 w 874238"/>
                  <a:gd name="connsiteY2" fmla="*/ 739358 h 739358"/>
                  <a:gd name="connsiteX3" fmla="*/ 0 w 874238"/>
                  <a:gd name="connsiteY3" fmla="*/ 739358 h 739358"/>
                  <a:gd name="connsiteX0" fmla="*/ 0 w 878048"/>
                  <a:gd name="connsiteY0" fmla="*/ 739358 h 743168"/>
                  <a:gd name="connsiteX1" fmla="*/ 437119 w 878048"/>
                  <a:gd name="connsiteY1" fmla="*/ 0 h 743168"/>
                  <a:gd name="connsiteX2" fmla="*/ 878048 w 878048"/>
                  <a:gd name="connsiteY2" fmla="*/ 743168 h 743168"/>
                  <a:gd name="connsiteX3" fmla="*/ 0 w 878048"/>
                  <a:gd name="connsiteY3" fmla="*/ 739358 h 743168"/>
                  <a:gd name="connsiteX0" fmla="*/ 0 w 889478"/>
                  <a:gd name="connsiteY0" fmla="*/ 739358 h 739358"/>
                  <a:gd name="connsiteX1" fmla="*/ 437119 w 889478"/>
                  <a:gd name="connsiteY1" fmla="*/ 0 h 739358"/>
                  <a:gd name="connsiteX2" fmla="*/ 889478 w 889478"/>
                  <a:gd name="connsiteY2" fmla="*/ 739358 h 739358"/>
                  <a:gd name="connsiteX3" fmla="*/ 0 w 889478"/>
                  <a:gd name="connsiteY3" fmla="*/ 739358 h 739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9478" h="739358">
                    <a:moveTo>
                      <a:pt x="0" y="739358"/>
                    </a:moveTo>
                    <a:lnTo>
                      <a:pt x="437119" y="0"/>
                    </a:lnTo>
                    <a:lnTo>
                      <a:pt x="889478" y="739358"/>
                    </a:lnTo>
                    <a:lnTo>
                      <a:pt x="0" y="739358"/>
                    </a:lnTo>
                    <a:close/>
                  </a:path>
                </a:pathLst>
              </a:custGeom>
              <a:solidFill>
                <a:srgbClr val="0084C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0" name="Right Arrow 59"/>
            <p:cNvSpPr/>
            <p:nvPr/>
          </p:nvSpPr>
          <p:spPr>
            <a:xfrm>
              <a:off x="4194517" y="4998610"/>
              <a:ext cx="5397510" cy="1371600"/>
            </a:xfrm>
            <a:prstGeom prst="rightArrow">
              <a:avLst>
                <a:gd name="adj1" fmla="val 50000"/>
                <a:gd name="adj2" fmla="val 29630"/>
              </a:avLst>
            </a:prstGeom>
            <a:noFill/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2240" tIns="44362" rIns="44362" bIns="44362" numCol="1" spcCol="1270" anchor="ctr" anchorCtr="0">
              <a:noAutofit/>
            </a:bodyPr>
            <a:lstStyle/>
            <a:p>
              <a:pPr marL="0" lvl="1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b="1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  <a:t>Automatic mode:</a:t>
              </a:r>
              <a:r>
                <a:rPr lang="en-US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  <a:t/>
              </a:r>
              <a:br>
                <a:rPr lang="en-US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</a:br>
              <a:r>
                <a:rPr lang="en-US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  <a:t>Handles visitors on its own</a:t>
              </a:r>
              <a:endParaRPr lang="en-CA" kern="1200" dirty="0">
                <a:solidFill>
                  <a:schemeClr val="bg1"/>
                </a:solidFill>
                <a:latin typeface="Raleway" panose="020B0003030101060003" pitchFamily="34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869109" y="4270415"/>
            <a:ext cx="6506776" cy="1424875"/>
            <a:chOff x="3504603" y="4186163"/>
            <a:chExt cx="6506776" cy="1424875"/>
          </a:xfrm>
        </p:grpSpPr>
        <p:sp>
          <p:nvSpPr>
            <p:cNvPr id="41" name="Freeform 40"/>
            <p:cNvSpPr/>
            <p:nvPr/>
          </p:nvSpPr>
          <p:spPr>
            <a:xfrm rot="10800000" flipH="1">
              <a:off x="3504603" y="4358309"/>
              <a:ext cx="5800262" cy="1252729"/>
            </a:xfrm>
            <a:custGeom>
              <a:avLst/>
              <a:gdLst>
                <a:gd name="connsiteX0" fmla="*/ 5800262 w 5800262"/>
                <a:gd name="connsiteY0" fmla="*/ 1898771 h 1898771"/>
                <a:gd name="connsiteX1" fmla="*/ 0 w 5800262"/>
                <a:gd name="connsiteY1" fmla="*/ 1898771 h 1898771"/>
                <a:gd name="connsiteX2" fmla="*/ 0 w 5800262"/>
                <a:gd name="connsiteY2" fmla="*/ 422396 h 1898771"/>
                <a:gd name="connsiteX3" fmla="*/ 938596 w 5800262"/>
                <a:gd name="connsiteY3" fmla="*/ 0 h 1898771"/>
                <a:gd name="connsiteX4" fmla="*/ 1943101 w 5800262"/>
                <a:gd name="connsiteY4" fmla="*/ 422396 h 1898771"/>
                <a:gd name="connsiteX5" fmla="*/ 5800262 w 5800262"/>
                <a:gd name="connsiteY5" fmla="*/ 422396 h 189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0262" h="1898771">
                  <a:moveTo>
                    <a:pt x="5800262" y="1898771"/>
                  </a:moveTo>
                  <a:lnTo>
                    <a:pt x="0" y="1898771"/>
                  </a:lnTo>
                  <a:lnTo>
                    <a:pt x="0" y="422396"/>
                  </a:lnTo>
                  <a:lnTo>
                    <a:pt x="938596" y="0"/>
                  </a:lnTo>
                  <a:lnTo>
                    <a:pt x="1943101" y="422396"/>
                  </a:lnTo>
                  <a:lnTo>
                    <a:pt x="5800262" y="422396"/>
                  </a:lnTo>
                  <a:close/>
                </a:path>
              </a:pathLst>
            </a:custGeom>
            <a:solidFill>
              <a:srgbClr val="00C2F3"/>
            </a:solidFill>
            <a:ln w="508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7" name="Straight Connector 46"/>
            <p:cNvCxnSpPr/>
            <p:nvPr/>
          </p:nvCxnSpPr>
          <p:spPr>
            <a:xfrm>
              <a:off x="5427023" y="4562103"/>
              <a:ext cx="0" cy="653143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 52"/>
            <p:cNvSpPr/>
            <p:nvPr/>
          </p:nvSpPr>
          <p:spPr>
            <a:xfrm>
              <a:off x="3991810" y="4800354"/>
              <a:ext cx="1098378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kern="0" dirty="0">
                  <a:solidFill>
                    <a:prstClr val="white"/>
                  </a:solidFill>
                  <a:latin typeface="Raleway" panose="020B0003030101060003" pitchFamily="34" charset="0"/>
                </a:rPr>
                <a:t>Ongoing</a:t>
              </a:r>
            </a:p>
          </p:txBody>
        </p:sp>
        <p:sp>
          <p:nvSpPr>
            <p:cNvPr id="58" name="Isosceles Triangle 35"/>
            <p:cNvSpPr/>
            <p:nvPr/>
          </p:nvSpPr>
          <p:spPr>
            <a:xfrm rot="5400000">
              <a:off x="9175356" y="4474995"/>
              <a:ext cx="932688" cy="739358"/>
            </a:xfrm>
            <a:custGeom>
              <a:avLst/>
              <a:gdLst>
                <a:gd name="connsiteX0" fmla="*/ 0 w 874238"/>
                <a:gd name="connsiteY0" fmla="*/ 739358 h 739358"/>
                <a:gd name="connsiteX1" fmla="*/ 437119 w 874238"/>
                <a:gd name="connsiteY1" fmla="*/ 0 h 739358"/>
                <a:gd name="connsiteX2" fmla="*/ 874238 w 874238"/>
                <a:gd name="connsiteY2" fmla="*/ 739358 h 739358"/>
                <a:gd name="connsiteX3" fmla="*/ 0 w 874238"/>
                <a:gd name="connsiteY3" fmla="*/ 739358 h 739358"/>
                <a:gd name="connsiteX0" fmla="*/ 0 w 878048"/>
                <a:gd name="connsiteY0" fmla="*/ 739358 h 743168"/>
                <a:gd name="connsiteX1" fmla="*/ 437119 w 878048"/>
                <a:gd name="connsiteY1" fmla="*/ 0 h 743168"/>
                <a:gd name="connsiteX2" fmla="*/ 878048 w 878048"/>
                <a:gd name="connsiteY2" fmla="*/ 743168 h 743168"/>
                <a:gd name="connsiteX3" fmla="*/ 0 w 878048"/>
                <a:gd name="connsiteY3" fmla="*/ 739358 h 743168"/>
                <a:gd name="connsiteX0" fmla="*/ 0 w 889478"/>
                <a:gd name="connsiteY0" fmla="*/ 739358 h 739358"/>
                <a:gd name="connsiteX1" fmla="*/ 437119 w 889478"/>
                <a:gd name="connsiteY1" fmla="*/ 0 h 739358"/>
                <a:gd name="connsiteX2" fmla="*/ 889478 w 889478"/>
                <a:gd name="connsiteY2" fmla="*/ 739358 h 739358"/>
                <a:gd name="connsiteX3" fmla="*/ 0 w 889478"/>
                <a:gd name="connsiteY3" fmla="*/ 739358 h 73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478" h="739358">
                  <a:moveTo>
                    <a:pt x="0" y="739358"/>
                  </a:moveTo>
                  <a:lnTo>
                    <a:pt x="437119" y="0"/>
                  </a:lnTo>
                  <a:lnTo>
                    <a:pt x="889478" y="739358"/>
                  </a:lnTo>
                  <a:lnTo>
                    <a:pt x="0" y="739358"/>
                  </a:lnTo>
                  <a:close/>
                </a:path>
              </a:pathLst>
            </a:custGeom>
            <a:solidFill>
              <a:srgbClr val="00C2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ight Arrow 60"/>
            <p:cNvSpPr/>
            <p:nvPr/>
          </p:nvSpPr>
          <p:spPr>
            <a:xfrm>
              <a:off x="5507308" y="4186163"/>
              <a:ext cx="4121702" cy="1424875"/>
            </a:xfrm>
            <a:prstGeom prst="rightArrow">
              <a:avLst>
                <a:gd name="adj1" fmla="val 50000"/>
                <a:gd name="adj2" fmla="val 30556"/>
              </a:avLst>
            </a:prstGeom>
            <a:noFill/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2240" tIns="44362" rIns="44362" bIns="44362" numCol="1" spcCol="1270" anchor="ctr" anchorCtr="0">
              <a:noAutofit/>
            </a:bodyPr>
            <a:lstStyle/>
            <a:p>
              <a:pPr marL="0" lvl="1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b="1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  <a:t>Semi-automatic mode:</a:t>
              </a:r>
              <a:r>
                <a:rPr lang="en-US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  <a:t/>
              </a:r>
              <a:br>
                <a:rPr lang="en-US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</a:br>
              <a:r>
                <a:rPr lang="en-US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  <a:t>Trained on-the-job and continually improves</a:t>
              </a:r>
              <a:endParaRPr lang="en-CA" kern="1200" dirty="0">
                <a:solidFill>
                  <a:schemeClr val="bg1"/>
                </a:solidFill>
                <a:latin typeface="Raleway" panose="020B0003030101060003" pitchFamily="34" charset="0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432223" y="3469710"/>
            <a:ext cx="6306863" cy="1252729"/>
            <a:chOff x="3504603" y="3429000"/>
            <a:chExt cx="5974723" cy="1252729"/>
          </a:xfrm>
        </p:grpSpPr>
        <p:sp>
          <p:nvSpPr>
            <p:cNvPr id="42" name="Freeform 41"/>
            <p:cNvSpPr/>
            <p:nvPr/>
          </p:nvSpPr>
          <p:spPr>
            <a:xfrm rot="10800000" flipH="1">
              <a:off x="3504603" y="3429000"/>
              <a:ext cx="5800262" cy="1252729"/>
            </a:xfrm>
            <a:custGeom>
              <a:avLst/>
              <a:gdLst>
                <a:gd name="connsiteX0" fmla="*/ 5800262 w 5800262"/>
                <a:gd name="connsiteY0" fmla="*/ 1898771 h 1898771"/>
                <a:gd name="connsiteX1" fmla="*/ 0 w 5800262"/>
                <a:gd name="connsiteY1" fmla="*/ 1898771 h 1898771"/>
                <a:gd name="connsiteX2" fmla="*/ 0 w 5800262"/>
                <a:gd name="connsiteY2" fmla="*/ 422396 h 1898771"/>
                <a:gd name="connsiteX3" fmla="*/ 938596 w 5800262"/>
                <a:gd name="connsiteY3" fmla="*/ 0 h 1898771"/>
                <a:gd name="connsiteX4" fmla="*/ 1943101 w 5800262"/>
                <a:gd name="connsiteY4" fmla="*/ 422396 h 1898771"/>
                <a:gd name="connsiteX5" fmla="*/ 5800262 w 5800262"/>
                <a:gd name="connsiteY5" fmla="*/ 422396 h 189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0262" h="1898771">
                  <a:moveTo>
                    <a:pt x="5800262" y="1898771"/>
                  </a:moveTo>
                  <a:lnTo>
                    <a:pt x="0" y="1898771"/>
                  </a:lnTo>
                  <a:lnTo>
                    <a:pt x="0" y="422396"/>
                  </a:lnTo>
                  <a:lnTo>
                    <a:pt x="938596" y="0"/>
                  </a:lnTo>
                  <a:lnTo>
                    <a:pt x="1943101" y="422396"/>
                  </a:lnTo>
                  <a:lnTo>
                    <a:pt x="5800262" y="422396"/>
                  </a:lnTo>
                  <a:close/>
                </a:path>
              </a:pathLst>
            </a:custGeom>
            <a:solidFill>
              <a:srgbClr val="0084CB"/>
            </a:solidFill>
            <a:ln w="508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6" name="Straight Connector 45"/>
            <p:cNvCxnSpPr/>
            <p:nvPr/>
          </p:nvCxnSpPr>
          <p:spPr>
            <a:xfrm>
              <a:off x="5427023" y="3564576"/>
              <a:ext cx="0" cy="653143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Rectangle 51"/>
            <p:cNvSpPr/>
            <p:nvPr/>
          </p:nvSpPr>
          <p:spPr>
            <a:xfrm>
              <a:off x="3910858" y="3843028"/>
              <a:ext cx="1260281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kern="0" dirty="0">
                  <a:solidFill>
                    <a:prstClr val="white"/>
                  </a:solidFill>
                  <a:latin typeface="Raleway" panose="020B0003030101060003" pitchFamily="34" charset="0"/>
                </a:rPr>
                <a:t>1</a:t>
              </a:r>
              <a:r>
                <a:rPr lang="en-US" kern="0" dirty="0" smtClean="0">
                  <a:solidFill>
                    <a:prstClr val="white"/>
                  </a:solidFill>
                  <a:latin typeface="Raleway" panose="020B0003030101060003" pitchFamily="34" charset="0"/>
                </a:rPr>
                <a:t>-4 </a:t>
              </a:r>
              <a:r>
                <a:rPr lang="en-US" kern="0" dirty="0">
                  <a:solidFill>
                    <a:prstClr val="white"/>
                  </a:solidFill>
                  <a:latin typeface="Raleway" panose="020B0003030101060003" pitchFamily="34" charset="0"/>
                </a:rPr>
                <a:t>weeks</a:t>
              </a:r>
            </a:p>
          </p:txBody>
        </p:sp>
        <p:sp>
          <p:nvSpPr>
            <p:cNvPr id="57" name="Freeform 56"/>
            <p:cNvSpPr/>
            <p:nvPr/>
          </p:nvSpPr>
          <p:spPr>
            <a:xfrm>
              <a:off x="5529615" y="3573434"/>
              <a:ext cx="3949711" cy="648597"/>
            </a:xfrm>
            <a:custGeom>
              <a:avLst/>
              <a:gdLst>
                <a:gd name="connsiteX0" fmla="*/ 108102 w 648597"/>
                <a:gd name="connsiteY0" fmla="*/ 0 h 7302509"/>
                <a:gd name="connsiteX1" fmla="*/ 540495 w 648597"/>
                <a:gd name="connsiteY1" fmla="*/ 0 h 7302509"/>
                <a:gd name="connsiteX2" fmla="*/ 648597 w 648597"/>
                <a:gd name="connsiteY2" fmla="*/ 108102 h 7302509"/>
                <a:gd name="connsiteX3" fmla="*/ 648597 w 648597"/>
                <a:gd name="connsiteY3" fmla="*/ 7302509 h 7302509"/>
                <a:gd name="connsiteX4" fmla="*/ 648597 w 648597"/>
                <a:gd name="connsiteY4" fmla="*/ 7302509 h 7302509"/>
                <a:gd name="connsiteX5" fmla="*/ 0 w 648597"/>
                <a:gd name="connsiteY5" fmla="*/ 7302509 h 7302509"/>
                <a:gd name="connsiteX6" fmla="*/ 0 w 648597"/>
                <a:gd name="connsiteY6" fmla="*/ 7302509 h 7302509"/>
                <a:gd name="connsiteX7" fmla="*/ 0 w 648597"/>
                <a:gd name="connsiteY7" fmla="*/ 108102 h 7302509"/>
                <a:gd name="connsiteX8" fmla="*/ 108102 w 648597"/>
                <a:gd name="connsiteY8" fmla="*/ 0 h 730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8597" h="7302509">
                  <a:moveTo>
                    <a:pt x="648597" y="1217117"/>
                  </a:moveTo>
                  <a:lnTo>
                    <a:pt x="648597" y="6085392"/>
                  </a:lnTo>
                  <a:cubicBezTo>
                    <a:pt x="648597" y="6757583"/>
                    <a:pt x="644298" y="7302503"/>
                    <a:pt x="638996" y="7302503"/>
                  </a:cubicBezTo>
                  <a:lnTo>
                    <a:pt x="0" y="7302503"/>
                  </a:lnTo>
                  <a:lnTo>
                    <a:pt x="0" y="7302503"/>
                  </a:lnTo>
                  <a:lnTo>
                    <a:pt x="0" y="6"/>
                  </a:lnTo>
                  <a:lnTo>
                    <a:pt x="0" y="6"/>
                  </a:lnTo>
                  <a:lnTo>
                    <a:pt x="638996" y="6"/>
                  </a:lnTo>
                  <a:cubicBezTo>
                    <a:pt x="644298" y="6"/>
                    <a:pt x="648597" y="544926"/>
                    <a:pt x="648597" y="1217117"/>
                  </a:cubicBez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2240" tIns="44362" rIns="44362" bIns="44362" numCol="1" spcCol="1270" anchor="ctr" anchorCtr="0">
              <a:noAutofit/>
            </a:bodyPr>
            <a:lstStyle/>
            <a:p>
              <a:pPr marL="0" lvl="1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  <a:t>Deploy </a:t>
              </a:r>
              <a:r>
                <a:rPr lang="en-US" kern="1200" dirty="0" err="1">
                  <a:solidFill>
                    <a:schemeClr val="bg1"/>
                  </a:solidFill>
                  <a:latin typeface="Raleway" panose="020B0003030101060003" pitchFamily="34" charset="0"/>
                </a:rPr>
                <a:t>ccRobot</a:t>
              </a:r>
              <a:r>
                <a:rPr lang="en-US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  <a:t> on your </a:t>
              </a:r>
              <a:r>
                <a:rPr lang="en-US" kern="1200" dirty="0" smtClean="0">
                  <a:solidFill>
                    <a:schemeClr val="bg1"/>
                  </a:solidFill>
                  <a:latin typeface="Raleway" panose="020B0003030101060003" pitchFamily="34" charset="0"/>
                </a:rPr>
                <a:t>platform</a:t>
              </a:r>
            </a:p>
            <a:p>
              <a:pPr marL="0" lvl="1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dirty="0" smtClean="0">
                  <a:solidFill>
                    <a:schemeClr val="bg1"/>
                  </a:solidFill>
                  <a:latin typeface="Raleway" panose="020B0003030101060003" pitchFamily="34" charset="0"/>
                </a:rPr>
                <a:t>(depends on integration)</a:t>
              </a:r>
              <a:endParaRPr lang="en-CA" kern="1200" dirty="0">
                <a:solidFill>
                  <a:schemeClr val="bg1"/>
                </a:solidFill>
                <a:latin typeface="Raleway" panose="020B0003030101060003" pitchFamily="34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995337" y="2492541"/>
            <a:ext cx="5974724" cy="1252729"/>
            <a:chOff x="3504603" y="2485848"/>
            <a:chExt cx="5974724" cy="1252729"/>
          </a:xfrm>
        </p:grpSpPr>
        <p:sp>
          <p:nvSpPr>
            <p:cNvPr id="43" name="Freeform 42"/>
            <p:cNvSpPr/>
            <p:nvPr/>
          </p:nvSpPr>
          <p:spPr>
            <a:xfrm rot="10800000" flipH="1">
              <a:off x="3504603" y="2485848"/>
              <a:ext cx="5800262" cy="1252729"/>
            </a:xfrm>
            <a:custGeom>
              <a:avLst/>
              <a:gdLst>
                <a:gd name="connsiteX0" fmla="*/ 5800262 w 5800262"/>
                <a:gd name="connsiteY0" fmla="*/ 1898771 h 1898771"/>
                <a:gd name="connsiteX1" fmla="*/ 0 w 5800262"/>
                <a:gd name="connsiteY1" fmla="*/ 1898771 h 1898771"/>
                <a:gd name="connsiteX2" fmla="*/ 0 w 5800262"/>
                <a:gd name="connsiteY2" fmla="*/ 422396 h 1898771"/>
                <a:gd name="connsiteX3" fmla="*/ 938596 w 5800262"/>
                <a:gd name="connsiteY3" fmla="*/ 0 h 1898771"/>
                <a:gd name="connsiteX4" fmla="*/ 1943101 w 5800262"/>
                <a:gd name="connsiteY4" fmla="*/ 422396 h 1898771"/>
                <a:gd name="connsiteX5" fmla="*/ 5800262 w 5800262"/>
                <a:gd name="connsiteY5" fmla="*/ 422396 h 189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0262" h="1898771">
                  <a:moveTo>
                    <a:pt x="5800262" y="1898771"/>
                  </a:moveTo>
                  <a:lnTo>
                    <a:pt x="0" y="1898771"/>
                  </a:lnTo>
                  <a:lnTo>
                    <a:pt x="0" y="422396"/>
                  </a:lnTo>
                  <a:lnTo>
                    <a:pt x="938596" y="0"/>
                  </a:lnTo>
                  <a:lnTo>
                    <a:pt x="1943101" y="422396"/>
                  </a:lnTo>
                  <a:lnTo>
                    <a:pt x="5800262" y="422396"/>
                  </a:lnTo>
                  <a:close/>
                </a:path>
              </a:pathLst>
            </a:custGeom>
            <a:solidFill>
              <a:srgbClr val="00C2F3"/>
            </a:solidFill>
            <a:ln w="508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5" name="Straight Connector 44"/>
            <p:cNvCxnSpPr/>
            <p:nvPr/>
          </p:nvCxnSpPr>
          <p:spPr>
            <a:xfrm>
              <a:off x="5427023" y="2616700"/>
              <a:ext cx="0" cy="653143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/>
            <p:cNvSpPr/>
            <p:nvPr/>
          </p:nvSpPr>
          <p:spPr>
            <a:xfrm>
              <a:off x="3904447" y="2923440"/>
              <a:ext cx="1273105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kern="0" dirty="0" smtClean="0">
                  <a:solidFill>
                    <a:prstClr val="white"/>
                  </a:solidFill>
                  <a:latin typeface="Raleway" panose="020B0003030101060003" pitchFamily="34" charset="0"/>
                </a:rPr>
                <a:t>1-8 </a:t>
              </a:r>
              <a:r>
                <a:rPr lang="en-US" kern="0" dirty="0">
                  <a:solidFill>
                    <a:prstClr val="white"/>
                  </a:solidFill>
                  <a:latin typeface="Raleway" panose="020B0003030101060003" pitchFamily="34" charset="0"/>
                </a:rPr>
                <a:t>weeks</a:t>
              </a:r>
            </a:p>
          </p:txBody>
        </p:sp>
        <p:sp>
          <p:nvSpPr>
            <p:cNvPr id="56" name="Freeform 55"/>
            <p:cNvSpPr/>
            <p:nvPr/>
          </p:nvSpPr>
          <p:spPr>
            <a:xfrm>
              <a:off x="5529616" y="2697388"/>
              <a:ext cx="3949711" cy="648597"/>
            </a:xfrm>
            <a:custGeom>
              <a:avLst/>
              <a:gdLst>
                <a:gd name="connsiteX0" fmla="*/ 108102 w 648597"/>
                <a:gd name="connsiteY0" fmla="*/ 0 h 7302509"/>
                <a:gd name="connsiteX1" fmla="*/ 540495 w 648597"/>
                <a:gd name="connsiteY1" fmla="*/ 0 h 7302509"/>
                <a:gd name="connsiteX2" fmla="*/ 648597 w 648597"/>
                <a:gd name="connsiteY2" fmla="*/ 108102 h 7302509"/>
                <a:gd name="connsiteX3" fmla="*/ 648597 w 648597"/>
                <a:gd name="connsiteY3" fmla="*/ 7302509 h 7302509"/>
                <a:gd name="connsiteX4" fmla="*/ 648597 w 648597"/>
                <a:gd name="connsiteY4" fmla="*/ 7302509 h 7302509"/>
                <a:gd name="connsiteX5" fmla="*/ 0 w 648597"/>
                <a:gd name="connsiteY5" fmla="*/ 7302509 h 7302509"/>
                <a:gd name="connsiteX6" fmla="*/ 0 w 648597"/>
                <a:gd name="connsiteY6" fmla="*/ 7302509 h 7302509"/>
                <a:gd name="connsiteX7" fmla="*/ 0 w 648597"/>
                <a:gd name="connsiteY7" fmla="*/ 108102 h 7302509"/>
                <a:gd name="connsiteX8" fmla="*/ 108102 w 648597"/>
                <a:gd name="connsiteY8" fmla="*/ 0 h 730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8597" h="7302509">
                  <a:moveTo>
                    <a:pt x="648597" y="1217117"/>
                  </a:moveTo>
                  <a:lnTo>
                    <a:pt x="648597" y="6085392"/>
                  </a:lnTo>
                  <a:cubicBezTo>
                    <a:pt x="648597" y="6757583"/>
                    <a:pt x="644298" y="7302503"/>
                    <a:pt x="638996" y="7302503"/>
                  </a:cubicBezTo>
                  <a:lnTo>
                    <a:pt x="0" y="7302503"/>
                  </a:lnTo>
                  <a:lnTo>
                    <a:pt x="0" y="7302503"/>
                  </a:lnTo>
                  <a:lnTo>
                    <a:pt x="0" y="6"/>
                  </a:lnTo>
                  <a:lnTo>
                    <a:pt x="0" y="6"/>
                  </a:lnTo>
                  <a:lnTo>
                    <a:pt x="638996" y="6"/>
                  </a:lnTo>
                  <a:cubicBezTo>
                    <a:pt x="644298" y="6"/>
                    <a:pt x="648597" y="544926"/>
                    <a:pt x="648597" y="1217117"/>
                  </a:cubicBez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2240" tIns="44362" rIns="44362" bIns="44362" numCol="1" spcCol="1270" anchor="ctr" anchorCtr="0">
              <a:noAutofit/>
            </a:bodyPr>
            <a:lstStyle/>
            <a:p>
              <a:pPr marL="0" lvl="1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000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  <a:t>Develop </a:t>
              </a:r>
              <a:r>
                <a:rPr lang="en-US" sz="2000" kern="1200" dirty="0" smtClean="0">
                  <a:solidFill>
                    <a:schemeClr val="bg1"/>
                  </a:solidFill>
                  <a:latin typeface="Raleway" panose="020B0003030101060003" pitchFamily="34" charset="0"/>
                </a:rPr>
                <a:t>call script together </a:t>
              </a:r>
            </a:p>
            <a:p>
              <a:pPr marL="0" lvl="1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000" dirty="0" smtClean="0">
                  <a:solidFill>
                    <a:schemeClr val="bg1"/>
                  </a:solidFill>
                  <a:latin typeface="Raleway" panose="020B0003030101060003" pitchFamily="34" charset="0"/>
                </a:rPr>
                <a:t>(can be phases)</a:t>
              </a:r>
              <a:endParaRPr lang="en-CA" sz="2000" kern="1200" dirty="0">
                <a:solidFill>
                  <a:schemeClr val="bg1"/>
                </a:solidFill>
                <a:latin typeface="Raleway" panose="020B0003030101060003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87479" y="1512428"/>
            <a:ext cx="5928604" cy="1252729"/>
            <a:chOff x="3504603" y="1530227"/>
            <a:chExt cx="5928604" cy="1252729"/>
          </a:xfrm>
        </p:grpSpPr>
        <p:sp>
          <p:nvSpPr>
            <p:cNvPr id="44" name="Freeform 43"/>
            <p:cNvSpPr/>
            <p:nvPr/>
          </p:nvSpPr>
          <p:spPr>
            <a:xfrm rot="10800000" flipH="1">
              <a:off x="3504603" y="1530227"/>
              <a:ext cx="5800262" cy="1252729"/>
            </a:xfrm>
            <a:custGeom>
              <a:avLst/>
              <a:gdLst>
                <a:gd name="connsiteX0" fmla="*/ 5800262 w 5800262"/>
                <a:gd name="connsiteY0" fmla="*/ 1898771 h 1898771"/>
                <a:gd name="connsiteX1" fmla="*/ 0 w 5800262"/>
                <a:gd name="connsiteY1" fmla="*/ 1898771 h 1898771"/>
                <a:gd name="connsiteX2" fmla="*/ 0 w 5800262"/>
                <a:gd name="connsiteY2" fmla="*/ 422396 h 1898771"/>
                <a:gd name="connsiteX3" fmla="*/ 938596 w 5800262"/>
                <a:gd name="connsiteY3" fmla="*/ 0 h 1898771"/>
                <a:gd name="connsiteX4" fmla="*/ 1943101 w 5800262"/>
                <a:gd name="connsiteY4" fmla="*/ 422396 h 1898771"/>
                <a:gd name="connsiteX5" fmla="*/ 5800262 w 5800262"/>
                <a:gd name="connsiteY5" fmla="*/ 422396 h 189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00262" h="1898771">
                  <a:moveTo>
                    <a:pt x="5800262" y="1898771"/>
                  </a:moveTo>
                  <a:lnTo>
                    <a:pt x="0" y="1898771"/>
                  </a:lnTo>
                  <a:lnTo>
                    <a:pt x="0" y="422396"/>
                  </a:lnTo>
                  <a:lnTo>
                    <a:pt x="938596" y="0"/>
                  </a:lnTo>
                  <a:lnTo>
                    <a:pt x="1943101" y="422396"/>
                  </a:lnTo>
                  <a:lnTo>
                    <a:pt x="5800262" y="422396"/>
                  </a:lnTo>
                  <a:close/>
                </a:path>
              </a:pathLst>
            </a:custGeom>
            <a:solidFill>
              <a:srgbClr val="0084CB"/>
            </a:solidFill>
            <a:ln w="508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9" name="Straight Connector 48"/>
            <p:cNvCxnSpPr/>
            <p:nvPr/>
          </p:nvCxnSpPr>
          <p:spPr>
            <a:xfrm>
              <a:off x="5427023" y="1666675"/>
              <a:ext cx="0" cy="653143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tangle 49"/>
            <p:cNvSpPr/>
            <p:nvPr/>
          </p:nvSpPr>
          <p:spPr>
            <a:xfrm>
              <a:off x="3911659" y="1930979"/>
              <a:ext cx="1258679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5778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" panose="020B0003030101060003" pitchFamily="34" charset="0"/>
                </a:rPr>
                <a:t>1-3 weeks</a:t>
              </a:r>
              <a:endParaRPr kumimoji="0" lang="en-CA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 panose="020B0003030101060003" pitchFamily="34" charset="0"/>
              </a:endParaRPr>
            </a:p>
          </p:txBody>
        </p:sp>
        <p:sp>
          <p:nvSpPr>
            <p:cNvPr id="55" name="Freeform 54"/>
            <p:cNvSpPr/>
            <p:nvPr/>
          </p:nvSpPr>
          <p:spPr>
            <a:xfrm>
              <a:off x="5483497" y="1704927"/>
              <a:ext cx="3949710" cy="648597"/>
            </a:xfrm>
            <a:custGeom>
              <a:avLst/>
              <a:gdLst>
                <a:gd name="connsiteX0" fmla="*/ 108102 w 648597"/>
                <a:gd name="connsiteY0" fmla="*/ 0 h 7302509"/>
                <a:gd name="connsiteX1" fmla="*/ 540495 w 648597"/>
                <a:gd name="connsiteY1" fmla="*/ 0 h 7302509"/>
                <a:gd name="connsiteX2" fmla="*/ 648597 w 648597"/>
                <a:gd name="connsiteY2" fmla="*/ 108102 h 7302509"/>
                <a:gd name="connsiteX3" fmla="*/ 648597 w 648597"/>
                <a:gd name="connsiteY3" fmla="*/ 7302509 h 7302509"/>
                <a:gd name="connsiteX4" fmla="*/ 648597 w 648597"/>
                <a:gd name="connsiteY4" fmla="*/ 7302509 h 7302509"/>
                <a:gd name="connsiteX5" fmla="*/ 0 w 648597"/>
                <a:gd name="connsiteY5" fmla="*/ 7302509 h 7302509"/>
                <a:gd name="connsiteX6" fmla="*/ 0 w 648597"/>
                <a:gd name="connsiteY6" fmla="*/ 7302509 h 7302509"/>
                <a:gd name="connsiteX7" fmla="*/ 0 w 648597"/>
                <a:gd name="connsiteY7" fmla="*/ 108102 h 7302509"/>
                <a:gd name="connsiteX8" fmla="*/ 108102 w 648597"/>
                <a:gd name="connsiteY8" fmla="*/ 0 h 730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8597" h="7302509">
                  <a:moveTo>
                    <a:pt x="648597" y="1217117"/>
                  </a:moveTo>
                  <a:lnTo>
                    <a:pt x="648597" y="6085392"/>
                  </a:lnTo>
                  <a:cubicBezTo>
                    <a:pt x="648597" y="6757583"/>
                    <a:pt x="644298" y="7302503"/>
                    <a:pt x="638996" y="7302503"/>
                  </a:cubicBezTo>
                  <a:lnTo>
                    <a:pt x="0" y="7302503"/>
                  </a:lnTo>
                  <a:lnTo>
                    <a:pt x="0" y="7302503"/>
                  </a:lnTo>
                  <a:lnTo>
                    <a:pt x="0" y="6"/>
                  </a:lnTo>
                  <a:lnTo>
                    <a:pt x="0" y="6"/>
                  </a:lnTo>
                  <a:lnTo>
                    <a:pt x="638996" y="6"/>
                  </a:lnTo>
                  <a:cubicBezTo>
                    <a:pt x="644298" y="6"/>
                    <a:pt x="648597" y="544926"/>
                    <a:pt x="648597" y="1217117"/>
                  </a:cubicBez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2240" tIns="44362" rIns="44362" bIns="44362" numCol="1" spcCol="1270" anchor="ctr" anchorCtr="0">
              <a:noAutofit/>
            </a:bodyPr>
            <a:lstStyle/>
            <a:p>
              <a:pPr marL="0" lvl="1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000" kern="1200" dirty="0">
                  <a:solidFill>
                    <a:schemeClr val="bg1"/>
                  </a:solidFill>
                  <a:latin typeface="Raleway" panose="020B0003030101060003" pitchFamily="34" charset="0"/>
                </a:rPr>
                <a:t>Gather existing training materials</a:t>
              </a:r>
              <a:endParaRPr lang="en-CA" sz="2000" kern="1200" dirty="0">
                <a:solidFill>
                  <a:schemeClr val="bg1"/>
                </a:solidFill>
                <a:latin typeface="Raleway" panose="020B00030301010600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1698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/>
          <p:cNvSpPr/>
          <p:nvPr/>
        </p:nvSpPr>
        <p:spPr>
          <a:xfrm>
            <a:off x="644972" y="1699877"/>
            <a:ext cx="3250432" cy="3872089"/>
          </a:xfrm>
          <a:prstGeom prst="roundRect">
            <a:avLst>
              <a:gd name="adj" fmla="val 225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26"/>
          <p:cNvSpPr/>
          <p:nvPr/>
        </p:nvSpPr>
        <p:spPr>
          <a:xfrm>
            <a:off x="8282756" y="1734968"/>
            <a:ext cx="3250432" cy="3872089"/>
          </a:xfrm>
          <a:prstGeom prst="roundRect">
            <a:avLst>
              <a:gd name="adj" fmla="val 225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91066" y="401817"/>
            <a:ext cx="8458200" cy="121920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We’ve spent the last </a:t>
            </a:r>
            <a:r>
              <a:rPr lang="en-US" sz="20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*</a:t>
            </a:r>
            <a:r>
              <a:rPr lang="en-US" sz="27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25 years building end-to-end automation solutions for leading companies</a:t>
            </a:r>
            <a:r>
              <a:rPr lang="en-US" sz="2700" dirty="0" smtClean="0">
                <a:solidFill>
                  <a:srgbClr val="00C2F3"/>
                </a:solidFill>
                <a:latin typeface="Raleway" panose="020B0003030101060003" pitchFamily="34" charset="0"/>
              </a:rPr>
              <a:t/>
            </a:r>
            <a:br>
              <a:rPr lang="en-US" sz="2700" dirty="0" smtClean="0">
                <a:solidFill>
                  <a:srgbClr val="00C2F3"/>
                </a:solidFill>
                <a:latin typeface="Raleway" panose="020B0003030101060003" pitchFamily="34" charset="0"/>
              </a:rPr>
            </a:br>
            <a:endParaRPr lang="en-US" sz="1800" b="1" dirty="0">
              <a:solidFill>
                <a:srgbClr val="00C2F3"/>
              </a:solidFill>
              <a:latin typeface="Raleway" panose="020B0003030101060003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955785" y="1912975"/>
            <a:ext cx="2628806" cy="68155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0" rIns="0" rtlCol="0" anchor="t" anchorCtr="0"/>
          <a:lstStyle/>
          <a:p>
            <a:pPr algn="ctr"/>
            <a:r>
              <a:rPr lang="en-US" sz="1400" b="1" cap="all" dirty="0">
                <a:solidFill>
                  <a:srgbClr val="0084CB"/>
                </a:solidFill>
                <a:latin typeface="Raleway" panose="020B0003030101060003" pitchFamily="34" charset="0"/>
              </a:rPr>
              <a:t>A Track Record Of Long Term Relationships With Top Companies</a:t>
            </a:r>
            <a:endParaRPr lang="en-CA" sz="1400" b="1" cap="all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4782664" y="1910264"/>
            <a:ext cx="2633472" cy="68697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 b="1" cap="all" dirty="0">
                <a:solidFill>
                  <a:srgbClr val="0084CB"/>
                </a:solidFill>
                <a:latin typeface="Raleway" panose="020B0003030101060003" pitchFamily="34" charset="0"/>
              </a:rPr>
              <a:t>Experts In Custom Automation + Business Intelligence Systems</a:t>
            </a:r>
            <a:endParaRPr lang="en-CA" sz="1400" b="1" cap="all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8608775" y="1908732"/>
            <a:ext cx="2633472" cy="68580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 b="1" cap="all" dirty="0">
                <a:solidFill>
                  <a:srgbClr val="0084CB"/>
                </a:solidFill>
                <a:latin typeface="Raleway" panose="020B0003030101060003" pitchFamily="34" charset="0"/>
              </a:rPr>
              <a:t>Toronto – Based, But With A Growing Global Footprint</a:t>
            </a:r>
            <a:endParaRPr lang="en-CA" sz="1400" b="1" cap="all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pic>
        <p:nvPicPr>
          <p:cNvPr id="10" name="Picture 4" descr="https://www3.moneris.com/mpgclassic/images/biglogo.gif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7967" y="3626644"/>
            <a:ext cx="1624442" cy="649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https://upload.wikimedia.org/wikipedia/en/thumb/2/28/CAA_logo.svg/1280px-CAA_logo.svg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3095" y="4652171"/>
            <a:ext cx="994186" cy="679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491957" y="6100788"/>
            <a:ext cx="42282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</a:rPr>
              <a:t>25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years including Korah and its predecessor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</a:rPr>
              <a:t>Netstar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</a:rPr>
              <a:t>Solutions</a:t>
            </a:r>
            <a:endParaRPr lang="en-US" sz="12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2" name="Picture 4" descr="https://upload.wikimedia.org/wikipedia/commons/thumb/9/91/Bell_logo.svg/2000px-Bell_logo.svg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16747" y="2811625"/>
            <a:ext cx="906882" cy="517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Straight Connector 28"/>
          <p:cNvCxnSpPr/>
          <p:nvPr/>
        </p:nvCxnSpPr>
        <p:spPr>
          <a:xfrm>
            <a:off x="1275644" y="3469761"/>
            <a:ext cx="18976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1275644" y="4463183"/>
            <a:ext cx="18976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4"/>
          <p:cNvGrpSpPr>
            <a:grpSpLocks noChangeAspect="1"/>
          </p:cNvGrpSpPr>
          <p:nvPr/>
        </p:nvGrpSpPr>
        <p:grpSpPr bwMode="auto">
          <a:xfrm>
            <a:off x="5391466" y="3453202"/>
            <a:ext cx="1371600" cy="1371600"/>
            <a:chOff x="1857" y="177"/>
            <a:chExt cx="3966" cy="3966"/>
          </a:xfrm>
          <a:gradFill flip="none" rotWithShape="1"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  <a:tileRect/>
          </a:gradFill>
        </p:grpSpPr>
        <p:sp>
          <p:nvSpPr>
            <p:cNvPr id="35" name="Freeform 6"/>
            <p:cNvSpPr>
              <a:spLocks noEditPoints="1"/>
            </p:cNvSpPr>
            <p:nvPr/>
          </p:nvSpPr>
          <p:spPr bwMode="auto">
            <a:xfrm>
              <a:off x="1921" y="2863"/>
              <a:ext cx="639" cy="1280"/>
            </a:xfrm>
            <a:custGeom>
              <a:avLst/>
              <a:gdLst>
                <a:gd name="T0" fmla="*/ 192 w 639"/>
                <a:gd name="T1" fmla="*/ 1024 h 1280"/>
                <a:gd name="T2" fmla="*/ 172 w 639"/>
                <a:gd name="T3" fmla="*/ 1028 h 1280"/>
                <a:gd name="T4" fmla="*/ 154 w 639"/>
                <a:gd name="T5" fmla="*/ 1036 h 1280"/>
                <a:gd name="T6" fmla="*/ 140 w 639"/>
                <a:gd name="T7" fmla="*/ 1050 h 1280"/>
                <a:gd name="T8" fmla="*/ 131 w 639"/>
                <a:gd name="T9" fmla="*/ 1068 h 1280"/>
                <a:gd name="T10" fmla="*/ 128 w 639"/>
                <a:gd name="T11" fmla="*/ 1088 h 1280"/>
                <a:gd name="T12" fmla="*/ 131 w 639"/>
                <a:gd name="T13" fmla="*/ 1108 h 1280"/>
                <a:gd name="T14" fmla="*/ 140 w 639"/>
                <a:gd name="T15" fmla="*/ 1126 h 1280"/>
                <a:gd name="T16" fmla="*/ 154 w 639"/>
                <a:gd name="T17" fmla="*/ 1139 h 1280"/>
                <a:gd name="T18" fmla="*/ 172 w 639"/>
                <a:gd name="T19" fmla="*/ 1149 h 1280"/>
                <a:gd name="T20" fmla="*/ 192 w 639"/>
                <a:gd name="T21" fmla="*/ 1153 h 1280"/>
                <a:gd name="T22" fmla="*/ 212 w 639"/>
                <a:gd name="T23" fmla="*/ 1149 h 1280"/>
                <a:gd name="T24" fmla="*/ 229 w 639"/>
                <a:gd name="T25" fmla="*/ 1139 h 1280"/>
                <a:gd name="T26" fmla="*/ 244 w 639"/>
                <a:gd name="T27" fmla="*/ 1126 h 1280"/>
                <a:gd name="T28" fmla="*/ 252 w 639"/>
                <a:gd name="T29" fmla="*/ 1108 h 1280"/>
                <a:gd name="T30" fmla="*/ 256 w 639"/>
                <a:gd name="T31" fmla="*/ 1088 h 1280"/>
                <a:gd name="T32" fmla="*/ 252 w 639"/>
                <a:gd name="T33" fmla="*/ 1068 h 1280"/>
                <a:gd name="T34" fmla="*/ 244 w 639"/>
                <a:gd name="T35" fmla="*/ 1050 h 1280"/>
                <a:gd name="T36" fmla="*/ 229 w 639"/>
                <a:gd name="T37" fmla="*/ 1036 h 1280"/>
                <a:gd name="T38" fmla="*/ 212 w 639"/>
                <a:gd name="T39" fmla="*/ 1028 h 1280"/>
                <a:gd name="T40" fmla="*/ 192 w 639"/>
                <a:gd name="T41" fmla="*/ 1024 h 1280"/>
                <a:gd name="T42" fmla="*/ 364 w 639"/>
                <a:gd name="T43" fmla="*/ 0 h 1280"/>
                <a:gd name="T44" fmla="*/ 639 w 639"/>
                <a:gd name="T45" fmla="*/ 0 h 1280"/>
                <a:gd name="T46" fmla="*/ 639 w 639"/>
                <a:gd name="T47" fmla="*/ 129 h 1280"/>
                <a:gd name="T48" fmla="*/ 404 w 639"/>
                <a:gd name="T49" fmla="*/ 129 h 1280"/>
                <a:gd name="T50" fmla="*/ 256 w 639"/>
                <a:gd name="T51" fmla="*/ 227 h 1280"/>
                <a:gd name="T52" fmla="*/ 256 w 639"/>
                <a:gd name="T53" fmla="*/ 907 h 1280"/>
                <a:gd name="T54" fmla="*/ 286 w 639"/>
                <a:gd name="T55" fmla="*/ 922 h 1280"/>
                <a:gd name="T56" fmla="*/ 313 w 639"/>
                <a:gd name="T57" fmla="*/ 941 h 1280"/>
                <a:gd name="T58" fmla="*/ 337 w 639"/>
                <a:gd name="T59" fmla="*/ 964 h 1280"/>
                <a:gd name="T60" fmla="*/ 357 w 639"/>
                <a:gd name="T61" fmla="*/ 990 h 1280"/>
                <a:gd name="T62" fmla="*/ 371 w 639"/>
                <a:gd name="T63" fmla="*/ 1020 h 1280"/>
                <a:gd name="T64" fmla="*/ 381 w 639"/>
                <a:gd name="T65" fmla="*/ 1053 h 1280"/>
                <a:gd name="T66" fmla="*/ 384 w 639"/>
                <a:gd name="T67" fmla="*/ 1088 h 1280"/>
                <a:gd name="T68" fmla="*/ 381 w 639"/>
                <a:gd name="T69" fmla="*/ 1123 h 1280"/>
                <a:gd name="T70" fmla="*/ 372 w 639"/>
                <a:gd name="T71" fmla="*/ 1155 h 1280"/>
                <a:gd name="T72" fmla="*/ 358 w 639"/>
                <a:gd name="T73" fmla="*/ 1185 h 1280"/>
                <a:gd name="T74" fmla="*/ 339 w 639"/>
                <a:gd name="T75" fmla="*/ 1211 h 1280"/>
                <a:gd name="T76" fmla="*/ 316 w 639"/>
                <a:gd name="T77" fmla="*/ 1234 h 1280"/>
                <a:gd name="T78" fmla="*/ 288 w 639"/>
                <a:gd name="T79" fmla="*/ 1254 h 1280"/>
                <a:gd name="T80" fmla="*/ 259 w 639"/>
                <a:gd name="T81" fmla="*/ 1268 h 1280"/>
                <a:gd name="T82" fmla="*/ 227 w 639"/>
                <a:gd name="T83" fmla="*/ 1276 h 1280"/>
                <a:gd name="T84" fmla="*/ 192 w 639"/>
                <a:gd name="T85" fmla="*/ 1280 h 1280"/>
                <a:gd name="T86" fmla="*/ 157 w 639"/>
                <a:gd name="T87" fmla="*/ 1276 h 1280"/>
                <a:gd name="T88" fmla="*/ 125 w 639"/>
                <a:gd name="T89" fmla="*/ 1268 h 1280"/>
                <a:gd name="T90" fmla="*/ 95 w 639"/>
                <a:gd name="T91" fmla="*/ 1254 h 1280"/>
                <a:gd name="T92" fmla="*/ 68 w 639"/>
                <a:gd name="T93" fmla="*/ 1234 h 1280"/>
                <a:gd name="T94" fmla="*/ 45 w 639"/>
                <a:gd name="T95" fmla="*/ 1211 h 1280"/>
                <a:gd name="T96" fmla="*/ 26 w 639"/>
                <a:gd name="T97" fmla="*/ 1185 h 1280"/>
                <a:gd name="T98" fmla="*/ 12 w 639"/>
                <a:gd name="T99" fmla="*/ 1155 h 1280"/>
                <a:gd name="T100" fmla="*/ 3 w 639"/>
                <a:gd name="T101" fmla="*/ 1123 h 1280"/>
                <a:gd name="T102" fmla="*/ 0 w 639"/>
                <a:gd name="T103" fmla="*/ 1088 h 1280"/>
                <a:gd name="T104" fmla="*/ 3 w 639"/>
                <a:gd name="T105" fmla="*/ 1053 h 1280"/>
                <a:gd name="T106" fmla="*/ 13 w 639"/>
                <a:gd name="T107" fmla="*/ 1020 h 1280"/>
                <a:gd name="T108" fmla="*/ 27 w 639"/>
                <a:gd name="T109" fmla="*/ 990 h 1280"/>
                <a:gd name="T110" fmla="*/ 47 w 639"/>
                <a:gd name="T111" fmla="*/ 964 h 1280"/>
                <a:gd name="T112" fmla="*/ 71 w 639"/>
                <a:gd name="T113" fmla="*/ 941 h 1280"/>
                <a:gd name="T114" fmla="*/ 97 w 639"/>
                <a:gd name="T115" fmla="*/ 922 h 1280"/>
                <a:gd name="T116" fmla="*/ 128 w 639"/>
                <a:gd name="T117" fmla="*/ 907 h 1280"/>
                <a:gd name="T118" fmla="*/ 128 w 639"/>
                <a:gd name="T119" fmla="*/ 159 h 1280"/>
                <a:gd name="T120" fmla="*/ 364 w 639"/>
                <a:gd name="T121" fmla="*/ 0 h 1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39" h="1280">
                  <a:moveTo>
                    <a:pt x="192" y="1024"/>
                  </a:moveTo>
                  <a:lnTo>
                    <a:pt x="172" y="1028"/>
                  </a:lnTo>
                  <a:lnTo>
                    <a:pt x="154" y="1036"/>
                  </a:lnTo>
                  <a:lnTo>
                    <a:pt x="140" y="1050"/>
                  </a:lnTo>
                  <a:lnTo>
                    <a:pt x="131" y="1068"/>
                  </a:lnTo>
                  <a:lnTo>
                    <a:pt x="128" y="1088"/>
                  </a:lnTo>
                  <a:lnTo>
                    <a:pt x="131" y="1108"/>
                  </a:lnTo>
                  <a:lnTo>
                    <a:pt x="140" y="1126"/>
                  </a:lnTo>
                  <a:lnTo>
                    <a:pt x="154" y="1139"/>
                  </a:lnTo>
                  <a:lnTo>
                    <a:pt x="172" y="1149"/>
                  </a:lnTo>
                  <a:lnTo>
                    <a:pt x="192" y="1153"/>
                  </a:lnTo>
                  <a:lnTo>
                    <a:pt x="212" y="1149"/>
                  </a:lnTo>
                  <a:lnTo>
                    <a:pt x="229" y="1139"/>
                  </a:lnTo>
                  <a:lnTo>
                    <a:pt x="244" y="1126"/>
                  </a:lnTo>
                  <a:lnTo>
                    <a:pt x="252" y="1108"/>
                  </a:lnTo>
                  <a:lnTo>
                    <a:pt x="256" y="1088"/>
                  </a:lnTo>
                  <a:lnTo>
                    <a:pt x="252" y="1068"/>
                  </a:lnTo>
                  <a:lnTo>
                    <a:pt x="244" y="1050"/>
                  </a:lnTo>
                  <a:lnTo>
                    <a:pt x="229" y="1036"/>
                  </a:lnTo>
                  <a:lnTo>
                    <a:pt x="212" y="1028"/>
                  </a:lnTo>
                  <a:lnTo>
                    <a:pt x="192" y="1024"/>
                  </a:lnTo>
                  <a:close/>
                  <a:moveTo>
                    <a:pt x="364" y="0"/>
                  </a:moveTo>
                  <a:lnTo>
                    <a:pt x="639" y="0"/>
                  </a:lnTo>
                  <a:lnTo>
                    <a:pt x="639" y="129"/>
                  </a:lnTo>
                  <a:lnTo>
                    <a:pt x="404" y="129"/>
                  </a:lnTo>
                  <a:lnTo>
                    <a:pt x="256" y="227"/>
                  </a:lnTo>
                  <a:lnTo>
                    <a:pt x="256" y="907"/>
                  </a:lnTo>
                  <a:lnTo>
                    <a:pt x="286" y="922"/>
                  </a:lnTo>
                  <a:lnTo>
                    <a:pt x="313" y="941"/>
                  </a:lnTo>
                  <a:lnTo>
                    <a:pt x="337" y="964"/>
                  </a:lnTo>
                  <a:lnTo>
                    <a:pt x="357" y="990"/>
                  </a:lnTo>
                  <a:lnTo>
                    <a:pt x="371" y="1020"/>
                  </a:lnTo>
                  <a:lnTo>
                    <a:pt x="381" y="1053"/>
                  </a:lnTo>
                  <a:lnTo>
                    <a:pt x="384" y="1088"/>
                  </a:lnTo>
                  <a:lnTo>
                    <a:pt x="381" y="1123"/>
                  </a:lnTo>
                  <a:lnTo>
                    <a:pt x="372" y="1155"/>
                  </a:lnTo>
                  <a:lnTo>
                    <a:pt x="358" y="1185"/>
                  </a:lnTo>
                  <a:lnTo>
                    <a:pt x="339" y="1211"/>
                  </a:lnTo>
                  <a:lnTo>
                    <a:pt x="316" y="1234"/>
                  </a:lnTo>
                  <a:lnTo>
                    <a:pt x="288" y="1254"/>
                  </a:lnTo>
                  <a:lnTo>
                    <a:pt x="259" y="1268"/>
                  </a:lnTo>
                  <a:lnTo>
                    <a:pt x="227" y="1276"/>
                  </a:lnTo>
                  <a:lnTo>
                    <a:pt x="192" y="1280"/>
                  </a:lnTo>
                  <a:lnTo>
                    <a:pt x="157" y="1276"/>
                  </a:lnTo>
                  <a:lnTo>
                    <a:pt x="125" y="1268"/>
                  </a:lnTo>
                  <a:lnTo>
                    <a:pt x="95" y="1254"/>
                  </a:lnTo>
                  <a:lnTo>
                    <a:pt x="68" y="1234"/>
                  </a:lnTo>
                  <a:lnTo>
                    <a:pt x="45" y="1211"/>
                  </a:lnTo>
                  <a:lnTo>
                    <a:pt x="26" y="1185"/>
                  </a:lnTo>
                  <a:lnTo>
                    <a:pt x="12" y="1155"/>
                  </a:lnTo>
                  <a:lnTo>
                    <a:pt x="3" y="1123"/>
                  </a:lnTo>
                  <a:lnTo>
                    <a:pt x="0" y="1088"/>
                  </a:lnTo>
                  <a:lnTo>
                    <a:pt x="3" y="1053"/>
                  </a:lnTo>
                  <a:lnTo>
                    <a:pt x="13" y="1020"/>
                  </a:lnTo>
                  <a:lnTo>
                    <a:pt x="27" y="990"/>
                  </a:lnTo>
                  <a:lnTo>
                    <a:pt x="47" y="964"/>
                  </a:lnTo>
                  <a:lnTo>
                    <a:pt x="71" y="941"/>
                  </a:lnTo>
                  <a:lnTo>
                    <a:pt x="97" y="922"/>
                  </a:lnTo>
                  <a:lnTo>
                    <a:pt x="128" y="907"/>
                  </a:lnTo>
                  <a:lnTo>
                    <a:pt x="128" y="159"/>
                  </a:lnTo>
                  <a:lnTo>
                    <a:pt x="3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 noEditPoints="1"/>
            </p:cNvSpPr>
            <p:nvPr/>
          </p:nvSpPr>
          <p:spPr bwMode="auto">
            <a:xfrm>
              <a:off x="1857" y="2480"/>
              <a:ext cx="703" cy="383"/>
            </a:xfrm>
            <a:custGeom>
              <a:avLst/>
              <a:gdLst>
                <a:gd name="T0" fmla="*/ 192 w 703"/>
                <a:gd name="T1" fmla="*/ 128 h 383"/>
                <a:gd name="T2" fmla="*/ 172 w 703"/>
                <a:gd name="T3" fmla="*/ 131 h 383"/>
                <a:gd name="T4" fmla="*/ 154 w 703"/>
                <a:gd name="T5" fmla="*/ 140 h 383"/>
                <a:gd name="T6" fmla="*/ 141 w 703"/>
                <a:gd name="T7" fmla="*/ 154 h 383"/>
                <a:gd name="T8" fmla="*/ 131 w 703"/>
                <a:gd name="T9" fmla="*/ 172 h 383"/>
                <a:gd name="T10" fmla="*/ 127 w 703"/>
                <a:gd name="T11" fmla="*/ 192 h 383"/>
                <a:gd name="T12" fmla="*/ 131 w 703"/>
                <a:gd name="T13" fmla="*/ 212 h 383"/>
                <a:gd name="T14" fmla="*/ 141 w 703"/>
                <a:gd name="T15" fmla="*/ 229 h 383"/>
                <a:gd name="T16" fmla="*/ 154 w 703"/>
                <a:gd name="T17" fmla="*/ 244 h 383"/>
                <a:gd name="T18" fmla="*/ 172 w 703"/>
                <a:gd name="T19" fmla="*/ 252 h 383"/>
                <a:gd name="T20" fmla="*/ 192 w 703"/>
                <a:gd name="T21" fmla="*/ 256 h 383"/>
                <a:gd name="T22" fmla="*/ 212 w 703"/>
                <a:gd name="T23" fmla="*/ 252 h 383"/>
                <a:gd name="T24" fmla="*/ 230 w 703"/>
                <a:gd name="T25" fmla="*/ 244 h 383"/>
                <a:gd name="T26" fmla="*/ 244 w 703"/>
                <a:gd name="T27" fmla="*/ 229 h 383"/>
                <a:gd name="T28" fmla="*/ 252 w 703"/>
                <a:gd name="T29" fmla="*/ 212 h 383"/>
                <a:gd name="T30" fmla="*/ 256 w 703"/>
                <a:gd name="T31" fmla="*/ 192 h 383"/>
                <a:gd name="T32" fmla="*/ 252 w 703"/>
                <a:gd name="T33" fmla="*/ 172 h 383"/>
                <a:gd name="T34" fmla="*/ 244 w 703"/>
                <a:gd name="T35" fmla="*/ 154 h 383"/>
                <a:gd name="T36" fmla="*/ 230 w 703"/>
                <a:gd name="T37" fmla="*/ 140 h 383"/>
                <a:gd name="T38" fmla="*/ 212 w 703"/>
                <a:gd name="T39" fmla="*/ 131 h 383"/>
                <a:gd name="T40" fmla="*/ 192 w 703"/>
                <a:gd name="T41" fmla="*/ 128 h 383"/>
                <a:gd name="T42" fmla="*/ 192 w 703"/>
                <a:gd name="T43" fmla="*/ 0 h 383"/>
                <a:gd name="T44" fmla="*/ 227 w 703"/>
                <a:gd name="T45" fmla="*/ 3 h 383"/>
                <a:gd name="T46" fmla="*/ 260 w 703"/>
                <a:gd name="T47" fmla="*/ 12 h 383"/>
                <a:gd name="T48" fmla="*/ 290 w 703"/>
                <a:gd name="T49" fmla="*/ 27 h 383"/>
                <a:gd name="T50" fmla="*/ 316 w 703"/>
                <a:gd name="T51" fmla="*/ 47 h 383"/>
                <a:gd name="T52" fmla="*/ 339 w 703"/>
                <a:gd name="T53" fmla="*/ 69 h 383"/>
                <a:gd name="T54" fmla="*/ 358 w 703"/>
                <a:gd name="T55" fmla="*/ 97 h 383"/>
                <a:gd name="T56" fmla="*/ 373 w 703"/>
                <a:gd name="T57" fmla="*/ 128 h 383"/>
                <a:gd name="T58" fmla="*/ 703 w 703"/>
                <a:gd name="T59" fmla="*/ 128 h 383"/>
                <a:gd name="T60" fmla="*/ 703 w 703"/>
                <a:gd name="T61" fmla="*/ 256 h 383"/>
                <a:gd name="T62" fmla="*/ 373 w 703"/>
                <a:gd name="T63" fmla="*/ 256 h 383"/>
                <a:gd name="T64" fmla="*/ 358 w 703"/>
                <a:gd name="T65" fmla="*/ 286 h 383"/>
                <a:gd name="T66" fmla="*/ 339 w 703"/>
                <a:gd name="T67" fmla="*/ 313 h 383"/>
                <a:gd name="T68" fmla="*/ 316 w 703"/>
                <a:gd name="T69" fmla="*/ 337 h 383"/>
                <a:gd name="T70" fmla="*/ 290 w 703"/>
                <a:gd name="T71" fmla="*/ 357 h 383"/>
                <a:gd name="T72" fmla="*/ 260 w 703"/>
                <a:gd name="T73" fmla="*/ 371 h 383"/>
                <a:gd name="T74" fmla="*/ 227 w 703"/>
                <a:gd name="T75" fmla="*/ 381 h 383"/>
                <a:gd name="T76" fmla="*/ 192 w 703"/>
                <a:gd name="T77" fmla="*/ 383 h 383"/>
                <a:gd name="T78" fmla="*/ 157 w 703"/>
                <a:gd name="T79" fmla="*/ 381 h 383"/>
                <a:gd name="T80" fmla="*/ 125 w 703"/>
                <a:gd name="T81" fmla="*/ 371 h 383"/>
                <a:gd name="T82" fmla="*/ 95 w 703"/>
                <a:gd name="T83" fmla="*/ 358 h 383"/>
                <a:gd name="T84" fmla="*/ 69 w 703"/>
                <a:gd name="T85" fmla="*/ 339 h 383"/>
                <a:gd name="T86" fmla="*/ 46 w 703"/>
                <a:gd name="T87" fmla="*/ 316 h 383"/>
                <a:gd name="T88" fmla="*/ 26 w 703"/>
                <a:gd name="T89" fmla="*/ 288 h 383"/>
                <a:gd name="T90" fmla="*/ 12 w 703"/>
                <a:gd name="T91" fmla="*/ 258 h 383"/>
                <a:gd name="T92" fmla="*/ 4 w 703"/>
                <a:gd name="T93" fmla="*/ 226 h 383"/>
                <a:gd name="T94" fmla="*/ 0 w 703"/>
                <a:gd name="T95" fmla="*/ 192 h 383"/>
                <a:gd name="T96" fmla="*/ 4 w 703"/>
                <a:gd name="T97" fmla="*/ 157 h 383"/>
                <a:gd name="T98" fmla="*/ 12 w 703"/>
                <a:gd name="T99" fmla="*/ 125 h 383"/>
                <a:gd name="T100" fmla="*/ 26 w 703"/>
                <a:gd name="T101" fmla="*/ 95 h 383"/>
                <a:gd name="T102" fmla="*/ 46 w 703"/>
                <a:gd name="T103" fmla="*/ 68 h 383"/>
                <a:gd name="T104" fmla="*/ 69 w 703"/>
                <a:gd name="T105" fmla="*/ 45 h 383"/>
                <a:gd name="T106" fmla="*/ 95 w 703"/>
                <a:gd name="T107" fmla="*/ 26 h 383"/>
                <a:gd name="T108" fmla="*/ 125 w 703"/>
                <a:gd name="T109" fmla="*/ 12 h 383"/>
                <a:gd name="T110" fmla="*/ 157 w 703"/>
                <a:gd name="T111" fmla="*/ 3 h 383"/>
                <a:gd name="T112" fmla="*/ 192 w 703"/>
                <a:gd name="T1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3" h="383">
                  <a:moveTo>
                    <a:pt x="192" y="128"/>
                  </a:moveTo>
                  <a:lnTo>
                    <a:pt x="172" y="131"/>
                  </a:lnTo>
                  <a:lnTo>
                    <a:pt x="154" y="140"/>
                  </a:lnTo>
                  <a:lnTo>
                    <a:pt x="141" y="154"/>
                  </a:lnTo>
                  <a:lnTo>
                    <a:pt x="131" y="172"/>
                  </a:lnTo>
                  <a:lnTo>
                    <a:pt x="127" y="192"/>
                  </a:lnTo>
                  <a:lnTo>
                    <a:pt x="131" y="212"/>
                  </a:lnTo>
                  <a:lnTo>
                    <a:pt x="141" y="229"/>
                  </a:lnTo>
                  <a:lnTo>
                    <a:pt x="154" y="244"/>
                  </a:lnTo>
                  <a:lnTo>
                    <a:pt x="172" y="252"/>
                  </a:lnTo>
                  <a:lnTo>
                    <a:pt x="192" y="256"/>
                  </a:lnTo>
                  <a:lnTo>
                    <a:pt x="212" y="252"/>
                  </a:lnTo>
                  <a:lnTo>
                    <a:pt x="230" y="244"/>
                  </a:lnTo>
                  <a:lnTo>
                    <a:pt x="244" y="229"/>
                  </a:lnTo>
                  <a:lnTo>
                    <a:pt x="252" y="212"/>
                  </a:lnTo>
                  <a:lnTo>
                    <a:pt x="256" y="192"/>
                  </a:lnTo>
                  <a:lnTo>
                    <a:pt x="252" y="172"/>
                  </a:lnTo>
                  <a:lnTo>
                    <a:pt x="244" y="154"/>
                  </a:lnTo>
                  <a:lnTo>
                    <a:pt x="230" y="140"/>
                  </a:lnTo>
                  <a:lnTo>
                    <a:pt x="212" y="131"/>
                  </a:lnTo>
                  <a:lnTo>
                    <a:pt x="192" y="128"/>
                  </a:lnTo>
                  <a:close/>
                  <a:moveTo>
                    <a:pt x="192" y="0"/>
                  </a:moveTo>
                  <a:lnTo>
                    <a:pt x="227" y="3"/>
                  </a:lnTo>
                  <a:lnTo>
                    <a:pt x="260" y="12"/>
                  </a:lnTo>
                  <a:lnTo>
                    <a:pt x="290" y="27"/>
                  </a:lnTo>
                  <a:lnTo>
                    <a:pt x="316" y="47"/>
                  </a:lnTo>
                  <a:lnTo>
                    <a:pt x="339" y="69"/>
                  </a:lnTo>
                  <a:lnTo>
                    <a:pt x="358" y="97"/>
                  </a:lnTo>
                  <a:lnTo>
                    <a:pt x="373" y="128"/>
                  </a:lnTo>
                  <a:lnTo>
                    <a:pt x="703" y="128"/>
                  </a:lnTo>
                  <a:lnTo>
                    <a:pt x="703" y="256"/>
                  </a:lnTo>
                  <a:lnTo>
                    <a:pt x="373" y="256"/>
                  </a:lnTo>
                  <a:lnTo>
                    <a:pt x="358" y="286"/>
                  </a:lnTo>
                  <a:lnTo>
                    <a:pt x="339" y="313"/>
                  </a:lnTo>
                  <a:lnTo>
                    <a:pt x="316" y="337"/>
                  </a:lnTo>
                  <a:lnTo>
                    <a:pt x="290" y="357"/>
                  </a:lnTo>
                  <a:lnTo>
                    <a:pt x="260" y="371"/>
                  </a:lnTo>
                  <a:lnTo>
                    <a:pt x="227" y="381"/>
                  </a:lnTo>
                  <a:lnTo>
                    <a:pt x="192" y="383"/>
                  </a:lnTo>
                  <a:lnTo>
                    <a:pt x="157" y="381"/>
                  </a:lnTo>
                  <a:lnTo>
                    <a:pt x="125" y="371"/>
                  </a:lnTo>
                  <a:lnTo>
                    <a:pt x="95" y="358"/>
                  </a:lnTo>
                  <a:lnTo>
                    <a:pt x="69" y="339"/>
                  </a:lnTo>
                  <a:lnTo>
                    <a:pt x="46" y="316"/>
                  </a:lnTo>
                  <a:lnTo>
                    <a:pt x="26" y="288"/>
                  </a:lnTo>
                  <a:lnTo>
                    <a:pt x="12" y="258"/>
                  </a:lnTo>
                  <a:lnTo>
                    <a:pt x="4" y="226"/>
                  </a:lnTo>
                  <a:lnTo>
                    <a:pt x="0" y="192"/>
                  </a:lnTo>
                  <a:lnTo>
                    <a:pt x="4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6" y="68"/>
                  </a:lnTo>
                  <a:lnTo>
                    <a:pt x="69" y="45"/>
                  </a:lnTo>
                  <a:lnTo>
                    <a:pt x="95" y="26"/>
                  </a:lnTo>
                  <a:lnTo>
                    <a:pt x="125" y="12"/>
                  </a:lnTo>
                  <a:lnTo>
                    <a:pt x="157" y="3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8"/>
            <p:cNvSpPr>
              <a:spLocks noEditPoints="1"/>
            </p:cNvSpPr>
            <p:nvPr/>
          </p:nvSpPr>
          <p:spPr bwMode="auto">
            <a:xfrm>
              <a:off x="1857" y="1968"/>
              <a:ext cx="703" cy="384"/>
            </a:xfrm>
            <a:custGeom>
              <a:avLst/>
              <a:gdLst>
                <a:gd name="T0" fmla="*/ 192 w 703"/>
                <a:gd name="T1" fmla="*/ 128 h 384"/>
                <a:gd name="T2" fmla="*/ 172 w 703"/>
                <a:gd name="T3" fmla="*/ 131 h 384"/>
                <a:gd name="T4" fmla="*/ 154 w 703"/>
                <a:gd name="T5" fmla="*/ 140 h 384"/>
                <a:gd name="T6" fmla="*/ 141 w 703"/>
                <a:gd name="T7" fmla="*/ 155 h 384"/>
                <a:gd name="T8" fmla="*/ 131 w 703"/>
                <a:gd name="T9" fmla="*/ 172 h 384"/>
                <a:gd name="T10" fmla="*/ 127 w 703"/>
                <a:gd name="T11" fmla="*/ 192 h 384"/>
                <a:gd name="T12" fmla="*/ 131 w 703"/>
                <a:gd name="T13" fmla="*/ 212 h 384"/>
                <a:gd name="T14" fmla="*/ 141 w 703"/>
                <a:gd name="T15" fmla="*/ 229 h 384"/>
                <a:gd name="T16" fmla="*/ 154 w 703"/>
                <a:gd name="T17" fmla="*/ 244 h 384"/>
                <a:gd name="T18" fmla="*/ 172 w 703"/>
                <a:gd name="T19" fmla="*/ 253 h 384"/>
                <a:gd name="T20" fmla="*/ 192 w 703"/>
                <a:gd name="T21" fmla="*/ 256 h 384"/>
                <a:gd name="T22" fmla="*/ 212 w 703"/>
                <a:gd name="T23" fmla="*/ 253 h 384"/>
                <a:gd name="T24" fmla="*/ 230 w 703"/>
                <a:gd name="T25" fmla="*/ 244 h 384"/>
                <a:gd name="T26" fmla="*/ 244 w 703"/>
                <a:gd name="T27" fmla="*/ 229 h 384"/>
                <a:gd name="T28" fmla="*/ 252 w 703"/>
                <a:gd name="T29" fmla="*/ 212 h 384"/>
                <a:gd name="T30" fmla="*/ 256 w 703"/>
                <a:gd name="T31" fmla="*/ 192 h 384"/>
                <a:gd name="T32" fmla="*/ 252 w 703"/>
                <a:gd name="T33" fmla="*/ 172 h 384"/>
                <a:gd name="T34" fmla="*/ 244 w 703"/>
                <a:gd name="T35" fmla="*/ 155 h 384"/>
                <a:gd name="T36" fmla="*/ 230 w 703"/>
                <a:gd name="T37" fmla="*/ 140 h 384"/>
                <a:gd name="T38" fmla="*/ 212 w 703"/>
                <a:gd name="T39" fmla="*/ 131 h 384"/>
                <a:gd name="T40" fmla="*/ 192 w 703"/>
                <a:gd name="T41" fmla="*/ 128 h 384"/>
                <a:gd name="T42" fmla="*/ 192 w 703"/>
                <a:gd name="T43" fmla="*/ 0 h 384"/>
                <a:gd name="T44" fmla="*/ 227 w 703"/>
                <a:gd name="T45" fmla="*/ 3 h 384"/>
                <a:gd name="T46" fmla="*/ 260 w 703"/>
                <a:gd name="T47" fmla="*/ 13 h 384"/>
                <a:gd name="T48" fmla="*/ 290 w 703"/>
                <a:gd name="T49" fmla="*/ 27 h 384"/>
                <a:gd name="T50" fmla="*/ 316 w 703"/>
                <a:gd name="T51" fmla="*/ 47 h 384"/>
                <a:gd name="T52" fmla="*/ 339 w 703"/>
                <a:gd name="T53" fmla="*/ 71 h 384"/>
                <a:gd name="T54" fmla="*/ 358 w 703"/>
                <a:gd name="T55" fmla="*/ 97 h 384"/>
                <a:gd name="T56" fmla="*/ 373 w 703"/>
                <a:gd name="T57" fmla="*/ 128 h 384"/>
                <a:gd name="T58" fmla="*/ 703 w 703"/>
                <a:gd name="T59" fmla="*/ 128 h 384"/>
                <a:gd name="T60" fmla="*/ 703 w 703"/>
                <a:gd name="T61" fmla="*/ 256 h 384"/>
                <a:gd name="T62" fmla="*/ 373 w 703"/>
                <a:gd name="T63" fmla="*/ 256 h 384"/>
                <a:gd name="T64" fmla="*/ 358 w 703"/>
                <a:gd name="T65" fmla="*/ 287 h 384"/>
                <a:gd name="T66" fmla="*/ 339 w 703"/>
                <a:gd name="T67" fmla="*/ 313 h 384"/>
                <a:gd name="T68" fmla="*/ 316 w 703"/>
                <a:gd name="T69" fmla="*/ 337 h 384"/>
                <a:gd name="T70" fmla="*/ 290 w 703"/>
                <a:gd name="T71" fmla="*/ 357 h 384"/>
                <a:gd name="T72" fmla="*/ 260 w 703"/>
                <a:gd name="T73" fmla="*/ 371 h 384"/>
                <a:gd name="T74" fmla="*/ 227 w 703"/>
                <a:gd name="T75" fmla="*/ 381 h 384"/>
                <a:gd name="T76" fmla="*/ 192 w 703"/>
                <a:gd name="T77" fmla="*/ 384 h 384"/>
                <a:gd name="T78" fmla="*/ 157 w 703"/>
                <a:gd name="T79" fmla="*/ 381 h 384"/>
                <a:gd name="T80" fmla="*/ 125 w 703"/>
                <a:gd name="T81" fmla="*/ 372 h 384"/>
                <a:gd name="T82" fmla="*/ 95 w 703"/>
                <a:gd name="T83" fmla="*/ 358 h 384"/>
                <a:gd name="T84" fmla="*/ 69 w 703"/>
                <a:gd name="T85" fmla="*/ 339 h 384"/>
                <a:gd name="T86" fmla="*/ 46 w 703"/>
                <a:gd name="T87" fmla="*/ 316 h 384"/>
                <a:gd name="T88" fmla="*/ 26 w 703"/>
                <a:gd name="T89" fmla="*/ 289 h 384"/>
                <a:gd name="T90" fmla="*/ 12 w 703"/>
                <a:gd name="T91" fmla="*/ 259 h 384"/>
                <a:gd name="T92" fmla="*/ 4 w 703"/>
                <a:gd name="T93" fmla="*/ 227 h 384"/>
                <a:gd name="T94" fmla="*/ 0 w 703"/>
                <a:gd name="T95" fmla="*/ 192 h 384"/>
                <a:gd name="T96" fmla="*/ 4 w 703"/>
                <a:gd name="T97" fmla="*/ 157 h 384"/>
                <a:gd name="T98" fmla="*/ 12 w 703"/>
                <a:gd name="T99" fmla="*/ 125 h 384"/>
                <a:gd name="T100" fmla="*/ 26 w 703"/>
                <a:gd name="T101" fmla="*/ 95 h 384"/>
                <a:gd name="T102" fmla="*/ 46 w 703"/>
                <a:gd name="T103" fmla="*/ 68 h 384"/>
                <a:gd name="T104" fmla="*/ 69 w 703"/>
                <a:gd name="T105" fmla="*/ 45 h 384"/>
                <a:gd name="T106" fmla="*/ 95 w 703"/>
                <a:gd name="T107" fmla="*/ 26 h 384"/>
                <a:gd name="T108" fmla="*/ 125 w 703"/>
                <a:gd name="T109" fmla="*/ 12 h 384"/>
                <a:gd name="T110" fmla="*/ 157 w 703"/>
                <a:gd name="T111" fmla="*/ 3 h 384"/>
                <a:gd name="T112" fmla="*/ 192 w 703"/>
                <a:gd name="T113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3" h="384">
                  <a:moveTo>
                    <a:pt x="192" y="128"/>
                  </a:moveTo>
                  <a:lnTo>
                    <a:pt x="172" y="131"/>
                  </a:lnTo>
                  <a:lnTo>
                    <a:pt x="154" y="140"/>
                  </a:lnTo>
                  <a:lnTo>
                    <a:pt x="141" y="155"/>
                  </a:lnTo>
                  <a:lnTo>
                    <a:pt x="131" y="172"/>
                  </a:lnTo>
                  <a:lnTo>
                    <a:pt x="127" y="192"/>
                  </a:lnTo>
                  <a:lnTo>
                    <a:pt x="131" y="212"/>
                  </a:lnTo>
                  <a:lnTo>
                    <a:pt x="141" y="229"/>
                  </a:lnTo>
                  <a:lnTo>
                    <a:pt x="154" y="244"/>
                  </a:lnTo>
                  <a:lnTo>
                    <a:pt x="172" y="253"/>
                  </a:lnTo>
                  <a:lnTo>
                    <a:pt x="192" y="256"/>
                  </a:lnTo>
                  <a:lnTo>
                    <a:pt x="212" y="253"/>
                  </a:lnTo>
                  <a:lnTo>
                    <a:pt x="230" y="244"/>
                  </a:lnTo>
                  <a:lnTo>
                    <a:pt x="244" y="229"/>
                  </a:lnTo>
                  <a:lnTo>
                    <a:pt x="252" y="212"/>
                  </a:lnTo>
                  <a:lnTo>
                    <a:pt x="256" y="192"/>
                  </a:lnTo>
                  <a:lnTo>
                    <a:pt x="252" y="172"/>
                  </a:lnTo>
                  <a:lnTo>
                    <a:pt x="244" y="155"/>
                  </a:lnTo>
                  <a:lnTo>
                    <a:pt x="230" y="140"/>
                  </a:lnTo>
                  <a:lnTo>
                    <a:pt x="212" y="131"/>
                  </a:lnTo>
                  <a:lnTo>
                    <a:pt x="192" y="128"/>
                  </a:lnTo>
                  <a:close/>
                  <a:moveTo>
                    <a:pt x="192" y="0"/>
                  </a:moveTo>
                  <a:lnTo>
                    <a:pt x="227" y="3"/>
                  </a:lnTo>
                  <a:lnTo>
                    <a:pt x="260" y="13"/>
                  </a:lnTo>
                  <a:lnTo>
                    <a:pt x="290" y="27"/>
                  </a:lnTo>
                  <a:lnTo>
                    <a:pt x="316" y="47"/>
                  </a:lnTo>
                  <a:lnTo>
                    <a:pt x="339" y="71"/>
                  </a:lnTo>
                  <a:lnTo>
                    <a:pt x="358" y="97"/>
                  </a:lnTo>
                  <a:lnTo>
                    <a:pt x="373" y="128"/>
                  </a:lnTo>
                  <a:lnTo>
                    <a:pt x="703" y="128"/>
                  </a:lnTo>
                  <a:lnTo>
                    <a:pt x="703" y="256"/>
                  </a:lnTo>
                  <a:lnTo>
                    <a:pt x="373" y="256"/>
                  </a:lnTo>
                  <a:lnTo>
                    <a:pt x="358" y="287"/>
                  </a:lnTo>
                  <a:lnTo>
                    <a:pt x="339" y="313"/>
                  </a:lnTo>
                  <a:lnTo>
                    <a:pt x="316" y="337"/>
                  </a:lnTo>
                  <a:lnTo>
                    <a:pt x="290" y="357"/>
                  </a:lnTo>
                  <a:lnTo>
                    <a:pt x="260" y="371"/>
                  </a:lnTo>
                  <a:lnTo>
                    <a:pt x="227" y="381"/>
                  </a:lnTo>
                  <a:lnTo>
                    <a:pt x="192" y="384"/>
                  </a:lnTo>
                  <a:lnTo>
                    <a:pt x="157" y="381"/>
                  </a:lnTo>
                  <a:lnTo>
                    <a:pt x="125" y="372"/>
                  </a:lnTo>
                  <a:lnTo>
                    <a:pt x="95" y="358"/>
                  </a:lnTo>
                  <a:lnTo>
                    <a:pt x="69" y="339"/>
                  </a:lnTo>
                  <a:lnTo>
                    <a:pt x="46" y="316"/>
                  </a:lnTo>
                  <a:lnTo>
                    <a:pt x="26" y="289"/>
                  </a:lnTo>
                  <a:lnTo>
                    <a:pt x="12" y="259"/>
                  </a:lnTo>
                  <a:lnTo>
                    <a:pt x="4" y="227"/>
                  </a:lnTo>
                  <a:lnTo>
                    <a:pt x="0" y="192"/>
                  </a:lnTo>
                  <a:lnTo>
                    <a:pt x="4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6" y="68"/>
                  </a:lnTo>
                  <a:lnTo>
                    <a:pt x="69" y="45"/>
                  </a:lnTo>
                  <a:lnTo>
                    <a:pt x="95" y="26"/>
                  </a:lnTo>
                  <a:lnTo>
                    <a:pt x="125" y="12"/>
                  </a:lnTo>
                  <a:lnTo>
                    <a:pt x="157" y="3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2305" y="2352"/>
              <a:ext cx="255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10"/>
            <p:cNvSpPr>
              <a:spLocks noChangeArrowheads="1"/>
            </p:cNvSpPr>
            <p:nvPr/>
          </p:nvSpPr>
          <p:spPr bwMode="auto">
            <a:xfrm>
              <a:off x="2305" y="1840"/>
              <a:ext cx="255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11"/>
            <p:cNvSpPr>
              <a:spLocks noChangeArrowheads="1"/>
            </p:cNvSpPr>
            <p:nvPr/>
          </p:nvSpPr>
          <p:spPr bwMode="auto">
            <a:xfrm>
              <a:off x="1857" y="1584"/>
              <a:ext cx="703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2"/>
            <p:cNvSpPr>
              <a:spLocks noEditPoints="1"/>
            </p:cNvSpPr>
            <p:nvPr/>
          </p:nvSpPr>
          <p:spPr bwMode="auto">
            <a:xfrm>
              <a:off x="1984" y="689"/>
              <a:ext cx="576" cy="768"/>
            </a:xfrm>
            <a:custGeom>
              <a:avLst/>
              <a:gdLst>
                <a:gd name="T0" fmla="*/ 193 w 576"/>
                <a:gd name="T1" fmla="*/ 127 h 768"/>
                <a:gd name="T2" fmla="*/ 172 w 576"/>
                <a:gd name="T3" fmla="*/ 131 h 768"/>
                <a:gd name="T4" fmla="*/ 155 w 576"/>
                <a:gd name="T5" fmla="*/ 141 h 768"/>
                <a:gd name="T6" fmla="*/ 141 w 576"/>
                <a:gd name="T7" fmla="*/ 154 h 768"/>
                <a:gd name="T8" fmla="*/ 133 w 576"/>
                <a:gd name="T9" fmla="*/ 172 h 768"/>
                <a:gd name="T10" fmla="*/ 129 w 576"/>
                <a:gd name="T11" fmla="*/ 191 h 768"/>
                <a:gd name="T12" fmla="*/ 133 w 576"/>
                <a:gd name="T13" fmla="*/ 211 h 768"/>
                <a:gd name="T14" fmla="*/ 141 w 576"/>
                <a:gd name="T15" fmla="*/ 230 h 768"/>
                <a:gd name="T16" fmla="*/ 155 w 576"/>
                <a:gd name="T17" fmla="*/ 243 h 768"/>
                <a:gd name="T18" fmla="*/ 172 w 576"/>
                <a:gd name="T19" fmla="*/ 252 h 768"/>
                <a:gd name="T20" fmla="*/ 193 w 576"/>
                <a:gd name="T21" fmla="*/ 256 h 768"/>
                <a:gd name="T22" fmla="*/ 213 w 576"/>
                <a:gd name="T23" fmla="*/ 252 h 768"/>
                <a:gd name="T24" fmla="*/ 231 w 576"/>
                <a:gd name="T25" fmla="*/ 243 h 768"/>
                <a:gd name="T26" fmla="*/ 244 w 576"/>
                <a:gd name="T27" fmla="*/ 230 h 768"/>
                <a:gd name="T28" fmla="*/ 254 w 576"/>
                <a:gd name="T29" fmla="*/ 211 h 768"/>
                <a:gd name="T30" fmla="*/ 256 w 576"/>
                <a:gd name="T31" fmla="*/ 191 h 768"/>
                <a:gd name="T32" fmla="*/ 254 w 576"/>
                <a:gd name="T33" fmla="*/ 172 h 768"/>
                <a:gd name="T34" fmla="*/ 244 w 576"/>
                <a:gd name="T35" fmla="*/ 154 h 768"/>
                <a:gd name="T36" fmla="*/ 231 w 576"/>
                <a:gd name="T37" fmla="*/ 141 h 768"/>
                <a:gd name="T38" fmla="*/ 213 w 576"/>
                <a:gd name="T39" fmla="*/ 131 h 768"/>
                <a:gd name="T40" fmla="*/ 193 w 576"/>
                <a:gd name="T41" fmla="*/ 127 h 768"/>
                <a:gd name="T42" fmla="*/ 193 w 576"/>
                <a:gd name="T43" fmla="*/ 0 h 768"/>
                <a:gd name="T44" fmla="*/ 228 w 576"/>
                <a:gd name="T45" fmla="*/ 2 h 768"/>
                <a:gd name="T46" fmla="*/ 260 w 576"/>
                <a:gd name="T47" fmla="*/ 12 h 768"/>
                <a:gd name="T48" fmla="*/ 290 w 576"/>
                <a:gd name="T49" fmla="*/ 26 h 768"/>
                <a:gd name="T50" fmla="*/ 316 w 576"/>
                <a:gd name="T51" fmla="*/ 44 h 768"/>
                <a:gd name="T52" fmla="*/ 339 w 576"/>
                <a:gd name="T53" fmla="*/ 68 h 768"/>
                <a:gd name="T54" fmla="*/ 359 w 576"/>
                <a:gd name="T55" fmla="*/ 95 h 768"/>
                <a:gd name="T56" fmla="*/ 373 w 576"/>
                <a:gd name="T57" fmla="*/ 125 h 768"/>
                <a:gd name="T58" fmla="*/ 381 w 576"/>
                <a:gd name="T59" fmla="*/ 157 h 768"/>
                <a:gd name="T60" fmla="*/ 385 w 576"/>
                <a:gd name="T61" fmla="*/ 191 h 768"/>
                <a:gd name="T62" fmla="*/ 381 w 576"/>
                <a:gd name="T63" fmla="*/ 226 h 768"/>
                <a:gd name="T64" fmla="*/ 373 w 576"/>
                <a:gd name="T65" fmla="*/ 260 h 768"/>
                <a:gd name="T66" fmla="*/ 357 w 576"/>
                <a:gd name="T67" fmla="*/ 290 h 768"/>
                <a:gd name="T68" fmla="*/ 338 w 576"/>
                <a:gd name="T69" fmla="*/ 316 h 768"/>
                <a:gd name="T70" fmla="*/ 314 w 576"/>
                <a:gd name="T71" fmla="*/ 339 h 768"/>
                <a:gd name="T72" fmla="*/ 288 w 576"/>
                <a:gd name="T73" fmla="*/ 358 h 768"/>
                <a:gd name="T74" fmla="*/ 256 w 576"/>
                <a:gd name="T75" fmla="*/ 371 h 768"/>
                <a:gd name="T76" fmla="*/ 256 w 576"/>
                <a:gd name="T77" fmla="*/ 486 h 768"/>
                <a:gd name="T78" fmla="*/ 411 w 576"/>
                <a:gd name="T79" fmla="*/ 639 h 768"/>
                <a:gd name="T80" fmla="*/ 576 w 576"/>
                <a:gd name="T81" fmla="*/ 639 h 768"/>
                <a:gd name="T82" fmla="*/ 576 w 576"/>
                <a:gd name="T83" fmla="*/ 768 h 768"/>
                <a:gd name="T84" fmla="*/ 359 w 576"/>
                <a:gd name="T85" fmla="*/ 768 h 768"/>
                <a:gd name="T86" fmla="*/ 129 w 576"/>
                <a:gd name="T87" fmla="*/ 538 h 768"/>
                <a:gd name="T88" fmla="*/ 129 w 576"/>
                <a:gd name="T89" fmla="*/ 371 h 768"/>
                <a:gd name="T90" fmla="*/ 99 w 576"/>
                <a:gd name="T91" fmla="*/ 358 h 768"/>
                <a:gd name="T92" fmla="*/ 71 w 576"/>
                <a:gd name="T93" fmla="*/ 339 h 768"/>
                <a:gd name="T94" fmla="*/ 47 w 576"/>
                <a:gd name="T95" fmla="*/ 316 h 768"/>
                <a:gd name="T96" fmla="*/ 28 w 576"/>
                <a:gd name="T97" fmla="*/ 290 h 768"/>
                <a:gd name="T98" fmla="*/ 14 w 576"/>
                <a:gd name="T99" fmla="*/ 260 h 768"/>
                <a:gd name="T100" fmla="*/ 4 w 576"/>
                <a:gd name="T101" fmla="*/ 226 h 768"/>
                <a:gd name="T102" fmla="*/ 0 w 576"/>
                <a:gd name="T103" fmla="*/ 191 h 768"/>
                <a:gd name="T104" fmla="*/ 4 w 576"/>
                <a:gd name="T105" fmla="*/ 157 h 768"/>
                <a:gd name="T106" fmla="*/ 12 w 576"/>
                <a:gd name="T107" fmla="*/ 125 h 768"/>
                <a:gd name="T108" fmla="*/ 27 w 576"/>
                <a:gd name="T109" fmla="*/ 95 h 768"/>
                <a:gd name="T110" fmla="*/ 46 w 576"/>
                <a:gd name="T111" fmla="*/ 68 h 768"/>
                <a:gd name="T112" fmla="*/ 69 w 576"/>
                <a:gd name="T113" fmla="*/ 44 h 768"/>
                <a:gd name="T114" fmla="*/ 97 w 576"/>
                <a:gd name="T115" fmla="*/ 26 h 768"/>
                <a:gd name="T116" fmla="*/ 125 w 576"/>
                <a:gd name="T117" fmla="*/ 12 h 768"/>
                <a:gd name="T118" fmla="*/ 158 w 576"/>
                <a:gd name="T119" fmla="*/ 2 h 768"/>
                <a:gd name="T120" fmla="*/ 193 w 576"/>
                <a:gd name="T121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6" h="768">
                  <a:moveTo>
                    <a:pt x="193" y="127"/>
                  </a:moveTo>
                  <a:lnTo>
                    <a:pt x="172" y="131"/>
                  </a:lnTo>
                  <a:lnTo>
                    <a:pt x="155" y="141"/>
                  </a:lnTo>
                  <a:lnTo>
                    <a:pt x="141" y="154"/>
                  </a:lnTo>
                  <a:lnTo>
                    <a:pt x="133" y="172"/>
                  </a:lnTo>
                  <a:lnTo>
                    <a:pt x="129" y="191"/>
                  </a:lnTo>
                  <a:lnTo>
                    <a:pt x="133" y="211"/>
                  </a:lnTo>
                  <a:lnTo>
                    <a:pt x="141" y="230"/>
                  </a:lnTo>
                  <a:lnTo>
                    <a:pt x="155" y="243"/>
                  </a:lnTo>
                  <a:lnTo>
                    <a:pt x="172" y="252"/>
                  </a:lnTo>
                  <a:lnTo>
                    <a:pt x="193" y="256"/>
                  </a:lnTo>
                  <a:lnTo>
                    <a:pt x="213" y="252"/>
                  </a:lnTo>
                  <a:lnTo>
                    <a:pt x="231" y="243"/>
                  </a:lnTo>
                  <a:lnTo>
                    <a:pt x="244" y="230"/>
                  </a:lnTo>
                  <a:lnTo>
                    <a:pt x="254" y="211"/>
                  </a:lnTo>
                  <a:lnTo>
                    <a:pt x="256" y="191"/>
                  </a:lnTo>
                  <a:lnTo>
                    <a:pt x="254" y="172"/>
                  </a:lnTo>
                  <a:lnTo>
                    <a:pt x="244" y="154"/>
                  </a:lnTo>
                  <a:lnTo>
                    <a:pt x="231" y="141"/>
                  </a:lnTo>
                  <a:lnTo>
                    <a:pt x="213" y="131"/>
                  </a:lnTo>
                  <a:lnTo>
                    <a:pt x="193" y="127"/>
                  </a:lnTo>
                  <a:close/>
                  <a:moveTo>
                    <a:pt x="193" y="0"/>
                  </a:moveTo>
                  <a:lnTo>
                    <a:pt x="228" y="2"/>
                  </a:lnTo>
                  <a:lnTo>
                    <a:pt x="260" y="12"/>
                  </a:lnTo>
                  <a:lnTo>
                    <a:pt x="290" y="26"/>
                  </a:lnTo>
                  <a:lnTo>
                    <a:pt x="316" y="44"/>
                  </a:lnTo>
                  <a:lnTo>
                    <a:pt x="339" y="68"/>
                  </a:lnTo>
                  <a:lnTo>
                    <a:pt x="359" y="95"/>
                  </a:lnTo>
                  <a:lnTo>
                    <a:pt x="373" y="125"/>
                  </a:lnTo>
                  <a:lnTo>
                    <a:pt x="381" y="157"/>
                  </a:lnTo>
                  <a:lnTo>
                    <a:pt x="385" y="191"/>
                  </a:lnTo>
                  <a:lnTo>
                    <a:pt x="381" y="226"/>
                  </a:lnTo>
                  <a:lnTo>
                    <a:pt x="373" y="260"/>
                  </a:lnTo>
                  <a:lnTo>
                    <a:pt x="357" y="290"/>
                  </a:lnTo>
                  <a:lnTo>
                    <a:pt x="338" y="316"/>
                  </a:lnTo>
                  <a:lnTo>
                    <a:pt x="314" y="339"/>
                  </a:lnTo>
                  <a:lnTo>
                    <a:pt x="288" y="358"/>
                  </a:lnTo>
                  <a:lnTo>
                    <a:pt x="256" y="371"/>
                  </a:lnTo>
                  <a:lnTo>
                    <a:pt x="256" y="486"/>
                  </a:lnTo>
                  <a:lnTo>
                    <a:pt x="411" y="639"/>
                  </a:lnTo>
                  <a:lnTo>
                    <a:pt x="576" y="639"/>
                  </a:lnTo>
                  <a:lnTo>
                    <a:pt x="576" y="768"/>
                  </a:lnTo>
                  <a:lnTo>
                    <a:pt x="359" y="768"/>
                  </a:lnTo>
                  <a:lnTo>
                    <a:pt x="129" y="538"/>
                  </a:lnTo>
                  <a:lnTo>
                    <a:pt x="129" y="371"/>
                  </a:lnTo>
                  <a:lnTo>
                    <a:pt x="99" y="358"/>
                  </a:lnTo>
                  <a:lnTo>
                    <a:pt x="71" y="339"/>
                  </a:lnTo>
                  <a:lnTo>
                    <a:pt x="47" y="316"/>
                  </a:lnTo>
                  <a:lnTo>
                    <a:pt x="28" y="290"/>
                  </a:lnTo>
                  <a:lnTo>
                    <a:pt x="14" y="260"/>
                  </a:lnTo>
                  <a:lnTo>
                    <a:pt x="4" y="226"/>
                  </a:lnTo>
                  <a:lnTo>
                    <a:pt x="0" y="191"/>
                  </a:lnTo>
                  <a:lnTo>
                    <a:pt x="4" y="157"/>
                  </a:lnTo>
                  <a:lnTo>
                    <a:pt x="12" y="125"/>
                  </a:lnTo>
                  <a:lnTo>
                    <a:pt x="27" y="95"/>
                  </a:lnTo>
                  <a:lnTo>
                    <a:pt x="46" y="68"/>
                  </a:lnTo>
                  <a:lnTo>
                    <a:pt x="69" y="44"/>
                  </a:lnTo>
                  <a:lnTo>
                    <a:pt x="97" y="26"/>
                  </a:lnTo>
                  <a:lnTo>
                    <a:pt x="125" y="12"/>
                  </a:lnTo>
                  <a:lnTo>
                    <a:pt x="158" y="2"/>
                  </a:lnTo>
                  <a:lnTo>
                    <a:pt x="1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auto">
            <a:xfrm>
              <a:off x="1857" y="433"/>
              <a:ext cx="1280" cy="447"/>
            </a:xfrm>
            <a:custGeom>
              <a:avLst/>
              <a:gdLst>
                <a:gd name="T0" fmla="*/ 0 w 1280"/>
                <a:gd name="T1" fmla="*/ 0 h 447"/>
                <a:gd name="T2" fmla="*/ 1050 w 1280"/>
                <a:gd name="T3" fmla="*/ 0 h 447"/>
                <a:gd name="T4" fmla="*/ 1280 w 1280"/>
                <a:gd name="T5" fmla="*/ 230 h 447"/>
                <a:gd name="T6" fmla="*/ 1280 w 1280"/>
                <a:gd name="T7" fmla="*/ 447 h 447"/>
                <a:gd name="T8" fmla="*/ 1151 w 1280"/>
                <a:gd name="T9" fmla="*/ 447 h 447"/>
                <a:gd name="T10" fmla="*/ 1151 w 1280"/>
                <a:gd name="T11" fmla="*/ 282 h 447"/>
                <a:gd name="T12" fmla="*/ 998 w 1280"/>
                <a:gd name="T13" fmla="*/ 127 h 447"/>
                <a:gd name="T14" fmla="*/ 0 w 1280"/>
                <a:gd name="T15" fmla="*/ 127 h 447"/>
                <a:gd name="T16" fmla="*/ 0 w 1280"/>
                <a:gd name="T17" fmla="*/ 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0" h="447">
                  <a:moveTo>
                    <a:pt x="0" y="0"/>
                  </a:moveTo>
                  <a:lnTo>
                    <a:pt x="1050" y="0"/>
                  </a:lnTo>
                  <a:lnTo>
                    <a:pt x="1280" y="230"/>
                  </a:lnTo>
                  <a:lnTo>
                    <a:pt x="1280" y="447"/>
                  </a:lnTo>
                  <a:lnTo>
                    <a:pt x="1151" y="447"/>
                  </a:lnTo>
                  <a:lnTo>
                    <a:pt x="1151" y="282"/>
                  </a:lnTo>
                  <a:lnTo>
                    <a:pt x="998" y="127"/>
                  </a:lnTo>
                  <a:lnTo>
                    <a:pt x="0" y="12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auto">
            <a:xfrm>
              <a:off x="1857" y="177"/>
              <a:ext cx="1535" cy="703"/>
            </a:xfrm>
            <a:custGeom>
              <a:avLst/>
              <a:gdLst>
                <a:gd name="T0" fmla="*/ 0 w 1535"/>
                <a:gd name="T1" fmla="*/ 0 h 703"/>
                <a:gd name="T2" fmla="*/ 1306 w 1535"/>
                <a:gd name="T3" fmla="*/ 0 h 703"/>
                <a:gd name="T4" fmla="*/ 1535 w 1535"/>
                <a:gd name="T5" fmla="*/ 230 h 703"/>
                <a:gd name="T6" fmla="*/ 1535 w 1535"/>
                <a:gd name="T7" fmla="*/ 703 h 703"/>
                <a:gd name="T8" fmla="*/ 1407 w 1535"/>
                <a:gd name="T9" fmla="*/ 703 h 703"/>
                <a:gd name="T10" fmla="*/ 1407 w 1535"/>
                <a:gd name="T11" fmla="*/ 282 h 703"/>
                <a:gd name="T12" fmla="*/ 1252 w 1535"/>
                <a:gd name="T13" fmla="*/ 127 h 703"/>
                <a:gd name="T14" fmla="*/ 0 w 1535"/>
                <a:gd name="T15" fmla="*/ 127 h 703"/>
                <a:gd name="T16" fmla="*/ 0 w 1535"/>
                <a:gd name="T17" fmla="*/ 0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5" h="703">
                  <a:moveTo>
                    <a:pt x="0" y="0"/>
                  </a:moveTo>
                  <a:lnTo>
                    <a:pt x="1306" y="0"/>
                  </a:lnTo>
                  <a:lnTo>
                    <a:pt x="1535" y="230"/>
                  </a:lnTo>
                  <a:lnTo>
                    <a:pt x="1535" y="703"/>
                  </a:lnTo>
                  <a:lnTo>
                    <a:pt x="1407" y="703"/>
                  </a:lnTo>
                  <a:lnTo>
                    <a:pt x="1407" y="282"/>
                  </a:lnTo>
                  <a:lnTo>
                    <a:pt x="1252" y="127"/>
                  </a:lnTo>
                  <a:lnTo>
                    <a:pt x="0" y="12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15"/>
            <p:cNvSpPr>
              <a:spLocks noChangeArrowheads="1"/>
            </p:cNvSpPr>
            <p:nvPr/>
          </p:nvSpPr>
          <p:spPr bwMode="auto">
            <a:xfrm>
              <a:off x="3520" y="625"/>
              <a:ext cx="128" cy="25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6"/>
            <p:cNvSpPr>
              <a:spLocks noChangeArrowheads="1"/>
            </p:cNvSpPr>
            <p:nvPr/>
          </p:nvSpPr>
          <p:spPr bwMode="auto">
            <a:xfrm>
              <a:off x="4288" y="177"/>
              <a:ext cx="128" cy="70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7"/>
            <p:cNvSpPr>
              <a:spLocks noEditPoints="1"/>
            </p:cNvSpPr>
            <p:nvPr/>
          </p:nvSpPr>
          <p:spPr bwMode="auto">
            <a:xfrm>
              <a:off x="3648" y="177"/>
              <a:ext cx="512" cy="703"/>
            </a:xfrm>
            <a:custGeom>
              <a:avLst/>
              <a:gdLst>
                <a:gd name="T0" fmla="*/ 192 w 512"/>
                <a:gd name="T1" fmla="*/ 127 h 703"/>
                <a:gd name="T2" fmla="*/ 172 w 512"/>
                <a:gd name="T3" fmla="*/ 131 h 703"/>
                <a:gd name="T4" fmla="*/ 155 w 512"/>
                <a:gd name="T5" fmla="*/ 141 h 703"/>
                <a:gd name="T6" fmla="*/ 140 w 512"/>
                <a:gd name="T7" fmla="*/ 154 h 703"/>
                <a:gd name="T8" fmla="*/ 131 w 512"/>
                <a:gd name="T9" fmla="*/ 172 h 703"/>
                <a:gd name="T10" fmla="*/ 128 w 512"/>
                <a:gd name="T11" fmla="*/ 192 h 703"/>
                <a:gd name="T12" fmla="*/ 131 w 512"/>
                <a:gd name="T13" fmla="*/ 212 h 703"/>
                <a:gd name="T14" fmla="*/ 140 w 512"/>
                <a:gd name="T15" fmla="*/ 230 h 703"/>
                <a:gd name="T16" fmla="*/ 155 w 512"/>
                <a:gd name="T17" fmla="*/ 244 h 703"/>
                <a:gd name="T18" fmla="*/ 172 w 512"/>
                <a:gd name="T19" fmla="*/ 252 h 703"/>
                <a:gd name="T20" fmla="*/ 192 w 512"/>
                <a:gd name="T21" fmla="*/ 256 h 703"/>
                <a:gd name="T22" fmla="*/ 212 w 512"/>
                <a:gd name="T23" fmla="*/ 252 h 703"/>
                <a:gd name="T24" fmla="*/ 229 w 512"/>
                <a:gd name="T25" fmla="*/ 244 h 703"/>
                <a:gd name="T26" fmla="*/ 244 w 512"/>
                <a:gd name="T27" fmla="*/ 230 h 703"/>
                <a:gd name="T28" fmla="*/ 253 w 512"/>
                <a:gd name="T29" fmla="*/ 212 h 703"/>
                <a:gd name="T30" fmla="*/ 256 w 512"/>
                <a:gd name="T31" fmla="*/ 192 h 703"/>
                <a:gd name="T32" fmla="*/ 253 w 512"/>
                <a:gd name="T33" fmla="*/ 172 h 703"/>
                <a:gd name="T34" fmla="*/ 244 w 512"/>
                <a:gd name="T35" fmla="*/ 154 h 703"/>
                <a:gd name="T36" fmla="*/ 229 w 512"/>
                <a:gd name="T37" fmla="*/ 141 h 703"/>
                <a:gd name="T38" fmla="*/ 212 w 512"/>
                <a:gd name="T39" fmla="*/ 131 h 703"/>
                <a:gd name="T40" fmla="*/ 192 w 512"/>
                <a:gd name="T41" fmla="*/ 127 h 703"/>
                <a:gd name="T42" fmla="*/ 192 w 512"/>
                <a:gd name="T43" fmla="*/ 0 h 703"/>
                <a:gd name="T44" fmla="*/ 227 w 512"/>
                <a:gd name="T45" fmla="*/ 4 h 703"/>
                <a:gd name="T46" fmla="*/ 259 w 512"/>
                <a:gd name="T47" fmla="*/ 12 h 703"/>
                <a:gd name="T48" fmla="*/ 289 w 512"/>
                <a:gd name="T49" fmla="*/ 26 h 703"/>
                <a:gd name="T50" fmla="*/ 316 w 512"/>
                <a:gd name="T51" fmla="*/ 46 h 703"/>
                <a:gd name="T52" fmla="*/ 339 w 512"/>
                <a:gd name="T53" fmla="*/ 69 h 703"/>
                <a:gd name="T54" fmla="*/ 358 w 512"/>
                <a:gd name="T55" fmla="*/ 95 h 703"/>
                <a:gd name="T56" fmla="*/ 372 w 512"/>
                <a:gd name="T57" fmla="*/ 125 h 703"/>
                <a:gd name="T58" fmla="*/ 381 w 512"/>
                <a:gd name="T59" fmla="*/ 157 h 703"/>
                <a:gd name="T60" fmla="*/ 384 w 512"/>
                <a:gd name="T61" fmla="*/ 192 h 703"/>
                <a:gd name="T62" fmla="*/ 381 w 512"/>
                <a:gd name="T63" fmla="*/ 228 h 703"/>
                <a:gd name="T64" fmla="*/ 370 w 512"/>
                <a:gd name="T65" fmla="*/ 262 h 703"/>
                <a:gd name="T66" fmla="*/ 354 w 512"/>
                <a:gd name="T67" fmla="*/ 293 h 703"/>
                <a:gd name="T68" fmla="*/ 333 w 512"/>
                <a:gd name="T69" fmla="*/ 321 h 703"/>
                <a:gd name="T70" fmla="*/ 307 w 512"/>
                <a:gd name="T71" fmla="*/ 345 h 703"/>
                <a:gd name="T72" fmla="*/ 512 w 512"/>
                <a:gd name="T73" fmla="*/ 549 h 703"/>
                <a:gd name="T74" fmla="*/ 512 w 512"/>
                <a:gd name="T75" fmla="*/ 703 h 703"/>
                <a:gd name="T76" fmla="*/ 384 w 512"/>
                <a:gd name="T77" fmla="*/ 703 h 703"/>
                <a:gd name="T78" fmla="*/ 384 w 512"/>
                <a:gd name="T79" fmla="*/ 602 h 703"/>
                <a:gd name="T80" fmla="*/ 256 w 512"/>
                <a:gd name="T81" fmla="*/ 475 h 703"/>
                <a:gd name="T82" fmla="*/ 256 w 512"/>
                <a:gd name="T83" fmla="*/ 703 h 703"/>
                <a:gd name="T84" fmla="*/ 128 w 512"/>
                <a:gd name="T85" fmla="*/ 703 h 703"/>
                <a:gd name="T86" fmla="*/ 128 w 512"/>
                <a:gd name="T87" fmla="*/ 373 h 703"/>
                <a:gd name="T88" fmla="*/ 97 w 512"/>
                <a:gd name="T89" fmla="*/ 358 h 703"/>
                <a:gd name="T90" fmla="*/ 71 w 512"/>
                <a:gd name="T91" fmla="*/ 339 h 703"/>
                <a:gd name="T92" fmla="*/ 47 w 512"/>
                <a:gd name="T93" fmla="*/ 316 h 703"/>
                <a:gd name="T94" fmla="*/ 27 w 512"/>
                <a:gd name="T95" fmla="*/ 290 h 703"/>
                <a:gd name="T96" fmla="*/ 13 w 512"/>
                <a:gd name="T97" fmla="*/ 260 h 703"/>
                <a:gd name="T98" fmla="*/ 3 w 512"/>
                <a:gd name="T99" fmla="*/ 227 h 703"/>
                <a:gd name="T100" fmla="*/ 0 w 512"/>
                <a:gd name="T101" fmla="*/ 192 h 703"/>
                <a:gd name="T102" fmla="*/ 3 w 512"/>
                <a:gd name="T103" fmla="*/ 157 h 703"/>
                <a:gd name="T104" fmla="*/ 12 w 512"/>
                <a:gd name="T105" fmla="*/ 125 h 703"/>
                <a:gd name="T106" fmla="*/ 26 w 512"/>
                <a:gd name="T107" fmla="*/ 95 h 703"/>
                <a:gd name="T108" fmla="*/ 45 w 512"/>
                <a:gd name="T109" fmla="*/ 69 h 703"/>
                <a:gd name="T110" fmla="*/ 68 w 512"/>
                <a:gd name="T111" fmla="*/ 46 h 703"/>
                <a:gd name="T112" fmla="*/ 95 w 512"/>
                <a:gd name="T113" fmla="*/ 26 h 703"/>
                <a:gd name="T114" fmla="*/ 125 w 512"/>
                <a:gd name="T115" fmla="*/ 12 h 703"/>
                <a:gd name="T116" fmla="*/ 157 w 512"/>
                <a:gd name="T117" fmla="*/ 4 h 703"/>
                <a:gd name="T118" fmla="*/ 192 w 512"/>
                <a:gd name="T119" fmla="*/ 0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2" h="703">
                  <a:moveTo>
                    <a:pt x="192" y="127"/>
                  </a:moveTo>
                  <a:lnTo>
                    <a:pt x="172" y="131"/>
                  </a:lnTo>
                  <a:lnTo>
                    <a:pt x="155" y="141"/>
                  </a:lnTo>
                  <a:lnTo>
                    <a:pt x="140" y="154"/>
                  </a:lnTo>
                  <a:lnTo>
                    <a:pt x="131" y="172"/>
                  </a:lnTo>
                  <a:lnTo>
                    <a:pt x="128" y="192"/>
                  </a:lnTo>
                  <a:lnTo>
                    <a:pt x="131" y="212"/>
                  </a:lnTo>
                  <a:lnTo>
                    <a:pt x="140" y="230"/>
                  </a:lnTo>
                  <a:lnTo>
                    <a:pt x="155" y="244"/>
                  </a:lnTo>
                  <a:lnTo>
                    <a:pt x="172" y="252"/>
                  </a:lnTo>
                  <a:lnTo>
                    <a:pt x="192" y="256"/>
                  </a:lnTo>
                  <a:lnTo>
                    <a:pt x="212" y="252"/>
                  </a:lnTo>
                  <a:lnTo>
                    <a:pt x="229" y="244"/>
                  </a:lnTo>
                  <a:lnTo>
                    <a:pt x="244" y="230"/>
                  </a:lnTo>
                  <a:lnTo>
                    <a:pt x="253" y="212"/>
                  </a:lnTo>
                  <a:lnTo>
                    <a:pt x="256" y="192"/>
                  </a:lnTo>
                  <a:lnTo>
                    <a:pt x="253" y="172"/>
                  </a:lnTo>
                  <a:lnTo>
                    <a:pt x="244" y="154"/>
                  </a:lnTo>
                  <a:lnTo>
                    <a:pt x="229" y="141"/>
                  </a:lnTo>
                  <a:lnTo>
                    <a:pt x="212" y="131"/>
                  </a:lnTo>
                  <a:lnTo>
                    <a:pt x="192" y="127"/>
                  </a:lnTo>
                  <a:close/>
                  <a:moveTo>
                    <a:pt x="192" y="0"/>
                  </a:moveTo>
                  <a:lnTo>
                    <a:pt x="227" y="4"/>
                  </a:lnTo>
                  <a:lnTo>
                    <a:pt x="259" y="12"/>
                  </a:lnTo>
                  <a:lnTo>
                    <a:pt x="289" y="26"/>
                  </a:lnTo>
                  <a:lnTo>
                    <a:pt x="316" y="46"/>
                  </a:lnTo>
                  <a:lnTo>
                    <a:pt x="339" y="69"/>
                  </a:lnTo>
                  <a:lnTo>
                    <a:pt x="358" y="95"/>
                  </a:lnTo>
                  <a:lnTo>
                    <a:pt x="372" y="125"/>
                  </a:lnTo>
                  <a:lnTo>
                    <a:pt x="381" y="157"/>
                  </a:lnTo>
                  <a:lnTo>
                    <a:pt x="384" y="192"/>
                  </a:lnTo>
                  <a:lnTo>
                    <a:pt x="381" y="228"/>
                  </a:lnTo>
                  <a:lnTo>
                    <a:pt x="370" y="262"/>
                  </a:lnTo>
                  <a:lnTo>
                    <a:pt x="354" y="293"/>
                  </a:lnTo>
                  <a:lnTo>
                    <a:pt x="333" y="321"/>
                  </a:lnTo>
                  <a:lnTo>
                    <a:pt x="307" y="345"/>
                  </a:lnTo>
                  <a:lnTo>
                    <a:pt x="512" y="549"/>
                  </a:lnTo>
                  <a:lnTo>
                    <a:pt x="512" y="703"/>
                  </a:lnTo>
                  <a:lnTo>
                    <a:pt x="384" y="703"/>
                  </a:lnTo>
                  <a:lnTo>
                    <a:pt x="384" y="602"/>
                  </a:lnTo>
                  <a:lnTo>
                    <a:pt x="256" y="475"/>
                  </a:lnTo>
                  <a:lnTo>
                    <a:pt x="256" y="703"/>
                  </a:lnTo>
                  <a:lnTo>
                    <a:pt x="128" y="703"/>
                  </a:lnTo>
                  <a:lnTo>
                    <a:pt x="128" y="373"/>
                  </a:lnTo>
                  <a:lnTo>
                    <a:pt x="97" y="358"/>
                  </a:lnTo>
                  <a:lnTo>
                    <a:pt x="71" y="339"/>
                  </a:lnTo>
                  <a:lnTo>
                    <a:pt x="47" y="316"/>
                  </a:lnTo>
                  <a:lnTo>
                    <a:pt x="27" y="290"/>
                  </a:lnTo>
                  <a:lnTo>
                    <a:pt x="13" y="260"/>
                  </a:lnTo>
                  <a:lnTo>
                    <a:pt x="3" y="227"/>
                  </a:lnTo>
                  <a:lnTo>
                    <a:pt x="0" y="192"/>
                  </a:lnTo>
                  <a:lnTo>
                    <a:pt x="3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5" y="69"/>
                  </a:lnTo>
                  <a:lnTo>
                    <a:pt x="68" y="46"/>
                  </a:lnTo>
                  <a:lnTo>
                    <a:pt x="95" y="26"/>
                  </a:lnTo>
                  <a:lnTo>
                    <a:pt x="125" y="12"/>
                  </a:lnTo>
                  <a:lnTo>
                    <a:pt x="157" y="4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8"/>
            <p:cNvSpPr>
              <a:spLocks noEditPoints="1"/>
            </p:cNvSpPr>
            <p:nvPr/>
          </p:nvSpPr>
          <p:spPr bwMode="auto">
            <a:xfrm>
              <a:off x="4543" y="177"/>
              <a:ext cx="1280" cy="1535"/>
            </a:xfrm>
            <a:custGeom>
              <a:avLst/>
              <a:gdLst>
                <a:gd name="T0" fmla="*/ 1068 w 1280"/>
                <a:gd name="T1" fmla="*/ 131 h 1535"/>
                <a:gd name="T2" fmla="*/ 1036 w 1280"/>
                <a:gd name="T3" fmla="*/ 154 h 1535"/>
                <a:gd name="T4" fmla="*/ 1024 w 1280"/>
                <a:gd name="T5" fmla="*/ 192 h 1535"/>
                <a:gd name="T6" fmla="*/ 1036 w 1280"/>
                <a:gd name="T7" fmla="*/ 230 h 1535"/>
                <a:gd name="T8" fmla="*/ 1068 w 1280"/>
                <a:gd name="T9" fmla="*/ 252 h 1535"/>
                <a:gd name="T10" fmla="*/ 1108 w 1280"/>
                <a:gd name="T11" fmla="*/ 252 h 1535"/>
                <a:gd name="T12" fmla="*/ 1139 w 1280"/>
                <a:gd name="T13" fmla="*/ 230 h 1535"/>
                <a:gd name="T14" fmla="*/ 1153 w 1280"/>
                <a:gd name="T15" fmla="*/ 192 h 1535"/>
                <a:gd name="T16" fmla="*/ 1139 w 1280"/>
                <a:gd name="T17" fmla="*/ 154 h 1535"/>
                <a:gd name="T18" fmla="*/ 1108 w 1280"/>
                <a:gd name="T19" fmla="*/ 131 h 1535"/>
                <a:gd name="T20" fmla="*/ 1088 w 1280"/>
                <a:gd name="T21" fmla="*/ 0 h 1535"/>
                <a:gd name="T22" fmla="*/ 1155 w 1280"/>
                <a:gd name="T23" fmla="*/ 12 h 1535"/>
                <a:gd name="T24" fmla="*/ 1211 w 1280"/>
                <a:gd name="T25" fmla="*/ 46 h 1535"/>
                <a:gd name="T26" fmla="*/ 1254 w 1280"/>
                <a:gd name="T27" fmla="*/ 95 h 1535"/>
                <a:gd name="T28" fmla="*/ 1276 w 1280"/>
                <a:gd name="T29" fmla="*/ 157 h 1535"/>
                <a:gd name="T30" fmla="*/ 1276 w 1280"/>
                <a:gd name="T31" fmla="*/ 227 h 1535"/>
                <a:gd name="T32" fmla="*/ 1254 w 1280"/>
                <a:gd name="T33" fmla="*/ 290 h 1535"/>
                <a:gd name="T34" fmla="*/ 1210 w 1280"/>
                <a:gd name="T35" fmla="*/ 339 h 1535"/>
                <a:gd name="T36" fmla="*/ 1153 w 1280"/>
                <a:gd name="T37" fmla="*/ 373 h 1535"/>
                <a:gd name="T38" fmla="*/ 923 w 1280"/>
                <a:gd name="T39" fmla="*/ 1535 h 1535"/>
                <a:gd name="T40" fmla="*/ 577 w 1280"/>
                <a:gd name="T41" fmla="*/ 1407 h 1535"/>
                <a:gd name="T42" fmla="*/ 1024 w 1280"/>
                <a:gd name="T43" fmla="*/ 1252 h 1535"/>
                <a:gd name="T44" fmla="*/ 993 w 1280"/>
                <a:gd name="T45" fmla="*/ 358 h 1535"/>
                <a:gd name="T46" fmla="*/ 941 w 1280"/>
                <a:gd name="T47" fmla="*/ 315 h 1535"/>
                <a:gd name="T48" fmla="*/ 907 w 1280"/>
                <a:gd name="T49" fmla="*/ 256 h 1535"/>
                <a:gd name="T50" fmla="*/ 129 w 1280"/>
                <a:gd name="T51" fmla="*/ 410 h 1535"/>
                <a:gd name="T52" fmla="*/ 0 w 1280"/>
                <a:gd name="T53" fmla="*/ 703 h 1535"/>
                <a:gd name="T54" fmla="*/ 230 w 1280"/>
                <a:gd name="T55" fmla="*/ 127 h 1535"/>
                <a:gd name="T56" fmla="*/ 922 w 1280"/>
                <a:gd name="T57" fmla="*/ 97 h 1535"/>
                <a:gd name="T58" fmla="*/ 964 w 1280"/>
                <a:gd name="T59" fmla="*/ 47 h 1535"/>
                <a:gd name="T60" fmla="*/ 1020 w 1280"/>
                <a:gd name="T61" fmla="*/ 12 h 1535"/>
                <a:gd name="T62" fmla="*/ 1088 w 1280"/>
                <a:gd name="T63" fmla="*/ 0 h 1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80" h="1535">
                  <a:moveTo>
                    <a:pt x="1088" y="127"/>
                  </a:moveTo>
                  <a:lnTo>
                    <a:pt x="1068" y="131"/>
                  </a:lnTo>
                  <a:lnTo>
                    <a:pt x="1050" y="141"/>
                  </a:lnTo>
                  <a:lnTo>
                    <a:pt x="1036" y="154"/>
                  </a:lnTo>
                  <a:lnTo>
                    <a:pt x="1028" y="172"/>
                  </a:lnTo>
                  <a:lnTo>
                    <a:pt x="1024" y="192"/>
                  </a:lnTo>
                  <a:lnTo>
                    <a:pt x="1028" y="212"/>
                  </a:lnTo>
                  <a:lnTo>
                    <a:pt x="1036" y="230"/>
                  </a:lnTo>
                  <a:lnTo>
                    <a:pt x="1050" y="244"/>
                  </a:lnTo>
                  <a:lnTo>
                    <a:pt x="1068" y="252"/>
                  </a:lnTo>
                  <a:lnTo>
                    <a:pt x="1088" y="256"/>
                  </a:lnTo>
                  <a:lnTo>
                    <a:pt x="1108" y="252"/>
                  </a:lnTo>
                  <a:lnTo>
                    <a:pt x="1126" y="244"/>
                  </a:lnTo>
                  <a:lnTo>
                    <a:pt x="1139" y="230"/>
                  </a:lnTo>
                  <a:lnTo>
                    <a:pt x="1149" y="212"/>
                  </a:lnTo>
                  <a:lnTo>
                    <a:pt x="1153" y="192"/>
                  </a:lnTo>
                  <a:lnTo>
                    <a:pt x="1149" y="172"/>
                  </a:lnTo>
                  <a:lnTo>
                    <a:pt x="1139" y="154"/>
                  </a:lnTo>
                  <a:lnTo>
                    <a:pt x="1126" y="141"/>
                  </a:lnTo>
                  <a:lnTo>
                    <a:pt x="1108" y="131"/>
                  </a:lnTo>
                  <a:lnTo>
                    <a:pt x="1088" y="127"/>
                  </a:lnTo>
                  <a:close/>
                  <a:moveTo>
                    <a:pt x="1088" y="0"/>
                  </a:moveTo>
                  <a:lnTo>
                    <a:pt x="1123" y="4"/>
                  </a:lnTo>
                  <a:lnTo>
                    <a:pt x="1155" y="12"/>
                  </a:lnTo>
                  <a:lnTo>
                    <a:pt x="1185" y="26"/>
                  </a:lnTo>
                  <a:lnTo>
                    <a:pt x="1211" y="46"/>
                  </a:lnTo>
                  <a:lnTo>
                    <a:pt x="1234" y="69"/>
                  </a:lnTo>
                  <a:lnTo>
                    <a:pt x="1254" y="95"/>
                  </a:lnTo>
                  <a:lnTo>
                    <a:pt x="1268" y="125"/>
                  </a:lnTo>
                  <a:lnTo>
                    <a:pt x="1276" y="157"/>
                  </a:lnTo>
                  <a:lnTo>
                    <a:pt x="1280" y="192"/>
                  </a:lnTo>
                  <a:lnTo>
                    <a:pt x="1276" y="227"/>
                  </a:lnTo>
                  <a:lnTo>
                    <a:pt x="1268" y="260"/>
                  </a:lnTo>
                  <a:lnTo>
                    <a:pt x="1254" y="290"/>
                  </a:lnTo>
                  <a:lnTo>
                    <a:pt x="1233" y="316"/>
                  </a:lnTo>
                  <a:lnTo>
                    <a:pt x="1210" y="339"/>
                  </a:lnTo>
                  <a:lnTo>
                    <a:pt x="1183" y="358"/>
                  </a:lnTo>
                  <a:lnTo>
                    <a:pt x="1153" y="373"/>
                  </a:lnTo>
                  <a:lnTo>
                    <a:pt x="1153" y="1306"/>
                  </a:lnTo>
                  <a:lnTo>
                    <a:pt x="923" y="1535"/>
                  </a:lnTo>
                  <a:lnTo>
                    <a:pt x="577" y="1535"/>
                  </a:lnTo>
                  <a:lnTo>
                    <a:pt x="577" y="1407"/>
                  </a:lnTo>
                  <a:lnTo>
                    <a:pt x="870" y="1407"/>
                  </a:lnTo>
                  <a:lnTo>
                    <a:pt x="1024" y="1252"/>
                  </a:lnTo>
                  <a:lnTo>
                    <a:pt x="1024" y="373"/>
                  </a:lnTo>
                  <a:lnTo>
                    <a:pt x="993" y="358"/>
                  </a:lnTo>
                  <a:lnTo>
                    <a:pt x="965" y="339"/>
                  </a:lnTo>
                  <a:lnTo>
                    <a:pt x="941" y="315"/>
                  </a:lnTo>
                  <a:lnTo>
                    <a:pt x="922" y="287"/>
                  </a:lnTo>
                  <a:lnTo>
                    <a:pt x="907" y="256"/>
                  </a:lnTo>
                  <a:lnTo>
                    <a:pt x="282" y="256"/>
                  </a:lnTo>
                  <a:lnTo>
                    <a:pt x="129" y="410"/>
                  </a:lnTo>
                  <a:lnTo>
                    <a:pt x="129" y="703"/>
                  </a:lnTo>
                  <a:lnTo>
                    <a:pt x="0" y="703"/>
                  </a:lnTo>
                  <a:lnTo>
                    <a:pt x="0" y="357"/>
                  </a:lnTo>
                  <a:lnTo>
                    <a:pt x="230" y="127"/>
                  </a:lnTo>
                  <a:lnTo>
                    <a:pt x="907" y="127"/>
                  </a:lnTo>
                  <a:lnTo>
                    <a:pt x="922" y="97"/>
                  </a:lnTo>
                  <a:lnTo>
                    <a:pt x="941" y="70"/>
                  </a:lnTo>
                  <a:lnTo>
                    <a:pt x="964" y="47"/>
                  </a:lnTo>
                  <a:lnTo>
                    <a:pt x="990" y="26"/>
                  </a:lnTo>
                  <a:lnTo>
                    <a:pt x="1020" y="12"/>
                  </a:lnTo>
                  <a:lnTo>
                    <a:pt x="1053" y="4"/>
                  </a:lnTo>
                  <a:lnTo>
                    <a:pt x="10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9"/>
            <p:cNvSpPr>
              <a:spLocks noEditPoints="1"/>
            </p:cNvSpPr>
            <p:nvPr/>
          </p:nvSpPr>
          <p:spPr bwMode="auto">
            <a:xfrm>
              <a:off x="4799" y="689"/>
              <a:ext cx="641" cy="768"/>
            </a:xfrm>
            <a:custGeom>
              <a:avLst/>
              <a:gdLst>
                <a:gd name="T0" fmla="*/ 172 w 641"/>
                <a:gd name="T1" fmla="*/ 131 h 768"/>
                <a:gd name="T2" fmla="*/ 141 w 641"/>
                <a:gd name="T3" fmla="*/ 154 h 768"/>
                <a:gd name="T4" fmla="*/ 129 w 641"/>
                <a:gd name="T5" fmla="*/ 191 h 768"/>
                <a:gd name="T6" fmla="*/ 141 w 641"/>
                <a:gd name="T7" fmla="*/ 230 h 768"/>
                <a:gd name="T8" fmla="*/ 172 w 641"/>
                <a:gd name="T9" fmla="*/ 252 h 768"/>
                <a:gd name="T10" fmla="*/ 213 w 641"/>
                <a:gd name="T11" fmla="*/ 252 h 768"/>
                <a:gd name="T12" fmla="*/ 244 w 641"/>
                <a:gd name="T13" fmla="*/ 230 h 768"/>
                <a:gd name="T14" fmla="*/ 256 w 641"/>
                <a:gd name="T15" fmla="*/ 191 h 768"/>
                <a:gd name="T16" fmla="*/ 244 w 641"/>
                <a:gd name="T17" fmla="*/ 154 h 768"/>
                <a:gd name="T18" fmla="*/ 213 w 641"/>
                <a:gd name="T19" fmla="*/ 131 h 768"/>
                <a:gd name="T20" fmla="*/ 192 w 641"/>
                <a:gd name="T21" fmla="*/ 0 h 768"/>
                <a:gd name="T22" fmla="*/ 260 w 641"/>
                <a:gd name="T23" fmla="*/ 12 h 768"/>
                <a:gd name="T24" fmla="*/ 317 w 641"/>
                <a:gd name="T25" fmla="*/ 46 h 768"/>
                <a:gd name="T26" fmla="*/ 358 w 641"/>
                <a:gd name="T27" fmla="*/ 97 h 768"/>
                <a:gd name="T28" fmla="*/ 411 w 641"/>
                <a:gd name="T29" fmla="*/ 127 h 768"/>
                <a:gd name="T30" fmla="*/ 641 w 641"/>
                <a:gd name="T31" fmla="*/ 538 h 768"/>
                <a:gd name="T32" fmla="*/ 321 w 641"/>
                <a:gd name="T33" fmla="*/ 768 h 768"/>
                <a:gd name="T34" fmla="*/ 358 w 641"/>
                <a:gd name="T35" fmla="*/ 639 h 768"/>
                <a:gd name="T36" fmla="*/ 512 w 641"/>
                <a:gd name="T37" fmla="*/ 410 h 768"/>
                <a:gd name="T38" fmla="*/ 355 w 641"/>
                <a:gd name="T39" fmla="*/ 294 h 768"/>
                <a:gd name="T40" fmla="*/ 313 w 641"/>
                <a:gd name="T41" fmla="*/ 341 h 768"/>
                <a:gd name="T42" fmla="*/ 257 w 641"/>
                <a:gd name="T43" fmla="*/ 373 h 768"/>
                <a:gd name="T44" fmla="*/ 192 w 641"/>
                <a:gd name="T45" fmla="*/ 383 h 768"/>
                <a:gd name="T46" fmla="*/ 125 w 641"/>
                <a:gd name="T47" fmla="*/ 371 h 768"/>
                <a:gd name="T48" fmla="*/ 69 w 641"/>
                <a:gd name="T49" fmla="*/ 339 h 768"/>
                <a:gd name="T50" fmla="*/ 26 w 641"/>
                <a:gd name="T51" fmla="*/ 288 h 768"/>
                <a:gd name="T52" fmla="*/ 4 w 641"/>
                <a:gd name="T53" fmla="*/ 226 h 768"/>
                <a:gd name="T54" fmla="*/ 4 w 641"/>
                <a:gd name="T55" fmla="*/ 157 h 768"/>
                <a:gd name="T56" fmla="*/ 26 w 641"/>
                <a:gd name="T57" fmla="*/ 95 h 768"/>
                <a:gd name="T58" fmla="*/ 69 w 641"/>
                <a:gd name="T59" fmla="*/ 44 h 768"/>
                <a:gd name="T60" fmla="*/ 125 w 641"/>
                <a:gd name="T61" fmla="*/ 12 h 768"/>
                <a:gd name="T62" fmla="*/ 192 w 641"/>
                <a:gd name="T63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41" h="768">
                  <a:moveTo>
                    <a:pt x="192" y="127"/>
                  </a:moveTo>
                  <a:lnTo>
                    <a:pt x="172" y="131"/>
                  </a:lnTo>
                  <a:lnTo>
                    <a:pt x="155" y="141"/>
                  </a:lnTo>
                  <a:lnTo>
                    <a:pt x="141" y="154"/>
                  </a:lnTo>
                  <a:lnTo>
                    <a:pt x="132" y="172"/>
                  </a:lnTo>
                  <a:lnTo>
                    <a:pt x="129" y="191"/>
                  </a:lnTo>
                  <a:lnTo>
                    <a:pt x="132" y="211"/>
                  </a:lnTo>
                  <a:lnTo>
                    <a:pt x="141" y="230"/>
                  </a:lnTo>
                  <a:lnTo>
                    <a:pt x="155" y="243"/>
                  </a:lnTo>
                  <a:lnTo>
                    <a:pt x="172" y="252"/>
                  </a:lnTo>
                  <a:lnTo>
                    <a:pt x="192" y="256"/>
                  </a:lnTo>
                  <a:lnTo>
                    <a:pt x="213" y="252"/>
                  </a:lnTo>
                  <a:lnTo>
                    <a:pt x="230" y="243"/>
                  </a:lnTo>
                  <a:lnTo>
                    <a:pt x="244" y="230"/>
                  </a:lnTo>
                  <a:lnTo>
                    <a:pt x="254" y="211"/>
                  </a:lnTo>
                  <a:lnTo>
                    <a:pt x="256" y="191"/>
                  </a:lnTo>
                  <a:lnTo>
                    <a:pt x="254" y="172"/>
                  </a:lnTo>
                  <a:lnTo>
                    <a:pt x="244" y="154"/>
                  </a:lnTo>
                  <a:lnTo>
                    <a:pt x="230" y="141"/>
                  </a:lnTo>
                  <a:lnTo>
                    <a:pt x="213" y="131"/>
                  </a:lnTo>
                  <a:lnTo>
                    <a:pt x="192" y="127"/>
                  </a:lnTo>
                  <a:close/>
                  <a:moveTo>
                    <a:pt x="192" y="0"/>
                  </a:moveTo>
                  <a:lnTo>
                    <a:pt x="227" y="2"/>
                  </a:lnTo>
                  <a:lnTo>
                    <a:pt x="260" y="12"/>
                  </a:lnTo>
                  <a:lnTo>
                    <a:pt x="290" y="26"/>
                  </a:lnTo>
                  <a:lnTo>
                    <a:pt x="317" y="46"/>
                  </a:lnTo>
                  <a:lnTo>
                    <a:pt x="340" y="70"/>
                  </a:lnTo>
                  <a:lnTo>
                    <a:pt x="358" y="97"/>
                  </a:lnTo>
                  <a:lnTo>
                    <a:pt x="373" y="127"/>
                  </a:lnTo>
                  <a:lnTo>
                    <a:pt x="411" y="127"/>
                  </a:lnTo>
                  <a:lnTo>
                    <a:pt x="641" y="357"/>
                  </a:lnTo>
                  <a:lnTo>
                    <a:pt x="641" y="538"/>
                  </a:lnTo>
                  <a:lnTo>
                    <a:pt x="411" y="768"/>
                  </a:lnTo>
                  <a:lnTo>
                    <a:pt x="321" y="768"/>
                  </a:lnTo>
                  <a:lnTo>
                    <a:pt x="321" y="639"/>
                  </a:lnTo>
                  <a:lnTo>
                    <a:pt x="358" y="639"/>
                  </a:lnTo>
                  <a:lnTo>
                    <a:pt x="512" y="486"/>
                  </a:lnTo>
                  <a:lnTo>
                    <a:pt x="512" y="410"/>
                  </a:lnTo>
                  <a:lnTo>
                    <a:pt x="369" y="267"/>
                  </a:lnTo>
                  <a:lnTo>
                    <a:pt x="355" y="294"/>
                  </a:lnTo>
                  <a:lnTo>
                    <a:pt x="335" y="320"/>
                  </a:lnTo>
                  <a:lnTo>
                    <a:pt x="313" y="341"/>
                  </a:lnTo>
                  <a:lnTo>
                    <a:pt x="286" y="359"/>
                  </a:lnTo>
                  <a:lnTo>
                    <a:pt x="257" y="373"/>
                  </a:lnTo>
                  <a:lnTo>
                    <a:pt x="226" y="381"/>
                  </a:lnTo>
                  <a:lnTo>
                    <a:pt x="192" y="383"/>
                  </a:lnTo>
                  <a:lnTo>
                    <a:pt x="157" y="381"/>
                  </a:lnTo>
                  <a:lnTo>
                    <a:pt x="125" y="371"/>
                  </a:lnTo>
                  <a:lnTo>
                    <a:pt x="96" y="357"/>
                  </a:lnTo>
                  <a:lnTo>
                    <a:pt x="69" y="339"/>
                  </a:lnTo>
                  <a:lnTo>
                    <a:pt x="46" y="315"/>
                  </a:lnTo>
                  <a:lnTo>
                    <a:pt x="26" y="288"/>
                  </a:lnTo>
                  <a:lnTo>
                    <a:pt x="12" y="258"/>
                  </a:lnTo>
                  <a:lnTo>
                    <a:pt x="4" y="226"/>
                  </a:lnTo>
                  <a:lnTo>
                    <a:pt x="0" y="191"/>
                  </a:lnTo>
                  <a:lnTo>
                    <a:pt x="4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6" y="68"/>
                  </a:lnTo>
                  <a:lnTo>
                    <a:pt x="69" y="44"/>
                  </a:lnTo>
                  <a:lnTo>
                    <a:pt x="96" y="26"/>
                  </a:lnTo>
                  <a:lnTo>
                    <a:pt x="125" y="12"/>
                  </a:lnTo>
                  <a:lnTo>
                    <a:pt x="157" y="2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0"/>
            <p:cNvSpPr>
              <a:spLocks noChangeArrowheads="1"/>
            </p:cNvSpPr>
            <p:nvPr/>
          </p:nvSpPr>
          <p:spPr bwMode="auto">
            <a:xfrm>
              <a:off x="5120" y="1840"/>
              <a:ext cx="703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1"/>
            <p:cNvSpPr>
              <a:spLocks noEditPoints="1"/>
            </p:cNvSpPr>
            <p:nvPr/>
          </p:nvSpPr>
          <p:spPr bwMode="auto">
            <a:xfrm>
              <a:off x="5120" y="2096"/>
              <a:ext cx="703" cy="2047"/>
            </a:xfrm>
            <a:custGeom>
              <a:avLst/>
              <a:gdLst>
                <a:gd name="T0" fmla="*/ 491 w 703"/>
                <a:gd name="T1" fmla="*/ 1795 h 2047"/>
                <a:gd name="T2" fmla="*/ 459 w 703"/>
                <a:gd name="T3" fmla="*/ 1817 h 2047"/>
                <a:gd name="T4" fmla="*/ 447 w 703"/>
                <a:gd name="T5" fmla="*/ 1855 h 2047"/>
                <a:gd name="T6" fmla="*/ 459 w 703"/>
                <a:gd name="T7" fmla="*/ 1893 h 2047"/>
                <a:gd name="T8" fmla="*/ 491 w 703"/>
                <a:gd name="T9" fmla="*/ 1916 h 2047"/>
                <a:gd name="T10" fmla="*/ 531 w 703"/>
                <a:gd name="T11" fmla="*/ 1916 h 2047"/>
                <a:gd name="T12" fmla="*/ 562 w 703"/>
                <a:gd name="T13" fmla="*/ 1893 h 2047"/>
                <a:gd name="T14" fmla="*/ 576 w 703"/>
                <a:gd name="T15" fmla="*/ 1855 h 2047"/>
                <a:gd name="T16" fmla="*/ 562 w 703"/>
                <a:gd name="T17" fmla="*/ 1817 h 2047"/>
                <a:gd name="T18" fmla="*/ 531 w 703"/>
                <a:gd name="T19" fmla="*/ 1795 h 2047"/>
                <a:gd name="T20" fmla="*/ 0 w 703"/>
                <a:gd name="T21" fmla="*/ 0 h 2047"/>
                <a:gd name="T22" fmla="*/ 576 w 703"/>
                <a:gd name="T23" fmla="*/ 230 h 2047"/>
                <a:gd name="T24" fmla="*/ 606 w 703"/>
                <a:gd name="T25" fmla="*/ 1689 h 2047"/>
                <a:gd name="T26" fmla="*/ 656 w 703"/>
                <a:gd name="T27" fmla="*/ 1731 h 2047"/>
                <a:gd name="T28" fmla="*/ 691 w 703"/>
                <a:gd name="T29" fmla="*/ 1787 h 2047"/>
                <a:gd name="T30" fmla="*/ 703 w 703"/>
                <a:gd name="T31" fmla="*/ 1855 h 2047"/>
                <a:gd name="T32" fmla="*/ 691 w 703"/>
                <a:gd name="T33" fmla="*/ 1922 h 2047"/>
                <a:gd name="T34" fmla="*/ 657 w 703"/>
                <a:gd name="T35" fmla="*/ 1978 h 2047"/>
                <a:gd name="T36" fmla="*/ 608 w 703"/>
                <a:gd name="T37" fmla="*/ 2021 h 2047"/>
                <a:gd name="T38" fmla="*/ 546 w 703"/>
                <a:gd name="T39" fmla="*/ 2043 h 2047"/>
                <a:gd name="T40" fmla="*/ 477 w 703"/>
                <a:gd name="T41" fmla="*/ 2043 h 2047"/>
                <a:gd name="T42" fmla="*/ 415 w 703"/>
                <a:gd name="T43" fmla="*/ 2021 h 2047"/>
                <a:gd name="T44" fmla="*/ 364 w 703"/>
                <a:gd name="T45" fmla="*/ 1978 h 2047"/>
                <a:gd name="T46" fmla="*/ 332 w 703"/>
                <a:gd name="T47" fmla="*/ 1922 h 2047"/>
                <a:gd name="T48" fmla="*/ 320 w 703"/>
                <a:gd name="T49" fmla="*/ 1855 h 2047"/>
                <a:gd name="T50" fmla="*/ 332 w 703"/>
                <a:gd name="T51" fmla="*/ 1787 h 2047"/>
                <a:gd name="T52" fmla="*/ 365 w 703"/>
                <a:gd name="T53" fmla="*/ 1731 h 2047"/>
                <a:gd name="T54" fmla="*/ 417 w 703"/>
                <a:gd name="T55" fmla="*/ 1689 h 2047"/>
                <a:gd name="T56" fmla="*/ 447 w 703"/>
                <a:gd name="T57" fmla="*/ 795 h 2047"/>
                <a:gd name="T58" fmla="*/ 0 w 703"/>
                <a:gd name="T59" fmla="*/ 640 h 2047"/>
                <a:gd name="T60" fmla="*/ 346 w 703"/>
                <a:gd name="T61" fmla="*/ 512 h 2047"/>
                <a:gd name="T62" fmla="*/ 447 w 703"/>
                <a:gd name="T63" fmla="*/ 283 h 2047"/>
                <a:gd name="T64" fmla="*/ 0 w 703"/>
                <a:gd name="T65" fmla="*/ 128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3" h="2047">
                  <a:moveTo>
                    <a:pt x="511" y="1791"/>
                  </a:moveTo>
                  <a:lnTo>
                    <a:pt x="491" y="1795"/>
                  </a:lnTo>
                  <a:lnTo>
                    <a:pt x="473" y="1803"/>
                  </a:lnTo>
                  <a:lnTo>
                    <a:pt x="459" y="1817"/>
                  </a:lnTo>
                  <a:lnTo>
                    <a:pt x="451" y="1835"/>
                  </a:lnTo>
                  <a:lnTo>
                    <a:pt x="447" y="1855"/>
                  </a:lnTo>
                  <a:lnTo>
                    <a:pt x="451" y="1875"/>
                  </a:lnTo>
                  <a:lnTo>
                    <a:pt x="459" y="1893"/>
                  </a:lnTo>
                  <a:lnTo>
                    <a:pt x="473" y="1906"/>
                  </a:lnTo>
                  <a:lnTo>
                    <a:pt x="491" y="1916"/>
                  </a:lnTo>
                  <a:lnTo>
                    <a:pt x="511" y="1920"/>
                  </a:lnTo>
                  <a:lnTo>
                    <a:pt x="531" y="1916"/>
                  </a:lnTo>
                  <a:lnTo>
                    <a:pt x="549" y="1906"/>
                  </a:lnTo>
                  <a:lnTo>
                    <a:pt x="562" y="1893"/>
                  </a:lnTo>
                  <a:lnTo>
                    <a:pt x="572" y="1875"/>
                  </a:lnTo>
                  <a:lnTo>
                    <a:pt x="576" y="1855"/>
                  </a:lnTo>
                  <a:lnTo>
                    <a:pt x="572" y="1835"/>
                  </a:lnTo>
                  <a:lnTo>
                    <a:pt x="562" y="1817"/>
                  </a:lnTo>
                  <a:lnTo>
                    <a:pt x="549" y="1803"/>
                  </a:lnTo>
                  <a:lnTo>
                    <a:pt x="531" y="1795"/>
                  </a:lnTo>
                  <a:lnTo>
                    <a:pt x="511" y="1791"/>
                  </a:lnTo>
                  <a:close/>
                  <a:moveTo>
                    <a:pt x="0" y="0"/>
                  </a:moveTo>
                  <a:lnTo>
                    <a:pt x="346" y="0"/>
                  </a:lnTo>
                  <a:lnTo>
                    <a:pt x="576" y="230"/>
                  </a:lnTo>
                  <a:lnTo>
                    <a:pt x="576" y="1674"/>
                  </a:lnTo>
                  <a:lnTo>
                    <a:pt x="606" y="1689"/>
                  </a:lnTo>
                  <a:lnTo>
                    <a:pt x="633" y="1708"/>
                  </a:lnTo>
                  <a:lnTo>
                    <a:pt x="656" y="1731"/>
                  </a:lnTo>
                  <a:lnTo>
                    <a:pt x="677" y="1757"/>
                  </a:lnTo>
                  <a:lnTo>
                    <a:pt x="691" y="1787"/>
                  </a:lnTo>
                  <a:lnTo>
                    <a:pt x="699" y="1820"/>
                  </a:lnTo>
                  <a:lnTo>
                    <a:pt x="703" y="1855"/>
                  </a:lnTo>
                  <a:lnTo>
                    <a:pt x="699" y="1890"/>
                  </a:lnTo>
                  <a:lnTo>
                    <a:pt x="691" y="1922"/>
                  </a:lnTo>
                  <a:lnTo>
                    <a:pt x="677" y="1952"/>
                  </a:lnTo>
                  <a:lnTo>
                    <a:pt x="657" y="1978"/>
                  </a:lnTo>
                  <a:lnTo>
                    <a:pt x="634" y="2001"/>
                  </a:lnTo>
                  <a:lnTo>
                    <a:pt x="608" y="2021"/>
                  </a:lnTo>
                  <a:lnTo>
                    <a:pt x="578" y="2035"/>
                  </a:lnTo>
                  <a:lnTo>
                    <a:pt x="546" y="2043"/>
                  </a:lnTo>
                  <a:lnTo>
                    <a:pt x="511" y="2047"/>
                  </a:lnTo>
                  <a:lnTo>
                    <a:pt x="477" y="2043"/>
                  </a:lnTo>
                  <a:lnTo>
                    <a:pt x="445" y="2035"/>
                  </a:lnTo>
                  <a:lnTo>
                    <a:pt x="415" y="2021"/>
                  </a:lnTo>
                  <a:lnTo>
                    <a:pt x="388" y="2001"/>
                  </a:lnTo>
                  <a:lnTo>
                    <a:pt x="364" y="1978"/>
                  </a:lnTo>
                  <a:lnTo>
                    <a:pt x="345" y="1952"/>
                  </a:lnTo>
                  <a:lnTo>
                    <a:pt x="332" y="1922"/>
                  </a:lnTo>
                  <a:lnTo>
                    <a:pt x="322" y="1890"/>
                  </a:lnTo>
                  <a:lnTo>
                    <a:pt x="320" y="1855"/>
                  </a:lnTo>
                  <a:lnTo>
                    <a:pt x="322" y="1820"/>
                  </a:lnTo>
                  <a:lnTo>
                    <a:pt x="332" y="1787"/>
                  </a:lnTo>
                  <a:lnTo>
                    <a:pt x="346" y="1757"/>
                  </a:lnTo>
                  <a:lnTo>
                    <a:pt x="365" y="1731"/>
                  </a:lnTo>
                  <a:lnTo>
                    <a:pt x="389" y="1708"/>
                  </a:lnTo>
                  <a:lnTo>
                    <a:pt x="417" y="1689"/>
                  </a:lnTo>
                  <a:lnTo>
                    <a:pt x="447" y="1674"/>
                  </a:lnTo>
                  <a:lnTo>
                    <a:pt x="447" y="795"/>
                  </a:lnTo>
                  <a:lnTo>
                    <a:pt x="293" y="640"/>
                  </a:lnTo>
                  <a:lnTo>
                    <a:pt x="0" y="640"/>
                  </a:lnTo>
                  <a:lnTo>
                    <a:pt x="0" y="512"/>
                  </a:lnTo>
                  <a:lnTo>
                    <a:pt x="346" y="512"/>
                  </a:lnTo>
                  <a:lnTo>
                    <a:pt x="447" y="613"/>
                  </a:lnTo>
                  <a:lnTo>
                    <a:pt x="447" y="283"/>
                  </a:lnTo>
                  <a:lnTo>
                    <a:pt x="293" y="128"/>
                  </a:lnTo>
                  <a:lnTo>
                    <a:pt x="0" y="1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22"/>
            <p:cNvSpPr>
              <a:spLocks noChangeArrowheads="1"/>
            </p:cNvSpPr>
            <p:nvPr/>
          </p:nvSpPr>
          <p:spPr bwMode="auto">
            <a:xfrm>
              <a:off x="5120" y="2352"/>
              <a:ext cx="255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3"/>
            <p:cNvSpPr>
              <a:spLocks noEditPoints="1"/>
            </p:cNvSpPr>
            <p:nvPr/>
          </p:nvSpPr>
          <p:spPr bwMode="auto">
            <a:xfrm>
              <a:off x="4543" y="2863"/>
              <a:ext cx="897" cy="1280"/>
            </a:xfrm>
            <a:custGeom>
              <a:avLst/>
              <a:gdLst>
                <a:gd name="T0" fmla="*/ 301 w 897"/>
                <a:gd name="T1" fmla="*/ 1028 h 1280"/>
                <a:gd name="T2" fmla="*/ 269 w 897"/>
                <a:gd name="T3" fmla="*/ 1050 h 1280"/>
                <a:gd name="T4" fmla="*/ 256 w 897"/>
                <a:gd name="T5" fmla="*/ 1088 h 1280"/>
                <a:gd name="T6" fmla="*/ 269 w 897"/>
                <a:gd name="T7" fmla="*/ 1126 h 1280"/>
                <a:gd name="T8" fmla="*/ 301 w 897"/>
                <a:gd name="T9" fmla="*/ 1149 h 1280"/>
                <a:gd name="T10" fmla="*/ 340 w 897"/>
                <a:gd name="T11" fmla="*/ 1149 h 1280"/>
                <a:gd name="T12" fmla="*/ 373 w 897"/>
                <a:gd name="T13" fmla="*/ 1126 h 1280"/>
                <a:gd name="T14" fmla="*/ 385 w 897"/>
                <a:gd name="T15" fmla="*/ 1088 h 1280"/>
                <a:gd name="T16" fmla="*/ 373 w 897"/>
                <a:gd name="T17" fmla="*/ 1050 h 1280"/>
                <a:gd name="T18" fmla="*/ 340 w 897"/>
                <a:gd name="T19" fmla="*/ 1028 h 1280"/>
                <a:gd name="T20" fmla="*/ 577 w 897"/>
                <a:gd name="T21" fmla="*/ 0 h 1280"/>
                <a:gd name="T22" fmla="*/ 897 w 897"/>
                <a:gd name="T23" fmla="*/ 230 h 1280"/>
                <a:gd name="T24" fmla="*/ 667 w 897"/>
                <a:gd name="T25" fmla="*/ 1153 h 1280"/>
                <a:gd name="T26" fmla="*/ 487 w 897"/>
                <a:gd name="T27" fmla="*/ 1183 h 1280"/>
                <a:gd name="T28" fmla="*/ 445 w 897"/>
                <a:gd name="T29" fmla="*/ 1233 h 1280"/>
                <a:gd name="T30" fmla="*/ 388 w 897"/>
                <a:gd name="T31" fmla="*/ 1268 h 1280"/>
                <a:gd name="T32" fmla="*/ 321 w 897"/>
                <a:gd name="T33" fmla="*/ 1280 h 1280"/>
                <a:gd name="T34" fmla="*/ 254 w 897"/>
                <a:gd name="T35" fmla="*/ 1268 h 1280"/>
                <a:gd name="T36" fmla="*/ 197 w 897"/>
                <a:gd name="T37" fmla="*/ 1234 h 1280"/>
                <a:gd name="T38" fmla="*/ 155 w 897"/>
                <a:gd name="T39" fmla="*/ 1185 h 1280"/>
                <a:gd name="T40" fmla="*/ 132 w 897"/>
                <a:gd name="T41" fmla="*/ 1123 h 1280"/>
                <a:gd name="T42" fmla="*/ 132 w 897"/>
                <a:gd name="T43" fmla="*/ 1054 h 1280"/>
                <a:gd name="T44" fmla="*/ 155 w 897"/>
                <a:gd name="T45" fmla="*/ 992 h 1280"/>
                <a:gd name="T46" fmla="*/ 197 w 897"/>
                <a:gd name="T47" fmla="*/ 941 h 1280"/>
                <a:gd name="T48" fmla="*/ 254 w 897"/>
                <a:gd name="T49" fmla="*/ 909 h 1280"/>
                <a:gd name="T50" fmla="*/ 321 w 897"/>
                <a:gd name="T51" fmla="*/ 897 h 1280"/>
                <a:gd name="T52" fmla="*/ 388 w 897"/>
                <a:gd name="T53" fmla="*/ 909 h 1280"/>
                <a:gd name="T54" fmla="*/ 445 w 897"/>
                <a:gd name="T55" fmla="*/ 942 h 1280"/>
                <a:gd name="T56" fmla="*/ 487 w 897"/>
                <a:gd name="T57" fmla="*/ 994 h 1280"/>
                <a:gd name="T58" fmla="*/ 614 w 897"/>
                <a:gd name="T59" fmla="*/ 1024 h 1280"/>
                <a:gd name="T60" fmla="*/ 768 w 897"/>
                <a:gd name="T61" fmla="*/ 768 h 1280"/>
                <a:gd name="T62" fmla="*/ 0 w 897"/>
                <a:gd name="T63" fmla="*/ 577 h 1280"/>
                <a:gd name="T64" fmla="*/ 129 w 897"/>
                <a:gd name="T65" fmla="*/ 641 h 1280"/>
                <a:gd name="T66" fmla="*/ 768 w 897"/>
                <a:gd name="T67" fmla="*/ 282 h 1280"/>
                <a:gd name="T68" fmla="*/ 577 w 897"/>
                <a:gd name="T69" fmla="*/ 129 h 1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97" h="1280">
                  <a:moveTo>
                    <a:pt x="321" y="1024"/>
                  </a:moveTo>
                  <a:lnTo>
                    <a:pt x="301" y="1028"/>
                  </a:lnTo>
                  <a:lnTo>
                    <a:pt x="282" y="1036"/>
                  </a:lnTo>
                  <a:lnTo>
                    <a:pt x="269" y="1050"/>
                  </a:lnTo>
                  <a:lnTo>
                    <a:pt x="260" y="1068"/>
                  </a:lnTo>
                  <a:lnTo>
                    <a:pt x="256" y="1088"/>
                  </a:lnTo>
                  <a:lnTo>
                    <a:pt x="260" y="1108"/>
                  </a:lnTo>
                  <a:lnTo>
                    <a:pt x="269" y="1126"/>
                  </a:lnTo>
                  <a:lnTo>
                    <a:pt x="282" y="1139"/>
                  </a:lnTo>
                  <a:lnTo>
                    <a:pt x="301" y="1149"/>
                  </a:lnTo>
                  <a:lnTo>
                    <a:pt x="321" y="1153"/>
                  </a:lnTo>
                  <a:lnTo>
                    <a:pt x="340" y="1149"/>
                  </a:lnTo>
                  <a:lnTo>
                    <a:pt x="358" y="1139"/>
                  </a:lnTo>
                  <a:lnTo>
                    <a:pt x="373" y="1126"/>
                  </a:lnTo>
                  <a:lnTo>
                    <a:pt x="381" y="1108"/>
                  </a:lnTo>
                  <a:lnTo>
                    <a:pt x="385" y="1088"/>
                  </a:lnTo>
                  <a:lnTo>
                    <a:pt x="381" y="1068"/>
                  </a:lnTo>
                  <a:lnTo>
                    <a:pt x="373" y="1050"/>
                  </a:lnTo>
                  <a:lnTo>
                    <a:pt x="358" y="1036"/>
                  </a:lnTo>
                  <a:lnTo>
                    <a:pt x="340" y="1028"/>
                  </a:lnTo>
                  <a:lnTo>
                    <a:pt x="321" y="1024"/>
                  </a:lnTo>
                  <a:close/>
                  <a:moveTo>
                    <a:pt x="577" y="0"/>
                  </a:moveTo>
                  <a:lnTo>
                    <a:pt x="667" y="0"/>
                  </a:lnTo>
                  <a:lnTo>
                    <a:pt x="897" y="230"/>
                  </a:lnTo>
                  <a:lnTo>
                    <a:pt x="897" y="923"/>
                  </a:lnTo>
                  <a:lnTo>
                    <a:pt x="667" y="1153"/>
                  </a:lnTo>
                  <a:lnTo>
                    <a:pt x="500" y="1153"/>
                  </a:lnTo>
                  <a:lnTo>
                    <a:pt x="487" y="1183"/>
                  </a:lnTo>
                  <a:lnTo>
                    <a:pt x="468" y="1210"/>
                  </a:lnTo>
                  <a:lnTo>
                    <a:pt x="445" y="1233"/>
                  </a:lnTo>
                  <a:lnTo>
                    <a:pt x="418" y="1254"/>
                  </a:lnTo>
                  <a:lnTo>
                    <a:pt x="388" y="1268"/>
                  </a:lnTo>
                  <a:lnTo>
                    <a:pt x="356" y="1276"/>
                  </a:lnTo>
                  <a:lnTo>
                    <a:pt x="321" y="1280"/>
                  </a:lnTo>
                  <a:lnTo>
                    <a:pt x="286" y="1276"/>
                  </a:lnTo>
                  <a:lnTo>
                    <a:pt x="254" y="1268"/>
                  </a:lnTo>
                  <a:lnTo>
                    <a:pt x="224" y="1254"/>
                  </a:lnTo>
                  <a:lnTo>
                    <a:pt x="197" y="1234"/>
                  </a:lnTo>
                  <a:lnTo>
                    <a:pt x="174" y="1211"/>
                  </a:lnTo>
                  <a:lnTo>
                    <a:pt x="155" y="1185"/>
                  </a:lnTo>
                  <a:lnTo>
                    <a:pt x="141" y="1155"/>
                  </a:lnTo>
                  <a:lnTo>
                    <a:pt x="132" y="1123"/>
                  </a:lnTo>
                  <a:lnTo>
                    <a:pt x="129" y="1088"/>
                  </a:lnTo>
                  <a:lnTo>
                    <a:pt x="132" y="1054"/>
                  </a:lnTo>
                  <a:lnTo>
                    <a:pt x="141" y="1022"/>
                  </a:lnTo>
                  <a:lnTo>
                    <a:pt x="155" y="992"/>
                  </a:lnTo>
                  <a:lnTo>
                    <a:pt x="174" y="965"/>
                  </a:lnTo>
                  <a:lnTo>
                    <a:pt x="197" y="941"/>
                  </a:lnTo>
                  <a:lnTo>
                    <a:pt x="224" y="922"/>
                  </a:lnTo>
                  <a:lnTo>
                    <a:pt x="254" y="909"/>
                  </a:lnTo>
                  <a:lnTo>
                    <a:pt x="286" y="899"/>
                  </a:lnTo>
                  <a:lnTo>
                    <a:pt x="321" y="897"/>
                  </a:lnTo>
                  <a:lnTo>
                    <a:pt x="356" y="899"/>
                  </a:lnTo>
                  <a:lnTo>
                    <a:pt x="388" y="909"/>
                  </a:lnTo>
                  <a:lnTo>
                    <a:pt x="418" y="923"/>
                  </a:lnTo>
                  <a:lnTo>
                    <a:pt x="445" y="942"/>
                  </a:lnTo>
                  <a:lnTo>
                    <a:pt x="468" y="966"/>
                  </a:lnTo>
                  <a:lnTo>
                    <a:pt x="487" y="994"/>
                  </a:lnTo>
                  <a:lnTo>
                    <a:pt x="500" y="1024"/>
                  </a:lnTo>
                  <a:lnTo>
                    <a:pt x="614" y="1024"/>
                  </a:lnTo>
                  <a:lnTo>
                    <a:pt x="768" y="870"/>
                  </a:lnTo>
                  <a:lnTo>
                    <a:pt x="768" y="768"/>
                  </a:lnTo>
                  <a:lnTo>
                    <a:pt x="0" y="768"/>
                  </a:lnTo>
                  <a:lnTo>
                    <a:pt x="0" y="577"/>
                  </a:lnTo>
                  <a:lnTo>
                    <a:pt x="129" y="577"/>
                  </a:lnTo>
                  <a:lnTo>
                    <a:pt x="129" y="641"/>
                  </a:lnTo>
                  <a:lnTo>
                    <a:pt x="768" y="641"/>
                  </a:lnTo>
                  <a:lnTo>
                    <a:pt x="768" y="282"/>
                  </a:lnTo>
                  <a:lnTo>
                    <a:pt x="614" y="129"/>
                  </a:lnTo>
                  <a:lnTo>
                    <a:pt x="577" y="129"/>
                  </a:lnTo>
                  <a:lnTo>
                    <a:pt x="5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4"/>
            <p:cNvSpPr>
              <a:spLocks noEditPoints="1"/>
            </p:cNvSpPr>
            <p:nvPr/>
          </p:nvSpPr>
          <p:spPr bwMode="auto">
            <a:xfrm>
              <a:off x="2305" y="3375"/>
              <a:ext cx="832" cy="385"/>
            </a:xfrm>
            <a:custGeom>
              <a:avLst/>
              <a:gdLst>
                <a:gd name="T0" fmla="*/ 191 w 832"/>
                <a:gd name="T1" fmla="*/ 129 h 385"/>
                <a:gd name="T2" fmla="*/ 171 w 832"/>
                <a:gd name="T3" fmla="*/ 131 h 385"/>
                <a:gd name="T4" fmla="*/ 154 w 832"/>
                <a:gd name="T5" fmla="*/ 141 h 385"/>
                <a:gd name="T6" fmla="*/ 140 w 832"/>
                <a:gd name="T7" fmla="*/ 155 h 385"/>
                <a:gd name="T8" fmla="*/ 131 w 832"/>
                <a:gd name="T9" fmla="*/ 172 h 385"/>
                <a:gd name="T10" fmla="*/ 128 w 832"/>
                <a:gd name="T11" fmla="*/ 192 h 385"/>
                <a:gd name="T12" fmla="*/ 131 w 832"/>
                <a:gd name="T13" fmla="*/ 213 h 385"/>
                <a:gd name="T14" fmla="*/ 140 w 832"/>
                <a:gd name="T15" fmla="*/ 230 h 385"/>
                <a:gd name="T16" fmla="*/ 154 w 832"/>
                <a:gd name="T17" fmla="*/ 244 h 385"/>
                <a:gd name="T18" fmla="*/ 171 w 832"/>
                <a:gd name="T19" fmla="*/ 252 h 385"/>
                <a:gd name="T20" fmla="*/ 191 w 832"/>
                <a:gd name="T21" fmla="*/ 256 h 385"/>
                <a:gd name="T22" fmla="*/ 212 w 832"/>
                <a:gd name="T23" fmla="*/ 252 h 385"/>
                <a:gd name="T24" fmla="*/ 230 w 832"/>
                <a:gd name="T25" fmla="*/ 244 h 385"/>
                <a:gd name="T26" fmla="*/ 243 w 832"/>
                <a:gd name="T27" fmla="*/ 230 h 385"/>
                <a:gd name="T28" fmla="*/ 253 w 832"/>
                <a:gd name="T29" fmla="*/ 213 h 385"/>
                <a:gd name="T30" fmla="*/ 255 w 832"/>
                <a:gd name="T31" fmla="*/ 192 h 385"/>
                <a:gd name="T32" fmla="*/ 253 w 832"/>
                <a:gd name="T33" fmla="*/ 172 h 385"/>
                <a:gd name="T34" fmla="*/ 243 w 832"/>
                <a:gd name="T35" fmla="*/ 155 h 385"/>
                <a:gd name="T36" fmla="*/ 230 w 832"/>
                <a:gd name="T37" fmla="*/ 141 h 385"/>
                <a:gd name="T38" fmla="*/ 212 w 832"/>
                <a:gd name="T39" fmla="*/ 131 h 385"/>
                <a:gd name="T40" fmla="*/ 191 w 832"/>
                <a:gd name="T41" fmla="*/ 129 h 385"/>
                <a:gd name="T42" fmla="*/ 191 w 832"/>
                <a:gd name="T43" fmla="*/ 0 h 385"/>
                <a:gd name="T44" fmla="*/ 226 w 832"/>
                <a:gd name="T45" fmla="*/ 4 h 385"/>
                <a:gd name="T46" fmla="*/ 259 w 832"/>
                <a:gd name="T47" fmla="*/ 13 h 385"/>
                <a:gd name="T48" fmla="*/ 289 w 832"/>
                <a:gd name="T49" fmla="*/ 28 h 385"/>
                <a:gd name="T50" fmla="*/ 316 w 832"/>
                <a:gd name="T51" fmla="*/ 47 h 385"/>
                <a:gd name="T52" fmla="*/ 339 w 832"/>
                <a:gd name="T53" fmla="*/ 71 h 385"/>
                <a:gd name="T54" fmla="*/ 358 w 832"/>
                <a:gd name="T55" fmla="*/ 97 h 385"/>
                <a:gd name="T56" fmla="*/ 372 w 832"/>
                <a:gd name="T57" fmla="*/ 129 h 385"/>
                <a:gd name="T58" fmla="*/ 703 w 832"/>
                <a:gd name="T59" fmla="*/ 129 h 385"/>
                <a:gd name="T60" fmla="*/ 703 w 832"/>
                <a:gd name="T61" fmla="*/ 65 h 385"/>
                <a:gd name="T62" fmla="*/ 832 w 832"/>
                <a:gd name="T63" fmla="*/ 65 h 385"/>
                <a:gd name="T64" fmla="*/ 832 w 832"/>
                <a:gd name="T65" fmla="*/ 256 h 385"/>
                <a:gd name="T66" fmla="*/ 372 w 832"/>
                <a:gd name="T67" fmla="*/ 256 h 385"/>
                <a:gd name="T68" fmla="*/ 358 w 832"/>
                <a:gd name="T69" fmla="*/ 287 h 385"/>
                <a:gd name="T70" fmla="*/ 339 w 832"/>
                <a:gd name="T71" fmla="*/ 314 h 385"/>
                <a:gd name="T72" fmla="*/ 316 w 832"/>
                <a:gd name="T73" fmla="*/ 338 h 385"/>
                <a:gd name="T74" fmla="*/ 289 w 832"/>
                <a:gd name="T75" fmla="*/ 357 h 385"/>
                <a:gd name="T76" fmla="*/ 259 w 832"/>
                <a:gd name="T77" fmla="*/ 371 h 385"/>
                <a:gd name="T78" fmla="*/ 226 w 832"/>
                <a:gd name="T79" fmla="*/ 381 h 385"/>
                <a:gd name="T80" fmla="*/ 191 w 832"/>
                <a:gd name="T81" fmla="*/ 385 h 385"/>
                <a:gd name="T82" fmla="*/ 158 w 832"/>
                <a:gd name="T83" fmla="*/ 381 h 385"/>
                <a:gd name="T84" fmla="*/ 125 w 832"/>
                <a:gd name="T85" fmla="*/ 373 h 385"/>
                <a:gd name="T86" fmla="*/ 95 w 832"/>
                <a:gd name="T87" fmla="*/ 358 h 385"/>
                <a:gd name="T88" fmla="*/ 68 w 832"/>
                <a:gd name="T89" fmla="*/ 339 h 385"/>
                <a:gd name="T90" fmla="*/ 45 w 832"/>
                <a:gd name="T91" fmla="*/ 316 h 385"/>
                <a:gd name="T92" fmla="*/ 26 w 832"/>
                <a:gd name="T93" fmla="*/ 288 h 385"/>
                <a:gd name="T94" fmla="*/ 12 w 832"/>
                <a:gd name="T95" fmla="*/ 260 h 385"/>
                <a:gd name="T96" fmla="*/ 3 w 832"/>
                <a:gd name="T97" fmla="*/ 227 h 385"/>
                <a:gd name="T98" fmla="*/ 0 w 832"/>
                <a:gd name="T99" fmla="*/ 192 h 385"/>
                <a:gd name="T100" fmla="*/ 3 w 832"/>
                <a:gd name="T101" fmla="*/ 157 h 385"/>
                <a:gd name="T102" fmla="*/ 12 w 832"/>
                <a:gd name="T103" fmla="*/ 125 h 385"/>
                <a:gd name="T104" fmla="*/ 26 w 832"/>
                <a:gd name="T105" fmla="*/ 95 h 385"/>
                <a:gd name="T106" fmla="*/ 45 w 832"/>
                <a:gd name="T107" fmla="*/ 69 h 385"/>
                <a:gd name="T108" fmla="*/ 68 w 832"/>
                <a:gd name="T109" fmla="*/ 46 h 385"/>
                <a:gd name="T110" fmla="*/ 95 w 832"/>
                <a:gd name="T111" fmla="*/ 26 h 385"/>
                <a:gd name="T112" fmla="*/ 125 w 832"/>
                <a:gd name="T113" fmla="*/ 12 h 385"/>
                <a:gd name="T114" fmla="*/ 158 w 832"/>
                <a:gd name="T115" fmla="*/ 4 h 385"/>
                <a:gd name="T116" fmla="*/ 191 w 832"/>
                <a:gd name="T117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32" h="385">
                  <a:moveTo>
                    <a:pt x="191" y="129"/>
                  </a:moveTo>
                  <a:lnTo>
                    <a:pt x="171" y="131"/>
                  </a:lnTo>
                  <a:lnTo>
                    <a:pt x="154" y="141"/>
                  </a:lnTo>
                  <a:lnTo>
                    <a:pt x="140" y="155"/>
                  </a:lnTo>
                  <a:lnTo>
                    <a:pt x="131" y="172"/>
                  </a:lnTo>
                  <a:lnTo>
                    <a:pt x="128" y="192"/>
                  </a:lnTo>
                  <a:lnTo>
                    <a:pt x="131" y="213"/>
                  </a:lnTo>
                  <a:lnTo>
                    <a:pt x="140" y="230"/>
                  </a:lnTo>
                  <a:lnTo>
                    <a:pt x="154" y="244"/>
                  </a:lnTo>
                  <a:lnTo>
                    <a:pt x="171" y="252"/>
                  </a:lnTo>
                  <a:lnTo>
                    <a:pt x="191" y="256"/>
                  </a:lnTo>
                  <a:lnTo>
                    <a:pt x="212" y="252"/>
                  </a:lnTo>
                  <a:lnTo>
                    <a:pt x="230" y="244"/>
                  </a:lnTo>
                  <a:lnTo>
                    <a:pt x="243" y="230"/>
                  </a:lnTo>
                  <a:lnTo>
                    <a:pt x="253" y="213"/>
                  </a:lnTo>
                  <a:lnTo>
                    <a:pt x="255" y="192"/>
                  </a:lnTo>
                  <a:lnTo>
                    <a:pt x="253" y="172"/>
                  </a:lnTo>
                  <a:lnTo>
                    <a:pt x="243" y="155"/>
                  </a:lnTo>
                  <a:lnTo>
                    <a:pt x="230" y="141"/>
                  </a:lnTo>
                  <a:lnTo>
                    <a:pt x="212" y="131"/>
                  </a:lnTo>
                  <a:lnTo>
                    <a:pt x="191" y="129"/>
                  </a:lnTo>
                  <a:close/>
                  <a:moveTo>
                    <a:pt x="191" y="0"/>
                  </a:moveTo>
                  <a:lnTo>
                    <a:pt x="226" y="4"/>
                  </a:lnTo>
                  <a:lnTo>
                    <a:pt x="259" y="13"/>
                  </a:lnTo>
                  <a:lnTo>
                    <a:pt x="289" y="28"/>
                  </a:lnTo>
                  <a:lnTo>
                    <a:pt x="316" y="47"/>
                  </a:lnTo>
                  <a:lnTo>
                    <a:pt x="339" y="71"/>
                  </a:lnTo>
                  <a:lnTo>
                    <a:pt x="358" y="97"/>
                  </a:lnTo>
                  <a:lnTo>
                    <a:pt x="372" y="129"/>
                  </a:lnTo>
                  <a:lnTo>
                    <a:pt x="703" y="129"/>
                  </a:lnTo>
                  <a:lnTo>
                    <a:pt x="703" y="65"/>
                  </a:lnTo>
                  <a:lnTo>
                    <a:pt x="832" y="65"/>
                  </a:lnTo>
                  <a:lnTo>
                    <a:pt x="832" y="256"/>
                  </a:lnTo>
                  <a:lnTo>
                    <a:pt x="372" y="256"/>
                  </a:lnTo>
                  <a:lnTo>
                    <a:pt x="358" y="287"/>
                  </a:lnTo>
                  <a:lnTo>
                    <a:pt x="339" y="314"/>
                  </a:lnTo>
                  <a:lnTo>
                    <a:pt x="316" y="338"/>
                  </a:lnTo>
                  <a:lnTo>
                    <a:pt x="289" y="357"/>
                  </a:lnTo>
                  <a:lnTo>
                    <a:pt x="259" y="371"/>
                  </a:lnTo>
                  <a:lnTo>
                    <a:pt x="226" y="381"/>
                  </a:lnTo>
                  <a:lnTo>
                    <a:pt x="191" y="385"/>
                  </a:lnTo>
                  <a:lnTo>
                    <a:pt x="158" y="381"/>
                  </a:lnTo>
                  <a:lnTo>
                    <a:pt x="125" y="373"/>
                  </a:lnTo>
                  <a:lnTo>
                    <a:pt x="95" y="358"/>
                  </a:lnTo>
                  <a:lnTo>
                    <a:pt x="68" y="339"/>
                  </a:lnTo>
                  <a:lnTo>
                    <a:pt x="45" y="316"/>
                  </a:lnTo>
                  <a:lnTo>
                    <a:pt x="26" y="288"/>
                  </a:lnTo>
                  <a:lnTo>
                    <a:pt x="12" y="260"/>
                  </a:lnTo>
                  <a:lnTo>
                    <a:pt x="3" y="227"/>
                  </a:lnTo>
                  <a:lnTo>
                    <a:pt x="0" y="192"/>
                  </a:lnTo>
                  <a:lnTo>
                    <a:pt x="3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5" y="69"/>
                  </a:lnTo>
                  <a:lnTo>
                    <a:pt x="68" y="46"/>
                  </a:lnTo>
                  <a:lnTo>
                    <a:pt x="95" y="26"/>
                  </a:lnTo>
                  <a:lnTo>
                    <a:pt x="125" y="12"/>
                  </a:lnTo>
                  <a:lnTo>
                    <a:pt x="158" y="4"/>
                  </a:lnTo>
                  <a:lnTo>
                    <a:pt x="1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25"/>
            <p:cNvSpPr>
              <a:spLocks noChangeArrowheads="1"/>
            </p:cNvSpPr>
            <p:nvPr/>
          </p:nvSpPr>
          <p:spPr bwMode="auto">
            <a:xfrm>
              <a:off x="4288" y="3440"/>
              <a:ext cx="128" cy="70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26"/>
            <p:cNvSpPr>
              <a:spLocks noChangeArrowheads="1"/>
            </p:cNvSpPr>
            <p:nvPr/>
          </p:nvSpPr>
          <p:spPr bwMode="auto">
            <a:xfrm>
              <a:off x="4032" y="3440"/>
              <a:ext cx="128" cy="70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7"/>
            <p:cNvSpPr>
              <a:spLocks noEditPoints="1"/>
            </p:cNvSpPr>
            <p:nvPr/>
          </p:nvSpPr>
          <p:spPr bwMode="auto">
            <a:xfrm>
              <a:off x="3392" y="3440"/>
              <a:ext cx="512" cy="703"/>
            </a:xfrm>
            <a:custGeom>
              <a:avLst/>
              <a:gdLst>
                <a:gd name="T0" fmla="*/ 192 w 512"/>
                <a:gd name="T1" fmla="*/ 447 h 703"/>
                <a:gd name="T2" fmla="*/ 172 w 512"/>
                <a:gd name="T3" fmla="*/ 451 h 703"/>
                <a:gd name="T4" fmla="*/ 155 w 512"/>
                <a:gd name="T5" fmla="*/ 459 h 703"/>
                <a:gd name="T6" fmla="*/ 140 w 512"/>
                <a:gd name="T7" fmla="*/ 473 h 703"/>
                <a:gd name="T8" fmla="*/ 132 w 512"/>
                <a:gd name="T9" fmla="*/ 491 h 703"/>
                <a:gd name="T10" fmla="*/ 128 w 512"/>
                <a:gd name="T11" fmla="*/ 511 h 703"/>
                <a:gd name="T12" fmla="*/ 132 w 512"/>
                <a:gd name="T13" fmla="*/ 531 h 703"/>
                <a:gd name="T14" fmla="*/ 140 w 512"/>
                <a:gd name="T15" fmla="*/ 549 h 703"/>
                <a:gd name="T16" fmla="*/ 155 w 512"/>
                <a:gd name="T17" fmla="*/ 562 h 703"/>
                <a:gd name="T18" fmla="*/ 172 w 512"/>
                <a:gd name="T19" fmla="*/ 572 h 703"/>
                <a:gd name="T20" fmla="*/ 192 w 512"/>
                <a:gd name="T21" fmla="*/ 576 h 703"/>
                <a:gd name="T22" fmla="*/ 212 w 512"/>
                <a:gd name="T23" fmla="*/ 572 h 703"/>
                <a:gd name="T24" fmla="*/ 230 w 512"/>
                <a:gd name="T25" fmla="*/ 562 h 703"/>
                <a:gd name="T26" fmla="*/ 244 w 512"/>
                <a:gd name="T27" fmla="*/ 549 h 703"/>
                <a:gd name="T28" fmla="*/ 253 w 512"/>
                <a:gd name="T29" fmla="*/ 531 h 703"/>
                <a:gd name="T30" fmla="*/ 256 w 512"/>
                <a:gd name="T31" fmla="*/ 511 h 703"/>
                <a:gd name="T32" fmla="*/ 253 w 512"/>
                <a:gd name="T33" fmla="*/ 491 h 703"/>
                <a:gd name="T34" fmla="*/ 244 w 512"/>
                <a:gd name="T35" fmla="*/ 473 h 703"/>
                <a:gd name="T36" fmla="*/ 230 w 512"/>
                <a:gd name="T37" fmla="*/ 459 h 703"/>
                <a:gd name="T38" fmla="*/ 212 w 512"/>
                <a:gd name="T39" fmla="*/ 451 h 703"/>
                <a:gd name="T40" fmla="*/ 192 w 512"/>
                <a:gd name="T41" fmla="*/ 447 h 703"/>
                <a:gd name="T42" fmla="*/ 128 w 512"/>
                <a:gd name="T43" fmla="*/ 0 h 703"/>
                <a:gd name="T44" fmla="*/ 256 w 512"/>
                <a:gd name="T45" fmla="*/ 0 h 703"/>
                <a:gd name="T46" fmla="*/ 256 w 512"/>
                <a:gd name="T47" fmla="*/ 228 h 703"/>
                <a:gd name="T48" fmla="*/ 384 w 512"/>
                <a:gd name="T49" fmla="*/ 101 h 703"/>
                <a:gd name="T50" fmla="*/ 384 w 512"/>
                <a:gd name="T51" fmla="*/ 0 h 703"/>
                <a:gd name="T52" fmla="*/ 512 w 512"/>
                <a:gd name="T53" fmla="*/ 0 h 703"/>
                <a:gd name="T54" fmla="*/ 512 w 512"/>
                <a:gd name="T55" fmla="*/ 154 h 703"/>
                <a:gd name="T56" fmla="*/ 307 w 512"/>
                <a:gd name="T57" fmla="*/ 358 h 703"/>
                <a:gd name="T58" fmla="*/ 333 w 512"/>
                <a:gd name="T59" fmla="*/ 382 h 703"/>
                <a:gd name="T60" fmla="*/ 354 w 512"/>
                <a:gd name="T61" fmla="*/ 410 h 703"/>
                <a:gd name="T62" fmla="*/ 370 w 512"/>
                <a:gd name="T63" fmla="*/ 441 h 703"/>
                <a:gd name="T64" fmla="*/ 381 w 512"/>
                <a:gd name="T65" fmla="*/ 475 h 703"/>
                <a:gd name="T66" fmla="*/ 384 w 512"/>
                <a:gd name="T67" fmla="*/ 511 h 703"/>
                <a:gd name="T68" fmla="*/ 381 w 512"/>
                <a:gd name="T69" fmla="*/ 546 h 703"/>
                <a:gd name="T70" fmla="*/ 372 w 512"/>
                <a:gd name="T71" fmla="*/ 578 h 703"/>
                <a:gd name="T72" fmla="*/ 358 w 512"/>
                <a:gd name="T73" fmla="*/ 608 h 703"/>
                <a:gd name="T74" fmla="*/ 339 w 512"/>
                <a:gd name="T75" fmla="*/ 634 h 703"/>
                <a:gd name="T76" fmla="*/ 316 w 512"/>
                <a:gd name="T77" fmla="*/ 657 h 703"/>
                <a:gd name="T78" fmla="*/ 289 w 512"/>
                <a:gd name="T79" fmla="*/ 677 h 703"/>
                <a:gd name="T80" fmla="*/ 259 w 512"/>
                <a:gd name="T81" fmla="*/ 691 h 703"/>
                <a:gd name="T82" fmla="*/ 227 w 512"/>
                <a:gd name="T83" fmla="*/ 699 h 703"/>
                <a:gd name="T84" fmla="*/ 192 w 512"/>
                <a:gd name="T85" fmla="*/ 703 h 703"/>
                <a:gd name="T86" fmla="*/ 157 w 512"/>
                <a:gd name="T87" fmla="*/ 699 h 703"/>
                <a:gd name="T88" fmla="*/ 125 w 512"/>
                <a:gd name="T89" fmla="*/ 691 h 703"/>
                <a:gd name="T90" fmla="*/ 96 w 512"/>
                <a:gd name="T91" fmla="*/ 677 h 703"/>
                <a:gd name="T92" fmla="*/ 68 w 512"/>
                <a:gd name="T93" fmla="*/ 657 h 703"/>
                <a:gd name="T94" fmla="*/ 45 w 512"/>
                <a:gd name="T95" fmla="*/ 634 h 703"/>
                <a:gd name="T96" fmla="*/ 26 w 512"/>
                <a:gd name="T97" fmla="*/ 608 h 703"/>
                <a:gd name="T98" fmla="*/ 12 w 512"/>
                <a:gd name="T99" fmla="*/ 578 h 703"/>
                <a:gd name="T100" fmla="*/ 3 w 512"/>
                <a:gd name="T101" fmla="*/ 546 h 703"/>
                <a:gd name="T102" fmla="*/ 0 w 512"/>
                <a:gd name="T103" fmla="*/ 511 h 703"/>
                <a:gd name="T104" fmla="*/ 3 w 512"/>
                <a:gd name="T105" fmla="*/ 476 h 703"/>
                <a:gd name="T106" fmla="*/ 13 w 512"/>
                <a:gd name="T107" fmla="*/ 443 h 703"/>
                <a:gd name="T108" fmla="*/ 27 w 512"/>
                <a:gd name="T109" fmla="*/ 413 h 703"/>
                <a:gd name="T110" fmla="*/ 47 w 512"/>
                <a:gd name="T111" fmla="*/ 387 h 703"/>
                <a:gd name="T112" fmla="*/ 71 w 512"/>
                <a:gd name="T113" fmla="*/ 364 h 703"/>
                <a:gd name="T114" fmla="*/ 98 w 512"/>
                <a:gd name="T115" fmla="*/ 345 h 703"/>
                <a:gd name="T116" fmla="*/ 128 w 512"/>
                <a:gd name="T117" fmla="*/ 330 h 703"/>
                <a:gd name="T118" fmla="*/ 128 w 512"/>
                <a:gd name="T119" fmla="*/ 0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2" h="703">
                  <a:moveTo>
                    <a:pt x="192" y="447"/>
                  </a:moveTo>
                  <a:lnTo>
                    <a:pt x="172" y="451"/>
                  </a:lnTo>
                  <a:lnTo>
                    <a:pt x="155" y="459"/>
                  </a:lnTo>
                  <a:lnTo>
                    <a:pt x="140" y="473"/>
                  </a:lnTo>
                  <a:lnTo>
                    <a:pt x="132" y="491"/>
                  </a:lnTo>
                  <a:lnTo>
                    <a:pt x="128" y="511"/>
                  </a:lnTo>
                  <a:lnTo>
                    <a:pt x="132" y="531"/>
                  </a:lnTo>
                  <a:lnTo>
                    <a:pt x="140" y="549"/>
                  </a:lnTo>
                  <a:lnTo>
                    <a:pt x="155" y="562"/>
                  </a:lnTo>
                  <a:lnTo>
                    <a:pt x="172" y="572"/>
                  </a:lnTo>
                  <a:lnTo>
                    <a:pt x="192" y="576"/>
                  </a:lnTo>
                  <a:lnTo>
                    <a:pt x="212" y="572"/>
                  </a:lnTo>
                  <a:lnTo>
                    <a:pt x="230" y="562"/>
                  </a:lnTo>
                  <a:lnTo>
                    <a:pt x="244" y="549"/>
                  </a:lnTo>
                  <a:lnTo>
                    <a:pt x="253" y="531"/>
                  </a:lnTo>
                  <a:lnTo>
                    <a:pt x="256" y="511"/>
                  </a:lnTo>
                  <a:lnTo>
                    <a:pt x="253" y="491"/>
                  </a:lnTo>
                  <a:lnTo>
                    <a:pt x="244" y="473"/>
                  </a:lnTo>
                  <a:lnTo>
                    <a:pt x="230" y="459"/>
                  </a:lnTo>
                  <a:lnTo>
                    <a:pt x="212" y="451"/>
                  </a:lnTo>
                  <a:lnTo>
                    <a:pt x="192" y="447"/>
                  </a:lnTo>
                  <a:close/>
                  <a:moveTo>
                    <a:pt x="128" y="0"/>
                  </a:moveTo>
                  <a:lnTo>
                    <a:pt x="256" y="0"/>
                  </a:lnTo>
                  <a:lnTo>
                    <a:pt x="256" y="228"/>
                  </a:lnTo>
                  <a:lnTo>
                    <a:pt x="384" y="101"/>
                  </a:lnTo>
                  <a:lnTo>
                    <a:pt x="384" y="0"/>
                  </a:lnTo>
                  <a:lnTo>
                    <a:pt x="512" y="0"/>
                  </a:lnTo>
                  <a:lnTo>
                    <a:pt x="512" y="154"/>
                  </a:lnTo>
                  <a:lnTo>
                    <a:pt x="307" y="358"/>
                  </a:lnTo>
                  <a:lnTo>
                    <a:pt x="333" y="382"/>
                  </a:lnTo>
                  <a:lnTo>
                    <a:pt x="354" y="410"/>
                  </a:lnTo>
                  <a:lnTo>
                    <a:pt x="370" y="441"/>
                  </a:lnTo>
                  <a:lnTo>
                    <a:pt x="381" y="475"/>
                  </a:lnTo>
                  <a:lnTo>
                    <a:pt x="384" y="511"/>
                  </a:lnTo>
                  <a:lnTo>
                    <a:pt x="381" y="546"/>
                  </a:lnTo>
                  <a:lnTo>
                    <a:pt x="372" y="578"/>
                  </a:lnTo>
                  <a:lnTo>
                    <a:pt x="358" y="608"/>
                  </a:lnTo>
                  <a:lnTo>
                    <a:pt x="339" y="634"/>
                  </a:lnTo>
                  <a:lnTo>
                    <a:pt x="316" y="657"/>
                  </a:lnTo>
                  <a:lnTo>
                    <a:pt x="289" y="677"/>
                  </a:lnTo>
                  <a:lnTo>
                    <a:pt x="259" y="691"/>
                  </a:lnTo>
                  <a:lnTo>
                    <a:pt x="227" y="699"/>
                  </a:lnTo>
                  <a:lnTo>
                    <a:pt x="192" y="703"/>
                  </a:lnTo>
                  <a:lnTo>
                    <a:pt x="157" y="699"/>
                  </a:lnTo>
                  <a:lnTo>
                    <a:pt x="125" y="691"/>
                  </a:lnTo>
                  <a:lnTo>
                    <a:pt x="96" y="677"/>
                  </a:lnTo>
                  <a:lnTo>
                    <a:pt x="68" y="657"/>
                  </a:lnTo>
                  <a:lnTo>
                    <a:pt x="45" y="634"/>
                  </a:lnTo>
                  <a:lnTo>
                    <a:pt x="26" y="608"/>
                  </a:lnTo>
                  <a:lnTo>
                    <a:pt x="12" y="578"/>
                  </a:lnTo>
                  <a:lnTo>
                    <a:pt x="3" y="546"/>
                  </a:lnTo>
                  <a:lnTo>
                    <a:pt x="0" y="511"/>
                  </a:lnTo>
                  <a:lnTo>
                    <a:pt x="3" y="476"/>
                  </a:lnTo>
                  <a:lnTo>
                    <a:pt x="13" y="443"/>
                  </a:lnTo>
                  <a:lnTo>
                    <a:pt x="27" y="413"/>
                  </a:lnTo>
                  <a:lnTo>
                    <a:pt x="47" y="387"/>
                  </a:lnTo>
                  <a:lnTo>
                    <a:pt x="71" y="364"/>
                  </a:lnTo>
                  <a:lnTo>
                    <a:pt x="98" y="345"/>
                  </a:lnTo>
                  <a:lnTo>
                    <a:pt x="128" y="330"/>
                  </a:lnTo>
                  <a:lnTo>
                    <a:pt x="1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8"/>
            <p:cNvSpPr>
              <a:spLocks/>
            </p:cNvSpPr>
            <p:nvPr/>
          </p:nvSpPr>
          <p:spPr bwMode="auto">
            <a:xfrm>
              <a:off x="3072" y="3440"/>
              <a:ext cx="320" cy="703"/>
            </a:xfrm>
            <a:custGeom>
              <a:avLst/>
              <a:gdLst>
                <a:gd name="T0" fmla="*/ 192 w 320"/>
                <a:gd name="T1" fmla="*/ 0 h 703"/>
                <a:gd name="T2" fmla="*/ 320 w 320"/>
                <a:gd name="T3" fmla="*/ 0 h 703"/>
                <a:gd name="T4" fmla="*/ 320 w 320"/>
                <a:gd name="T5" fmla="*/ 217 h 703"/>
                <a:gd name="T6" fmla="*/ 129 w 320"/>
                <a:gd name="T7" fmla="*/ 410 h 703"/>
                <a:gd name="T8" fmla="*/ 129 w 320"/>
                <a:gd name="T9" fmla="*/ 703 h 703"/>
                <a:gd name="T10" fmla="*/ 0 w 320"/>
                <a:gd name="T11" fmla="*/ 703 h 703"/>
                <a:gd name="T12" fmla="*/ 0 w 320"/>
                <a:gd name="T13" fmla="*/ 357 h 703"/>
                <a:gd name="T14" fmla="*/ 192 w 320"/>
                <a:gd name="T15" fmla="*/ 165 h 703"/>
                <a:gd name="T16" fmla="*/ 192 w 320"/>
                <a:gd name="T17" fmla="*/ 0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0" h="703">
                  <a:moveTo>
                    <a:pt x="192" y="0"/>
                  </a:moveTo>
                  <a:lnTo>
                    <a:pt x="320" y="0"/>
                  </a:lnTo>
                  <a:lnTo>
                    <a:pt x="320" y="217"/>
                  </a:lnTo>
                  <a:lnTo>
                    <a:pt x="129" y="410"/>
                  </a:lnTo>
                  <a:lnTo>
                    <a:pt x="129" y="703"/>
                  </a:lnTo>
                  <a:lnTo>
                    <a:pt x="0" y="703"/>
                  </a:lnTo>
                  <a:lnTo>
                    <a:pt x="0" y="357"/>
                  </a:lnTo>
                  <a:lnTo>
                    <a:pt x="192" y="165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9"/>
            <p:cNvSpPr>
              <a:spLocks noEditPoints="1"/>
            </p:cNvSpPr>
            <p:nvPr/>
          </p:nvSpPr>
          <p:spPr bwMode="auto">
            <a:xfrm>
              <a:off x="2689" y="1009"/>
              <a:ext cx="2302" cy="2302"/>
            </a:xfrm>
            <a:custGeom>
              <a:avLst/>
              <a:gdLst>
                <a:gd name="T0" fmla="*/ 256 w 2302"/>
                <a:gd name="T1" fmla="*/ 346 h 2302"/>
                <a:gd name="T2" fmla="*/ 2046 w 2302"/>
                <a:gd name="T3" fmla="*/ 2046 h 2302"/>
                <a:gd name="T4" fmla="*/ 346 w 2302"/>
                <a:gd name="T5" fmla="*/ 256 h 2302"/>
                <a:gd name="T6" fmla="*/ 448 w 2302"/>
                <a:gd name="T7" fmla="*/ 0 h 2302"/>
                <a:gd name="T8" fmla="*/ 575 w 2302"/>
                <a:gd name="T9" fmla="*/ 127 h 2302"/>
                <a:gd name="T10" fmla="*/ 703 w 2302"/>
                <a:gd name="T11" fmla="*/ 0 h 2302"/>
                <a:gd name="T12" fmla="*/ 831 w 2302"/>
                <a:gd name="T13" fmla="*/ 127 h 2302"/>
                <a:gd name="T14" fmla="*/ 959 w 2302"/>
                <a:gd name="T15" fmla="*/ 0 h 2302"/>
                <a:gd name="T16" fmla="*/ 1087 w 2302"/>
                <a:gd name="T17" fmla="*/ 127 h 2302"/>
                <a:gd name="T18" fmla="*/ 1215 w 2302"/>
                <a:gd name="T19" fmla="*/ 0 h 2302"/>
                <a:gd name="T20" fmla="*/ 1343 w 2302"/>
                <a:gd name="T21" fmla="*/ 127 h 2302"/>
                <a:gd name="T22" fmla="*/ 1471 w 2302"/>
                <a:gd name="T23" fmla="*/ 0 h 2302"/>
                <a:gd name="T24" fmla="*/ 1599 w 2302"/>
                <a:gd name="T25" fmla="*/ 127 h 2302"/>
                <a:gd name="T26" fmla="*/ 1727 w 2302"/>
                <a:gd name="T27" fmla="*/ 0 h 2302"/>
                <a:gd name="T28" fmla="*/ 1854 w 2302"/>
                <a:gd name="T29" fmla="*/ 127 h 2302"/>
                <a:gd name="T30" fmla="*/ 1983 w 2302"/>
                <a:gd name="T31" fmla="*/ 0 h 2302"/>
                <a:gd name="T32" fmla="*/ 2175 w 2302"/>
                <a:gd name="T33" fmla="*/ 127 h 2302"/>
                <a:gd name="T34" fmla="*/ 2302 w 2302"/>
                <a:gd name="T35" fmla="*/ 319 h 2302"/>
                <a:gd name="T36" fmla="*/ 2175 w 2302"/>
                <a:gd name="T37" fmla="*/ 448 h 2302"/>
                <a:gd name="T38" fmla="*/ 2302 w 2302"/>
                <a:gd name="T39" fmla="*/ 575 h 2302"/>
                <a:gd name="T40" fmla="*/ 2175 w 2302"/>
                <a:gd name="T41" fmla="*/ 703 h 2302"/>
                <a:gd name="T42" fmla="*/ 2302 w 2302"/>
                <a:gd name="T43" fmla="*/ 831 h 2302"/>
                <a:gd name="T44" fmla="*/ 2175 w 2302"/>
                <a:gd name="T45" fmla="*/ 959 h 2302"/>
                <a:gd name="T46" fmla="*/ 2302 w 2302"/>
                <a:gd name="T47" fmla="*/ 1087 h 2302"/>
                <a:gd name="T48" fmla="*/ 2175 w 2302"/>
                <a:gd name="T49" fmla="*/ 1215 h 2302"/>
                <a:gd name="T50" fmla="*/ 2302 w 2302"/>
                <a:gd name="T51" fmla="*/ 1343 h 2302"/>
                <a:gd name="T52" fmla="*/ 2175 w 2302"/>
                <a:gd name="T53" fmla="*/ 1471 h 2302"/>
                <a:gd name="T54" fmla="*/ 2302 w 2302"/>
                <a:gd name="T55" fmla="*/ 1599 h 2302"/>
                <a:gd name="T56" fmla="*/ 2175 w 2302"/>
                <a:gd name="T57" fmla="*/ 1727 h 2302"/>
                <a:gd name="T58" fmla="*/ 2302 w 2302"/>
                <a:gd name="T59" fmla="*/ 1854 h 2302"/>
                <a:gd name="T60" fmla="*/ 2175 w 2302"/>
                <a:gd name="T61" fmla="*/ 1983 h 2302"/>
                <a:gd name="T62" fmla="*/ 1983 w 2302"/>
                <a:gd name="T63" fmla="*/ 2175 h 2302"/>
                <a:gd name="T64" fmla="*/ 1854 w 2302"/>
                <a:gd name="T65" fmla="*/ 2302 h 2302"/>
                <a:gd name="T66" fmla="*/ 1727 w 2302"/>
                <a:gd name="T67" fmla="*/ 2175 h 2302"/>
                <a:gd name="T68" fmla="*/ 1599 w 2302"/>
                <a:gd name="T69" fmla="*/ 2302 h 2302"/>
                <a:gd name="T70" fmla="*/ 1471 w 2302"/>
                <a:gd name="T71" fmla="*/ 2175 h 2302"/>
                <a:gd name="T72" fmla="*/ 1343 w 2302"/>
                <a:gd name="T73" fmla="*/ 2302 h 2302"/>
                <a:gd name="T74" fmla="*/ 1215 w 2302"/>
                <a:gd name="T75" fmla="*/ 2175 h 2302"/>
                <a:gd name="T76" fmla="*/ 1087 w 2302"/>
                <a:gd name="T77" fmla="*/ 2302 h 2302"/>
                <a:gd name="T78" fmla="*/ 959 w 2302"/>
                <a:gd name="T79" fmla="*/ 2175 h 2302"/>
                <a:gd name="T80" fmla="*/ 831 w 2302"/>
                <a:gd name="T81" fmla="*/ 2302 h 2302"/>
                <a:gd name="T82" fmla="*/ 703 w 2302"/>
                <a:gd name="T83" fmla="*/ 2175 h 2302"/>
                <a:gd name="T84" fmla="*/ 575 w 2302"/>
                <a:gd name="T85" fmla="*/ 2302 h 2302"/>
                <a:gd name="T86" fmla="*/ 448 w 2302"/>
                <a:gd name="T87" fmla="*/ 2175 h 2302"/>
                <a:gd name="T88" fmla="*/ 319 w 2302"/>
                <a:gd name="T89" fmla="*/ 2302 h 2302"/>
                <a:gd name="T90" fmla="*/ 127 w 2302"/>
                <a:gd name="T91" fmla="*/ 2175 h 2302"/>
                <a:gd name="T92" fmla="*/ 0 w 2302"/>
                <a:gd name="T93" fmla="*/ 1983 h 2302"/>
                <a:gd name="T94" fmla="*/ 127 w 2302"/>
                <a:gd name="T95" fmla="*/ 1854 h 2302"/>
                <a:gd name="T96" fmla="*/ 0 w 2302"/>
                <a:gd name="T97" fmla="*/ 1727 h 2302"/>
                <a:gd name="T98" fmla="*/ 127 w 2302"/>
                <a:gd name="T99" fmla="*/ 1599 h 2302"/>
                <a:gd name="T100" fmla="*/ 0 w 2302"/>
                <a:gd name="T101" fmla="*/ 1471 h 2302"/>
                <a:gd name="T102" fmla="*/ 127 w 2302"/>
                <a:gd name="T103" fmla="*/ 1343 h 2302"/>
                <a:gd name="T104" fmla="*/ 0 w 2302"/>
                <a:gd name="T105" fmla="*/ 1215 h 2302"/>
                <a:gd name="T106" fmla="*/ 127 w 2302"/>
                <a:gd name="T107" fmla="*/ 1087 h 2302"/>
                <a:gd name="T108" fmla="*/ 0 w 2302"/>
                <a:gd name="T109" fmla="*/ 959 h 2302"/>
                <a:gd name="T110" fmla="*/ 127 w 2302"/>
                <a:gd name="T111" fmla="*/ 831 h 2302"/>
                <a:gd name="T112" fmla="*/ 0 w 2302"/>
                <a:gd name="T113" fmla="*/ 703 h 2302"/>
                <a:gd name="T114" fmla="*/ 127 w 2302"/>
                <a:gd name="T115" fmla="*/ 575 h 2302"/>
                <a:gd name="T116" fmla="*/ 0 w 2302"/>
                <a:gd name="T117" fmla="*/ 448 h 2302"/>
                <a:gd name="T118" fmla="*/ 127 w 2302"/>
                <a:gd name="T119" fmla="*/ 319 h 2302"/>
                <a:gd name="T120" fmla="*/ 293 w 2302"/>
                <a:gd name="T121" fmla="*/ 127 h 2302"/>
                <a:gd name="T122" fmla="*/ 319 w 2302"/>
                <a:gd name="T123" fmla="*/ 0 h 2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2" h="2302">
                  <a:moveTo>
                    <a:pt x="346" y="256"/>
                  </a:moveTo>
                  <a:lnTo>
                    <a:pt x="256" y="346"/>
                  </a:lnTo>
                  <a:lnTo>
                    <a:pt x="256" y="2046"/>
                  </a:lnTo>
                  <a:lnTo>
                    <a:pt x="2046" y="2046"/>
                  </a:lnTo>
                  <a:lnTo>
                    <a:pt x="2046" y="256"/>
                  </a:lnTo>
                  <a:lnTo>
                    <a:pt x="346" y="256"/>
                  </a:lnTo>
                  <a:close/>
                  <a:moveTo>
                    <a:pt x="319" y="0"/>
                  </a:moveTo>
                  <a:lnTo>
                    <a:pt x="448" y="0"/>
                  </a:lnTo>
                  <a:lnTo>
                    <a:pt x="448" y="127"/>
                  </a:lnTo>
                  <a:lnTo>
                    <a:pt x="575" y="127"/>
                  </a:lnTo>
                  <a:lnTo>
                    <a:pt x="575" y="0"/>
                  </a:lnTo>
                  <a:lnTo>
                    <a:pt x="703" y="0"/>
                  </a:lnTo>
                  <a:lnTo>
                    <a:pt x="703" y="127"/>
                  </a:lnTo>
                  <a:lnTo>
                    <a:pt x="831" y="127"/>
                  </a:lnTo>
                  <a:lnTo>
                    <a:pt x="831" y="0"/>
                  </a:lnTo>
                  <a:lnTo>
                    <a:pt x="959" y="0"/>
                  </a:lnTo>
                  <a:lnTo>
                    <a:pt x="959" y="127"/>
                  </a:lnTo>
                  <a:lnTo>
                    <a:pt x="1087" y="127"/>
                  </a:lnTo>
                  <a:lnTo>
                    <a:pt x="1087" y="0"/>
                  </a:lnTo>
                  <a:lnTo>
                    <a:pt x="1215" y="0"/>
                  </a:lnTo>
                  <a:lnTo>
                    <a:pt x="1215" y="127"/>
                  </a:lnTo>
                  <a:lnTo>
                    <a:pt x="1343" y="127"/>
                  </a:lnTo>
                  <a:lnTo>
                    <a:pt x="1343" y="0"/>
                  </a:lnTo>
                  <a:lnTo>
                    <a:pt x="1471" y="0"/>
                  </a:lnTo>
                  <a:lnTo>
                    <a:pt x="1471" y="127"/>
                  </a:lnTo>
                  <a:lnTo>
                    <a:pt x="1599" y="127"/>
                  </a:lnTo>
                  <a:lnTo>
                    <a:pt x="1599" y="0"/>
                  </a:lnTo>
                  <a:lnTo>
                    <a:pt x="1727" y="0"/>
                  </a:lnTo>
                  <a:lnTo>
                    <a:pt x="1727" y="127"/>
                  </a:lnTo>
                  <a:lnTo>
                    <a:pt x="1854" y="127"/>
                  </a:lnTo>
                  <a:lnTo>
                    <a:pt x="1854" y="0"/>
                  </a:lnTo>
                  <a:lnTo>
                    <a:pt x="1983" y="0"/>
                  </a:lnTo>
                  <a:lnTo>
                    <a:pt x="1983" y="127"/>
                  </a:lnTo>
                  <a:lnTo>
                    <a:pt x="2175" y="127"/>
                  </a:lnTo>
                  <a:lnTo>
                    <a:pt x="2175" y="319"/>
                  </a:lnTo>
                  <a:lnTo>
                    <a:pt x="2302" y="319"/>
                  </a:lnTo>
                  <a:lnTo>
                    <a:pt x="2302" y="448"/>
                  </a:lnTo>
                  <a:lnTo>
                    <a:pt x="2175" y="448"/>
                  </a:lnTo>
                  <a:lnTo>
                    <a:pt x="2175" y="575"/>
                  </a:lnTo>
                  <a:lnTo>
                    <a:pt x="2302" y="575"/>
                  </a:lnTo>
                  <a:lnTo>
                    <a:pt x="2302" y="703"/>
                  </a:lnTo>
                  <a:lnTo>
                    <a:pt x="2175" y="703"/>
                  </a:lnTo>
                  <a:lnTo>
                    <a:pt x="2175" y="831"/>
                  </a:lnTo>
                  <a:lnTo>
                    <a:pt x="2302" y="831"/>
                  </a:lnTo>
                  <a:lnTo>
                    <a:pt x="2302" y="959"/>
                  </a:lnTo>
                  <a:lnTo>
                    <a:pt x="2175" y="959"/>
                  </a:lnTo>
                  <a:lnTo>
                    <a:pt x="2175" y="1087"/>
                  </a:lnTo>
                  <a:lnTo>
                    <a:pt x="2302" y="1087"/>
                  </a:lnTo>
                  <a:lnTo>
                    <a:pt x="2302" y="1215"/>
                  </a:lnTo>
                  <a:lnTo>
                    <a:pt x="2175" y="1215"/>
                  </a:lnTo>
                  <a:lnTo>
                    <a:pt x="2175" y="1343"/>
                  </a:lnTo>
                  <a:lnTo>
                    <a:pt x="2302" y="1343"/>
                  </a:lnTo>
                  <a:lnTo>
                    <a:pt x="2302" y="1471"/>
                  </a:lnTo>
                  <a:lnTo>
                    <a:pt x="2175" y="1471"/>
                  </a:lnTo>
                  <a:lnTo>
                    <a:pt x="2175" y="1599"/>
                  </a:lnTo>
                  <a:lnTo>
                    <a:pt x="2302" y="1599"/>
                  </a:lnTo>
                  <a:lnTo>
                    <a:pt x="2302" y="1727"/>
                  </a:lnTo>
                  <a:lnTo>
                    <a:pt x="2175" y="1727"/>
                  </a:lnTo>
                  <a:lnTo>
                    <a:pt x="2175" y="1854"/>
                  </a:lnTo>
                  <a:lnTo>
                    <a:pt x="2302" y="1854"/>
                  </a:lnTo>
                  <a:lnTo>
                    <a:pt x="2302" y="1983"/>
                  </a:lnTo>
                  <a:lnTo>
                    <a:pt x="2175" y="1983"/>
                  </a:lnTo>
                  <a:lnTo>
                    <a:pt x="2175" y="2175"/>
                  </a:lnTo>
                  <a:lnTo>
                    <a:pt x="1983" y="2175"/>
                  </a:lnTo>
                  <a:lnTo>
                    <a:pt x="1983" y="2302"/>
                  </a:lnTo>
                  <a:lnTo>
                    <a:pt x="1854" y="2302"/>
                  </a:lnTo>
                  <a:lnTo>
                    <a:pt x="1854" y="2175"/>
                  </a:lnTo>
                  <a:lnTo>
                    <a:pt x="1727" y="2175"/>
                  </a:lnTo>
                  <a:lnTo>
                    <a:pt x="1727" y="2302"/>
                  </a:lnTo>
                  <a:lnTo>
                    <a:pt x="1599" y="2302"/>
                  </a:lnTo>
                  <a:lnTo>
                    <a:pt x="1599" y="2175"/>
                  </a:lnTo>
                  <a:lnTo>
                    <a:pt x="1471" y="2175"/>
                  </a:lnTo>
                  <a:lnTo>
                    <a:pt x="1471" y="2302"/>
                  </a:lnTo>
                  <a:lnTo>
                    <a:pt x="1343" y="2302"/>
                  </a:lnTo>
                  <a:lnTo>
                    <a:pt x="1343" y="2175"/>
                  </a:lnTo>
                  <a:lnTo>
                    <a:pt x="1215" y="2175"/>
                  </a:lnTo>
                  <a:lnTo>
                    <a:pt x="1215" y="2302"/>
                  </a:lnTo>
                  <a:lnTo>
                    <a:pt x="1087" y="2302"/>
                  </a:lnTo>
                  <a:lnTo>
                    <a:pt x="1087" y="2175"/>
                  </a:lnTo>
                  <a:lnTo>
                    <a:pt x="959" y="2175"/>
                  </a:lnTo>
                  <a:lnTo>
                    <a:pt x="959" y="2302"/>
                  </a:lnTo>
                  <a:lnTo>
                    <a:pt x="831" y="2302"/>
                  </a:lnTo>
                  <a:lnTo>
                    <a:pt x="831" y="2175"/>
                  </a:lnTo>
                  <a:lnTo>
                    <a:pt x="703" y="2175"/>
                  </a:lnTo>
                  <a:lnTo>
                    <a:pt x="703" y="2302"/>
                  </a:lnTo>
                  <a:lnTo>
                    <a:pt x="575" y="2302"/>
                  </a:lnTo>
                  <a:lnTo>
                    <a:pt x="575" y="2175"/>
                  </a:lnTo>
                  <a:lnTo>
                    <a:pt x="448" y="2175"/>
                  </a:lnTo>
                  <a:lnTo>
                    <a:pt x="448" y="2302"/>
                  </a:lnTo>
                  <a:lnTo>
                    <a:pt x="319" y="2302"/>
                  </a:lnTo>
                  <a:lnTo>
                    <a:pt x="319" y="2175"/>
                  </a:lnTo>
                  <a:lnTo>
                    <a:pt x="127" y="2175"/>
                  </a:lnTo>
                  <a:lnTo>
                    <a:pt x="127" y="1983"/>
                  </a:lnTo>
                  <a:lnTo>
                    <a:pt x="0" y="1983"/>
                  </a:lnTo>
                  <a:lnTo>
                    <a:pt x="0" y="1854"/>
                  </a:lnTo>
                  <a:lnTo>
                    <a:pt x="127" y="1854"/>
                  </a:lnTo>
                  <a:lnTo>
                    <a:pt x="127" y="1727"/>
                  </a:lnTo>
                  <a:lnTo>
                    <a:pt x="0" y="1727"/>
                  </a:lnTo>
                  <a:lnTo>
                    <a:pt x="0" y="1599"/>
                  </a:lnTo>
                  <a:lnTo>
                    <a:pt x="127" y="1599"/>
                  </a:lnTo>
                  <a:lnTo>
                    <a:pt x="127" y="1471"/>
                  </a:lnTo>
                  <a:lnTo>
                    <a:pt x="0" y="1471"/>
                  </a:lnTo>
                  <a:lnTo>
                    <a:pt x="0" y="1343"/>
                  </a:lnTo>
                  <a:lnTo>
                    <a:pt x="127" y="1343"/>
                  </a:lnTo>
                  <a:lnTo>
                    <a:pt x="127" y="1215"/>
                  </a:lnTo>
                  <a:lnTo>
                    <a:pt x="0" y="1215"/>
                  </a:lnTo>
                  <a:lnTo>
                    <a:pt x="0" y="1087"/>
                  </a:lnTo>
                  <a:lnTo>
                    <a:pt x="127" y="1087"/>
                  </a:lnTo>
                  <a:lnTo>
                    <a:pt x="127" y="959"/>
                  </a:lnTo>
                  <a:lnTo>
                    <a:pt x="0" y="959"/>
                  </a:lnTo>
                  <a:lnTo>
                    <a:pt x="0" y="831"/>
                  </a:lnTo>
                  <a:lnTo>
                    <a:pt x="127" y="831"/>
                  </a:lnTo>
                  <a:lnTo>
                    <a:pt x="127" y="703"/>
                  </a:lnTo>
                  <a:lnTo>
                    <a:pt x="0" y="703"/>
                  </a:lnTo>
                  <a:lnTo>
                    <a:pt x="0" y="575"/>
                  </a:lnTo>
                  <a:lnTo>
                    <a:pt x="127" y="575"/>
                  </a:lnTo>
                  <a:lnTo>
                    <a:pt x="127" y="448"/>
                  </a:lnTo>
                  <a:lnTo>
                    <a:pt x="0" y="448"/>
                  </a:lnTo>
                  <a:lnTo>
                    <a:pt x="0" y="319"/>
                  </a:lnTo>
                  <a:lnTo>
                    <a:pt x="127" y="319"/>
                  </a:lnTo>
                  <a:lnTo>
                    <a:pt x="127" y="293"/>
                  </a:lnTo>
                  <a:lnTo>
                    <a:pt x="293" y="127"/>
                  </a:lnTo>
                  <a:lnTo>
                    <a:pt x="319" y="127"/>
                  </a:lnTo>
                  <a:lnTo>
                    <a:pt x="3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0"/>
            <p:cNvSpPr>
              <a:spLocks noEditPoints="1"/>
            </p:cNvSpPr>
            <p:nvPr/>
          </p:nvSpPr>
          <p:spPr bwMode="auto">
            <a:xfrm>
              <a:off x="3072" y="1392"/>
              <a:ext cx="1536" cy="1536"/>
            </a:xfrm>
            <a:custGeom>
              <a:avLst/>
              <a:gdLst>
                <a:gd name="T0" fmla="*/ 704 w 1536"/>
                <a:gd name="T1" fmla="*/ 258 h 1536"/>
                <a:gd name="T2" fmla="*/ 600 w 1536"/>
                <a:gd name="T3" fmla="*/ 285 h 1536"/>
                <a:gd name="T4" fmla="*/ 496 w 1536"/>
                <a:gd name="T5" fmla="*/ 335 h 1536"/>
                <a:gd name="T6" fmla="*/ 361 w 1536"/>
                <a:gd name="T7" fmla="*/ 270 h 1536"/>
                <a:gd name="T8" fmla="*/ 362 w 1536"/>
                <a:gd name="T9" fmla="*/ 453 h 1536"/>
                <a:gd name="T10" fmla="*/ 308 w 1536"/>
                <a:gd name="T11" fmla="*/ 547 h 1536"/>
                <a:gd name="T12" fmla="*/ 269 w 1536"/>
                <a:gd name="T13" fmla="*/ 654 h 1536"/>
                <a:gd name="T14" fmla="*/ 129 w 1536"/>
                <a:gd name="T15" fmla="*/ 704 h 1536"/>
                <a:gd name="T16" fmla="*/ 258 w 1536"/>
                <a:gd name="T17" fmla="*/ 832 h 1536"/>
                <a:gd name="T18" fmla="*/ 285 w 1536"/>
                <a:gd name="T19" fmla="*/ 936 h 1536"/>
                <a:gd name="T20" fmla="*/ 335 w 1536"/>
                <a:gd name="T21" fmla="*/ 1040 h 1536"/>
                <a:gd name="T22" fmla="*/ 270 w 1536"/>
                <a:gd name="T23" fmla="*/ 1175 h 1536"/>
                <a:gd name="T24" fmla="*/ 453 w 1536"/>
                <a:gd name="T25" fmla="*/ 1174 h 1536"/>
                <a:gd name="T26" fmla="*/ 547 w 1536"/>
                <a:gd name="T27" fmla="*/ 1228 h 1536"/>
                <a:gd name="T28" fmla="*/ 654 w 1536"/>
                <a:gd name="T29" fmla="*/ 1267 h 1536"/>
                <a:gd name="T30" fmla="*/ 704 w 1536"/>
                <a:gd name="T31" fmla="*/ 1407 h 1536"/>
                <a:gd name="T32" fmla="*/ 832 w 1536"/>
                <a:gd name="T33" fmla="*/ 1278 h 1536"/>
                <a:gd name="T34" fmla="*/ 936 w 1536"/>
                <a:gd name="T35" fmla="*/ 1251 h 1536"/>
                <a:gd name="T36" fmla="*/ 1040 w 1536"/>
                <a:gd name="T37" fmla="*/ 1201 h 1536"/>
                <a:gd name="T38" fmla="*/ 1175 w 1536"/>
                <a:gd name="T39" fmla="*/ 1266 h 1536"/>
                <a:gd name="T40" fmla="*/ 1174 w 1536"/>
                <a:gd name="T41" fmla="*/ 1083 h 1536"/>
                <a:gd name="T42" fmla="*/ 1228 w 1536"/>
                <a:gd name="T43" fmla="*/ 989 h 1536"/>
                <a:gd name="T44" fmla="*/ 1267 w 1536"/>
                <a:gd name="T45" fmla="*/ 882 h 1536"/>
                <a:gd name="T46" fmla="*/ 1407 w 1536"/>
                <a:gd name="T47" fmla="*/ 832 h 1536"/>
                <a:gd name="T48" fmla="*/ 1278 w 1536"/>
                <a:gd name="T49" fmla="*/ 704 h 1536"/>
                <a:gd name="T50" fmla="*/ 1251 w 1536"/>
                <a:gd name="T51" fmla="*/ 600 h 1536"/>
                <a:gd name="T52" fmla="*/ 1201 w 1536"/>
                <a:gd name="T53" fmla="*/ 496 h 1536"/>
                <a:gd name="T54" fmla="*/ 1266 w 1536"/>
                <a:gd name="T55" fmla="*/ 361 h 1536"/>
                <a:gd name="T56" fmla="*/ 1083 w 1536"/>
                <a:gd name="T57" fmla="*/ 362 h 1536"/>
                <a:gd name="T58" fmla="*/ 989 w 1536"/>
                <a:gd name="T59" fmla="*/ 308 h 1536"/>
                <a:gd name="T60" fmla="*/ 882 w 1536"/>
                <a:gd name="T61" fmla="*/ 269 h 1536"/>
                <a:gd name="T62" fmla="*/ 832 w 1536"/>
                <a:gd name="T63" fmla="*/ 129 h 1536"/>
                <a:gd name="T64" fmla="*/ 576 w 1536"/>
                <a:gd name="T65" fmla="*/ 0 h 1536"/>
                <a:gd name="T66" fmla="*/ 960 w 1536"/>
                <a:gd name="T67" fmla="*/ 159 h 1536"/>
                <a:gd name="T68" fmla="*/ 1064 w 1536"/>
                <a:gd name="T69" fmla="*/ 201 h 1536"/>
                <a:gd name="T70" fmla="*/ 1447 w 1536"/>
                <a:gd name="T71" fmla="*/ 361 h 1536"/>
                <a:gd name="T72" fmla="*/ 1358 w 1536"/>
                <a:gd name="T73" fmla="*/ 523 h 1536"/>
                <a:gd name="T74" fmla="*/ 1536 w 1536"/>
                <a:gd name="T75" fmla="*/ 576 h 1536"/>
                <a:gd name="T76" fmla="*/ 1377 w 1536"/>
                <a:gd name="T77" fmla="*/ 960 h 1536"/>
                <a:gd name="T78" fmla="*/ 1335 w 1536"/>
                <a:gd name="T79" fmla="*/ 1064 h 1536"/>
                <a:gd name="T80" fmla="*/ 1175 w 1536"/>
                <a:gd name="T81" fmla="*/ 1447 h 1536"/>
                <a:gd name="T82" fmla="*/ 1013 w 1536"/>
                <a:gd name="T83" fmla="*/ 1358 h 1536"/>
                <a:gd name="T84" fmla="*/ 960 w 1536"/>
                <a:gd name="T85" fmla="*/ 1536 h 1536"/>
                <a:gd name="T86" fmla="*/ 576 w 1536"/>
                <a:gd name="T87" fmla="*/ 1377 h 1536"/>
                <a:gd name="T88" fmla="*/ 472 w 1536"/>
                <a:gd name="T89" fmla="*/ 1335 h 1536"/>
                <a:gd name="T90" fmla="*/ 89 w 1536"/>
                <a:gd name="T91" fmla="*/ 1175 h 1536"/>
                <a:gd name="T92" fmla="*/ 178 w 1536"/>
                <a:gd name="T93" fmla="*/ 1013 h 1536"/>
                <a:gd name="T94" fmla="*/ 0 w 1536"/>
                <a:gd name="T95" fmla="*/ 960 h 1536"/>
                <a:gd name="T96" fmla="*/ 159 w 1536"/>
                <a:gd name="T97" fmla="*/ 576 h 1536"/>
                <a:gd name="T98" fmla="*/ 201 w 1536"/>
                <a:gd name="T99" fmla="*/ 472 h 1536"/>
                <a:gd name="T100" fmla="*/ 361 w 1536"/>
                <a:gd name="T101" fmla="*/ 89 h 1536"/>
                <a:gd name="T102" fmla="*/ 523 w 1536"/>
                <a:gd name="T103" fmla="*/ 178 h 1536"/>
                <a:gd name="T104" fmla="*/ 576 w 1536"/>
                <a:gd name="T105" fmla="*/ 0 h 1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36" h="1536">
                  <a:moveTo>
                    <a:pt x="704" y="129"/>
                  </a:moveTo>
                  <a:lnTo>
                    <a:pt x="704" y="258"/>
                  </a:lnTo>
                  <a:lnTo>
                    <a:pt x="654" y="269"/>
                  </a:lnTo>
                  <a:lnTo>
                    <a:pt x="600" y="285"/>
                  </a:lnTo>
                  <a:lnTo>
                    <a:pt x="547" y="308"/>
                  </a:lnTo>
                  <a:lnTo>
                    <a:pt x="496" y="335"/>
                  </a:lnTo>
                  <a:lnTo>
                    <a:pt x="453" y="362"/>
                  </a:lnTo>
                  <a:lnTo>
                    <a:pt x="361" y="270"/>
                  </a:lnTo>
                  <a:lnTo>
                    <a:pt x="270" y="361"/>
                  </a:lnTo>
                  <a:lnTo>
                    <a:pt x="362" y="453"/>
                  </a:lnTo>
                  <a:lnTo>
                    <a:pt x="335" y="496"/>
                  </a:lnTo>
                  <a:lnTo>
                    <a:pt x="308" y="547"/>
                  </a:lnTo>
                  <a:lnTo>
                    <a:pt x="285" y="600"/>
                  </a:lnTo>
                  <a:lnTo>
                    <a:pt x="269" y="654"/>
                  </a:lnTo>
                  <a:lnTo>
                    <a:pt x="258" y="704"/>
                  </a:lnTo>
                  <a:lnTo>
                    <a:pt x="129" y="704"/>
                  </a:lnTo>
                  <a:lnTo>
                    <a:pt x="129" y="832"/>
                  </a:lnTo>
                  <a:lnTo>
                    <a:pt x="258" y="832"/>
                  </a:lnTo>
                  <a:lnTo>
                    <a:pt x="269" y="882"/>
                  </a:lnTo>
                  <a:lnTo>
                    <a:pt x="285" y="936"/>
                  </a:lnTo>
                  <a:lnTo>
                    <a:pt x="308" y="989"/>
                  </a:lnTo>
                  <a:lnTo>
                    <a:pt x="335" y="1040"/>
                  </a:lnTo>
                  <a:lnTo>
                    <a:pt x="362" y="1083"/>
                  </a:lnTo>
                  <a:lnTo>
                    <a:pt x="270" y="1175"/>
                  </a:lnTo>
                  <a:lnTo>
                    <a:pt x="361" y="1266"/>
                  </a:lnTo>
                  <a:lnTo>
                    <a:pt x="453" y="1174"/>
                  </a:lnTo>
                  <a:lnTo>
                    <a:pt x="496" y="1201"/>
                  </a:lnTo>
                  <a:lnTo>
                    <a:pt x="547" y="1228"/>
                  </a:lnTo>
                  <a:lnTo>
                    <a:pt x="600" y="1251"/>
                  </a:lnTo>
                  <a:lnTo>
                    <a:pt x="654" y="1267"/>
                  </a:lnTo>
                  <a:lnTo>
                    <a:pt x="704" y="1278"/>
                  </a:lnTo>
                  <a:lnTo>
                    <a:pt x="704" y="1407"/>
                  </a:lnTo>
                  <a:lnTo>
                    <a:pt x="832" y="1407"/>
                  </a:lnTo>
                  <a:lnTo>
                    <a:pt x="832" y="1278"/>
                  </a:lnTo>
                  <a:lnTo>
                    <a:pt x="882" y="1267"/>
                  </a:lnTo>
                  <a:lnTo>
                    <a:pt x="936" y="1251"/>
                  </a:lnTo>
                  <a:lnTo>
                    <a:pt x="989" y="1228"/>
                  </a:lnTo>
                  <a:lnTo>
                    <a:pt x="1040" y="1201"/>
                  </a:lnTo>
                  <a:lnTo>
                    <a:pt x="1083" y="1174"/>
                  </a:lnTo>
                  <a:lnTo>
                    <a:pt x="1175" y="1266"/>
                  </a:lnTo>
                  <a:lnTo>
                    <a:pt x="1266" y="1175"/>
                  </a:lnTo>
                  <a:lnTo>
                    <a:pt x="1174" y="1083"/>
                  </a:lnTo>
                  <a:lnTo>
                    <a:pt x="1201" y="1040"/>
                  </a:lnTo>
                  <a:lnTo>
                    <a:pt x="1228" y="989"/>
                  </a:lnTo>
                  <a:lnTo>
                    <a:pt x="1251" y="936"/>
                  </a:lnTo>
                  <a:lnTo>
                    <a:pt x="1267" y="882"/>
                  </a:lnTo>
                  <a:lnTo>
                    <a:pt x="1278" y="832"/>
                  </a:lnTo>
                  <a:lnTo>
                    <a:pt x="1407" y="832"/>
                  </a:lnTo>
                  <a:lnTo>
                    <a:pt x="1407" y="704"/>
                  </a:lnTo>
                  <a:lnTo>
                    <a:pt x="1278" y="704"/>
                  </a:lnTo>
                  <a:lnTo>
                    <a:pt x="1267" y="654"/>
                  </a:lnTo>
                  <a:lnTo>
                    <a:pt x="1251" y="600"/>
                  </a:lnTo>
                  <a:lnTo>
                    <a:pt x="1228" y="547"/>
                  </a:lnTo>
                  <a:lnTo>
                    <a:pt x="1201" y="496"/>
                  </a:lnTo>
                  <a:lnTo>
                    <a:pt x="1174" y="453"/>
                  </a:lnTo>
                  <a:lnTo>
                    <a:pt x="1266" y="361"/>
                  </a:lnTo>
                  <a:lnTo>
                    <a:pt x="1175" y="270"/>
                  </a:lnTo>
                  <a:lnTo>
                    <a:pt x="1083" y="362"/>
                  </a:lnTo>
                  <a:lnTo>
                    <a:pt x="1040" y="335"/>
                  </a:lnTo>
                  <a:lnTo>
                    <a:pt x="989" y="308"/>
                  </a:lnTo>
                  <a:lnTo>
                    <a:pt x="936" y="285"/>
                  </a:lnTo>
                  <a:lnTo>
                    <a:pt x="882" y="269"/>
                  </a:lnTo>
                  <a:lnTo>
                    <a:pt x="832" y="258"/>
                  </a:lnTo>
                  <a:lnTo>
                    <a:pt x="832" y="129"/>
                  </a:lnTo>
                  <a:lnTo>
                    <a:pt x="704" y="129"/>
                  </a:lnTo>
                  <a:close/>
                  <a:moveTo>
                    <a:pt x="576" y="0"/>
                  </a:moveTo>
                  <a:lnTo>
                    <a:pt x="960" y="0"/>
                  </a:lnTo>
                  <a:lnTo>
                    <a:pt x="960" y="159"/>
                  </a:lnTo>
                  <a:lnTo>
                    <a:pt x="1013" y="178"/>
                  </a:lnTo>
                  <a:lnTo>
                    <a:pt x="1064" y="201"/>
                  </a:lnTo>
                  <a:lnTo>
                    <a:pt x="1175" y="89"/>
                  </a:lnTo>
                  <a:lnTo>
                    <a:pt x="1447" y="361"/>
                  </a:lnTo>
                  <a:lnTo>
                    <a:pt x="1335" y="472"/>
                  </a:lnTo>
                  <a:lnTo>
                    <a:pt x="1358" y="523"/>
                  </a:lnTo>
                  <a:lnTo>
                    <a:pt x="1377" y="576"/>
                  </a:lnTo>
                  <a:lnTo>
                    <a:pt x="1536" y="576"/>
                  </a:lnTo>
                  <a:lnTo>
                    <a:pt x="1536" y="960"/>
                  </a:lnTo>
                  <a:lnTo>
                    <a:pt x="1377" y="960"/>
                  </a:lnTo>
                  <a:lnTo>
                    <a:pt x="1358" y="1013"/>
                  </a:lnTo>
                  <a:lnTo>
                    <a:pt x="1335" y="1064"/>
                  </a:lnTo>
                  <a:lnTo>
                    <a:pt x="1447" y="1175"/>
                  </a:lnTo>
                  <a:lnTo>
                    <a:pt x="1175" y="1447"/>
                  </a:lnTo>
                  <a:lnTo>
                    <a:pt x="1064" y="1335"/>
                  </a:lnTo>
                  <a:lnTo>
                    <a:pt x="1013" y="1358"/>
                  </a:lnTo>
                  <a:lnTo>
                    <a:pt x="960" y="1377"/>
                  </a:lnTo>
                  <a:lnTo>
                    <a:pt x="960" y="1536"/>
                  </a:lnTo>
                  <a:lnTo>
                    <a:pt x="576" y="1536"/>
                  </a:lnTo>
                  <a:lnTo>
                    <a:pt x="576" y="1377"/>
                  </a:lnTo>
                  <a:lnTo>
                    <a:pt x="523" y="1358"/>
                  </a:lnTo>
                  <a:lnTo>
                    <a:pt x="472" y="1335"/>
                  </a:lnTo>
                  <a:lnTo>
                    <a:pt x="361" y="1447"/>
                  </a:lnTo>
                  <a:lnTo>
                    <a:pt x="89" y="1175"/>
                  </a:lnTo>
                  <a:lnTo>
                    <a:pt x="201" y="1064"/>
                  </a:lnTo>
                  <a:lnTo>
                    <a:pt x="178" y="1013"/>
                  </a:lnTo>
                  <a:lnTo>
                    <a:pt x="159" y="960"/>
                  </a:lnTo>
                  <a:lnTo>
                    <a:pt x="0" y="960"/>
                  </a:lnTo>
                  <a:lnTo>
                    <a:pt x="0" y="576"/>
                  </a:lnTo>
                  <a:lnTo>
                    <a:pt x="159" y="576"/>
                  </a:lnTo>
                  <a:lnTo>
                    <a:pt x="178" y="523"/>
                  </a:lnTo>
                  <a:lnTo>
                    <a:pt x="201" y="472"/>
                  </a:lnTo>
                  <a:lnTo>
                    <a:pt x="89" y="361"/>
                  </a:lnTo>
                  <a:lnTo>
                    <a:pt x="361" y="89"/>
                  </a:lnTo>
                  <a:lnTo>
                    <a:pt x="472" y="201"/>
                  </a:lnTo>
                  <a:lnTo>
                    <a:pt x="523" y="178"/>
                  </a:lnTo>
                  <a:lnTo>
                    <a:pt x="576" y="159"/>
                  </a:lnTo>
                  <a:lnTo>
                    <a:pt x="5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1"/>
            <p:cNvSpPr>
              <a:spLocks noEditPoints="1"/>
            </p:cNvSpPr>
            <p:nvPr/>
          </p:nvSpPr>
          <p:spPr bwMode="auto">
            <a:xfrm>
              <a:off x="3520" y="1840"/>
              <a:ext cx="640" cy="640"/>
            </a:xfrm>
            <a:custGeom>
              <a:avLst/>
              <a:gdLst>
                <a:gd name="T0" fmla="*/ 285 w 640"/>
                <a:gd name="T1" fmla="*/ 131 h 640"/>
                <a:gd name="T2" fmla="*/ 223 w 640"/>
                <a:gd name="T3" fmla="*/ 154 h 640"/>
                <a:gd name="T4" fmla="*/ 173 w 640"/>
                <a:gd name="T5" fmla="*/ 196 h 640"/>
                <a:gd name="T6" fmla="*/ 140 w 640"/>
                <a:gd name="T7" fmla="*/ 253 h 640"/>
                <a:gd name="T8" fmla="*/ 128 w 640"/>
                <a:gd name="T9" fmla="*/ 320 h 640"/>
                <a:gd name="T10" fmla="*/ 140 w 640"/>
                <a:gd name="T11" fmla="*/ 387 h 640"/>
                <a:gd name="T12" fmla="*/ 173 w 640"/>
                <a:gd name="T13" fmla="*/ 444 h 640"/>
                <a:gd name="T14" fmla="*/ 223 w 640"/>
                <a:gd name="T15" fmla="*/ 486 h 640"/>
                <a:gd name="T16" fmla="*/ 285 w 640"/>
                <a:gd name="T17" fmla="*/ 509 h 640"/>
                <a:gd name="T18" fmla="*/ 355 w 640"/>
                <a:gd name="T19" fmla="*/ 509 h 640"/>
                <a:gd name="T20" fmla="*/ 417 w 640"/>
                <a:gd name="T21" fmla="*/ 486 h 640"/>
                <a:gd name="T22" fmla="*/ 467 w 640"/>
                <a:gd name="T23" fmla="*/ 444 h 640"/>
                <a:gd name="T24" fmla="*/ 500 w 640"/>
                <a:gd name="T25" fmla="*/ 387 h 640"/>
                <a:gd name="T26" fmla="*/ 512 w 640"/>
                <a:gd name="T27" fmla="*/ 320 h 640"/>
                <a:gd name="T28" fmla="*/ 500 w 640"/>
                <a:gd name="T29" fmla="*/ 253 h 640"/>
                <a:gd name="T30" fmla="*/ 467 w 640"/>
                <a:gd name="T31" fmla="*/ 196 h 640"/>
                <a:gd name="T32" fmla="*/ 417 w 640"/>
                <a:gd name="T33" fmla="*/ 154 h 640"/>
                <a:gd name="T34" fmla="*/ 355 w 640"/>
                <a:gd name="T35" fmla="*/ 131 h 640"/>
                <a:gd name="T36" fmla="*/ 320 w 640"/>
                <a:gd name="T37" fmla="*/ 0 h 640"/>
                <a:gd name="T38" fmla="*/ 413 w 640"/>
                <a:gd name="T39" fmla="*/ 14 h 640"/>
                <a:gd name="T40" fmla="*/ 494 w 640"/>
                <a:gd name="T41" fmla="*/ 52 h 640"/>
                <a:gd name="T42" fmla="*/ 562 w 640"/>
                <a:gd name="T43" fmla="*/ 110 h 640"/>
                <a:gd name="T44" fmla="*/ 610 w 640"/>
                <a:gd name="T45" fmla="*/ 185 h 640"/>
                <a:gd name="T46" fmla="*/ 636 w 640"/>
                <a:gd name="T47" fmla="*/ 273 h 640"/>
                <a:gd name="T48" fmla="*/ 636 w 640"/>
                <a:gd name="T49" fmla="*/ 367 h 640"/>
                <a:gd name="T50" fmla="*/ 610 w 640"/>
                <a:gd name="T51" fmla="*/ 455 h 640"/>
                <a:gd name="T52" fmla="*/ 562 w 640"/>
                <a:gd name="T53" fmla="*/ 530 h 640"/>
                <a:gd name="T54" fmla="*/ 494 w 640"/>
                <a:gd name="T55" fmla="*/ 588 h 640"/>
                <a:gd name="T56" fmla="*/ 413 w 640"/>
                <a:gd name="T57" fmla="*/ 626 h 640"/>
                <a:gd name="T58" fmla="*/ 320 w 640"/>
                <a:gd name="T59" fmla="*/ 640 h 640"/>
                <a:gd name="T60" fmla="*/ 227 w 640"/>
                <a:gd name="T61" fmla="*/ 626 h 640"/>
                <a:gd name="T62" fmla="*/ 146 w 640"/>
                <a:gd name="T63" fmla="*/ 588 h 640"/>
                <a:gd name="T64" fmla="*/ 78 w 640"/>
                <a:gd name="T65" fmla="*/ 530 h 640"/>
                <a:gd name="T66" fmla="*/ 30 w 640"/>
                <a:gd name="T67" fmla="*/ 455 h 640"/>
                <a:gd name="T68" fmla="*/ 4 w 640"/>
                <a:gd name="T69" fmla="*/ 367 h 640"/>
                <a:gd name="T70" fmla="*/ 4 w 640"/>
                <a:gd name="T71" fmla="*/ 273 h 640"/>
                <a:gd name="T72" fmla="*/ 30 w 640"/>
                <a:gd name="T73" fmla="*/ 185 h 640"/>
                <a:gd name="T74" fmla="*/ 78 w 640"/>
                <a:gd name="T75" fmla="*/ 110 h 640"/>
                <a:gd name="T76" fmla="*/ 146 w 640"/>
                <a:gd name="T77" fmla="*/ 52 h 640"/>
                <a:gd name="T78" fmla="*/ 227 w 640"/>
                <a:gd name="T79" fmla="*/ 14 h 640"/>
                <a:gd name="T80" fmla="*/ 320 w 640"/>
                <a:gd name="T81" fmla="*/ 0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0" h="640">
                  <a:moveTo>
                    <a:pt x="320" y="128"/>
                  </a:moveTo>
                  <a:lnTo>
                    <a:pt x="285" y="131"/>
                  </a:lnTo>
                  <a:lnTo>
                    <a:pt x="253" y="140"/>
                  </a:lnTo>
                  <a:lnTo>
                    <a:pt x="223" y="154"/>
                  </a:lnTo>
                  <a:lnTo>
                    <a:pt x="196" y="173"/>
                  </a:lnTo>
                  <a:lnTo>
                    <a:pt x="173" y="196"/>
                  </a:lnTo>
                  <a:lnTo>
                    <a:pt x="154" y="223"/>
                  </a:lnTo>
                  <a:lnTo>
                    <a:pt x="140" y="253"/>
                  </a:lnTo>
                  <a:lnTo>
                    <a:pt x="131" y="285"/>
                  </a:lnTo>
                  <a:lnTo>
                    <a:pt x="128" y="320"/>
                  </a:lnTo>
                  <a:lnTo>
                    <a:pt x="131" y="355"/>
                  </a:lnTo>
                  <a:lnTo>
                    <a:pt x="140" y="387"/>
                  </a:lnTo>
                  <a:lnTo>
                    <a:pt x="154" y="417"/>
                  </a:lnTo>
                  <a:lnTo>
                    <a:pt x="173" y="444"/>
                  </a:lnTo>
                  <a:lnTo>
                    <a:pt x="196" y="467"/>
                  </a:lnTo>
                  <a:lnTo>
                    <a:pt x="223" y="486"/>
                  </a:lnTo>
                  <a:lnTo>
                    <a:pt x="253" y="500"/>
                  </a:lnTo>
                  <a:lnTo>
                    <a:pt x="285" y="509"/>
                  </a:lnTo>
                  <a:lnTo>
                    <a:pt x="320" y="512"/>
                  </a:lnTo>
                  <a:lnTo>
                    <a:pt x="355" y="509"/>
                  </a:lnTo>
                  <a:lnTo>
                    <a:pt x="387" y="500"/>
                  </a:lnTo>
                  <a:lnTo>
                    <a:pt x="417" y="486"/>
                  </a:lnTo>
                  <a:lnTo>
                    <a:pt x="444" y="467"/>
                  </a:lnTo>
                  <a:lnTo>
                    <a:pt x="467" y="444"/>
                  </a:lnTo>
                  <a:lnTo>
                    <a:pt x="486" y="417"/>
                  </a:lnTo>
                  <a:lnTo>
                    <a:pt x="500" y="387"/>
                  </a:lnTo>
                  <a:lnTo>
                    <a:pt x="509" y="355"/>
                  </a:lnTo>
                  <a:lnTo>
                    <a:pt x="512" y="320"/>
                  </a:lnTo>
                  <a:lnTo>
                    <a:pt x="509" y="285"/>
                  </a:lnTo>
                  <a:lnTo>
                    <a:pt x="500" y="253"/>
                  </a:lnTo>
                  <a:lnTo>
                    <a:pt x="486" y="223"/>
                  </a:lnTo>
                  <a:lnTo>
                    <a:pt x="467" y="196"/>
                  </a:lnTo>
                  <a:lnTo>
                    <a:pt x="444" y="173"/>
                  </a:lnTo>
                  <a:lnTo>
                    <a:pt x="417" y="154"/>
                  </a:lnTo>
                  <a:lnTo>
                    <a:pt x="387" y="140"/>
                  </a:lnTo>
                  <a:lnTo>
                    <a:pt x="355" y="131"/>
                  </a:lnTo>
                  <a:lnTo>
                    <a:pt x="320" y="128"/>
                  </a:lnTo>
                  <a:close/>
                  <a:moveTo>
                    <a:pt x="320" y="0"/>
                  </a:moveTo>
                  <a:lnTo>
                    <a:pt x="367" y="4"/>
                  </a:lnTo>
                  <a:lnTo>
                    <a:pt x="413" y="14"/>
                  </a:lnTo>
                  <a:lnTo>
                    <a:pt x="455" y="30"/>
                  </a:lnTo>
                  <a:lnTo>
                    <a:pt x="494" y="52"/>
                  </a:lnTo>
                  <a:lnTo>
                    <a:pt x="530" y="78"/>
                  </a:lnTo>
                  <a:lnTo>
                    <a:pt x="562" y="110"/>
                  </a:lnTo>
                  <a:lnTo>
                    <a:pt x="588" y="146"/>
                  </a:lnTo>
                  <a:lnTo>
                    <a:pt x="610" y="185"/>
                  </a:lnTo>
                  <a:lnTo>
                    <a:pt x="626" y="227"/>
                  </a:lnTo>
                  <a:lnTo>
                    <a:pt x="636" y="273"/>
                  </a:lnTo>
                  <a:lnTo>
                    <a:pt x="640" y="320"/>
                  </a:lnTo>
                  <a:lnTo>
                    <a:pt x="636" y="367"/>
                  </a:lnTo>
                  <a:lnTo>
                    <a:pt x="626" y="413"/>
                  </a:lnTo>
                  <a:lnTo>
                    <a:pt x="610" y="455"/>
                  </a:lnTo>
                  <a:lnTo>
                    <a:pt x="588" y="494"/>
                  </a:lnTo>
                  <a:lnTo>
                    <a:pt x="562" y="530"/>
                  </a:lnTo>
                  <a:lnTo>
                    <a:pt x="530" y="562"/>
                  </a:lnTo>
                  <a:lnTo>
                    <a:pt x="494" y="588"/>
                  </a:lnTo>
                  <a:lnTo>
                    <a:pt x="455" y="610"/>
                  </a:lnTo>
                  <a:lnTo>
                    <a:pt x="413" y="626"/>
                  </a:lnTo>
                  <a:lnTo>
                    <a:pt x="367" y="636"/>
                  </a:lnTo>
                  <a:lnTo>
                    <a:pt x="320" y="640"/>
                  </a:lnTo>
                  <a:lnTo>
                    <a:pt x="273" y="636"/>
                  </a:lnTo>
                  <a:lnTo>
                    <a:pt x="227" y="626"/>
                  </a:lnTo>
                  <a:lnTo>
                    <a:pt x="185" y="610"/>
                  </a:lnTo>
                  <a:lnTo>
                    <a:pt x="146" y="588"/>
                  </a:lnTo>
                  <a:lnTo>
                    <a:pt x="110" y="562"/>
                  </a:lnTo>
                  <a:lnTo>
                    <a:pt x="78" y="530"/>
                  </a:lnTo>
                  <a:lnTo>
                    <a:pt x="52" y="494"/>
                  </a:lnTo>
                  <a:lnTo>
                    <a:pt x="30" y="455"/>
                  </a:lnTo>
                  <a:lnTo>
                    <a:pt x="14" y="413"/>
                  </a:lnTo>
                  <a:lnTo>
                    <a:pt x="4" y="367"/>
                  </a:lnTo>
                  <a:lnTo>
                    <a:pt x="0" y="320"/>
                  </a:lnTo>
                  <a:lnTo>
                    <a:pt x="4" y="273"/>
                  </a:lnTo>
                  <a:lnTo>
                    <a:pt x="14" y="227"/>
                  </a:lnTo>
                  <a:lnTo>
                    <a:pt x="30" y="185"/>
                  </a:lnTo>
                  <a:lnTo>
                    <a:pt x="52" y="146"/>
                  </a:lnTo>
                  <a:lnTo>
                    <a:pt x="78" y="110"/>
                  </a:lnTo>
                  <a:lnTo>
                    <a:pt x="110" y="78"/>
                  </a:lnTo>
                  <a:lnTo>
                    <a:pt x="146" y="52"/>
                  </a:lnTo>
                  <a:lnTo>
                    <a:pt x="185" y="30"/>
                  </a:lnTo>
                  <a:lnTo>
                    <a:pt x="227" y="14"/>
                  </a:lnTo>
                  <a:lnTo>
                    <a:pt x="273" y="4"/>
                  </a:lnTo>
                  <a:lnTo>
                    <a:pt x="3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64" name="Rectangle 763"/>
          <p:cNvSpPr/>
          <p:nvPr/>
        </p:nvSpPr>
        <p:spPr>
          <a:xfrm>
            <a:off x="481253" y="70747"/>
            <a:ext cx="12602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CONTEXT</a:t>
            </a:r>
            <a:endParaRPr lang="en-US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08950" y="2972205"/>
            <a:ext cx="3198044" cy="2206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49" name="Freeform 36"/>
          <p:cNvSpPr>
            <a:spLocks noEditPoints="1"/>
          </p:cNvSpPr>
          <p:nvPr/>
        </p:nvSpPr>
        <p:spPr bwMode="auto">
          <a:xfrm>
            <a:off x="9011537" y="3783489"/>
            <a:ext cx="116713" cy="168043"/>
          </a:xfrm>
          <a:custGeom>
            <a:avLst/>
            <a:gdLst>
              <a:gd name="T0" fmla="*/ 1131 w 2393"/>
              <a:gd name="T1" fmla="*/ 719 h 3444"/>
              <a:gd name="T2" fmla="*/ 1025 w 2393"/>
              <a:gd name="T3" fmla="*/ 746 h 3444"/>
              <a:gd name="T4" fmla="*/ 927 w 2393"/>
              <a:gd name="T5" fmla="*/ 797 h 3444"/>
              <a:gd name="T6" fmla="*/ 846 w 2393"/>
              <a:gd name="T7" fmla="*/ 874 h 3444"/>
              <a:gd name="T8" fmla="*/ 792 w 2393"/>
              <a:gd name="T9" fmla="*/ 976 h 3444"/>
              <a:gd name="T10" fmla="*/ 772 w 2393"/>
              <a:gd name="T11" fmla="*/ 1105 h 3444"/>
              <a:gd name="T12" fmla="*/ 772 w 2393"/>
              <a:gd name="T13" fmla="*/ 1218 h 3444"/>
              <a:gd name="T14" fmla="*/ 776 w 2393"/>
              <a:gd name="T15" fmla="*/ 1272 h 3444"/>
              <a:gd name="T16" fmla="*/ 804 w 2393"/>
              <a:gd name="T17" fmla="*/ 1353 h 3444"/>
              <a:gd name="T18" fmla="*/ 882 w 2393"/>
              <a:gd name="T19" fmla="*/ 1466 h 3444"/>
              <a:gd name="T20" fmla="*/ 977 w 2393"/>
              <a:gd name="T21" fmla="*/ 1541 h 3444"/>
              <a:gd name="T22" fmla="*/ 1082 w 2393"/>
              <a:gd name="T23" fmla="*/ 1582 h 3444"/>
              <a:gd name="T24" fmla="*/ 1190 w 2393"/>
              <a:gd name="T25" fmla="*/ 1595 h 3444"/>
              <a:gd name="T26" fmla="*/ 1342 w 2393"/>
              <a:gd name="T27" fmla="*/ 1569 h 3444"/>
              <a:gd name="T28" fmla="*/ 1471 w 2393"/>
              <a:gd name="T29" fmla="*/ 1498 h 3444"/>
              <a:gd name="T30" fmla="*/ 1570 w 2393"/>
              <a:gd name="T31" fmla="*/ 1392 h 3444"/>
              <a:gd name="T32" fmla="*/ 1629 w 2393"/>
              <a:gd name="T33" fmla="*/ 1256 h 3444"/>
              <a:gd name="T34" fmla="*/ 1638 w 2393"/>
              <a:gd name="T35" fmla="*/ 1103 h 3444"/>
              <a:gd name="T36" fmla="*/ 1598 w 2393"/>
              <a:gd name="T37" fmla="*/ 960 h 3444"/>
              <a:gd name="T38" fmla="*/ 1514 w 2393"/>
              <a:gd name="T39" fmla="*/ 842 h 3444"/>
              <a:gd name="T40" fmla="*/ 1398 w 2393"/>
              <a:gd name="T41" fmla="*/ 758 h 3444"/>
              <a:gd name="T42" fmla="*/ 1255 w 2393"/>
              <a:gd name="T43" fmla="*/ 716 h 3444"/>
              <a:gd name="T44" fmla="*/ 1237 w 2393"/>
              <a:gd name="T45" fmla="*/ 1 h 3444"/>
              <a:gd name="T46" fmla="*/ 1412 w 2393"/>
              <a:gd name="T47" fmla="*/ 22 h 3444"/>
              <a:gd name="T48" fmla="*/ 1590 w 2393"/>
              <a:gd name="T49" fmla="*/ 69 h 3444"/>
              <a:gd name="T50" fmla="*/ 1765 w 2393"/>
              <a:gd name="T51" fmla="*/ 145 h 3444"/>
              <a:gd name="T52" fmla="*/ 1932 w 2393"/>
              <a:gd name="T53" fmla="*/ 254 h 3444"/>
              <a:gd name="T54" fmla="*/ 2081 w 2393"/>
              <a:gd name="T55" fmla="*/ 397 h 3444"/>
              <a:gd name="T56" fmla="*/ 2210 w 2393"/>
              <a:gd name="T57" fmla="*/ 578 h 3444"/>
              <a:gd name="T58" fmla="*/ 2295 w 2393"/>
              <a:gd name="T59" fmla="*/ 752 h 3444"/>
              <a:gd name="T60" fmla="*/ 2336 w 2393"/>
              <a:gd name="T61" fmla="*/ 857 h 3444"/>
              <a:gd name="T62" fmla="*/ 2347 w 2393"/>
              <a:gd name="T63" fmla="*/ 887 h 3444"/>
              <a:gd name="T64" fmla="*/ 2366 w 2393"/>
              <a:gd name="T65" fmla="*/ 946 h 3444"/>
              <a:gd name="T66" fmla="*/ 2384 w 2393"/>
              <a:gd name="T67" fmla="*/ 1011 h 3444"/>
              <a:gd name="T68" fmla="*/ 2393 w 2393"/>
              <a:gd name="T69" fmla="*/ 1059 h 3444"/>
              <a:gd name="T70" fmla="*/ 2378 w 2393"/>
              <a:gd name="T71" fmla="*/ 1370 h 3444"/>
              <a:gd name="T72" fmla="*/ 2304 w 2393"/>
              <a:gd name="T73" fmla="*/ 1594 h 3444"/>
              <a:gd name="T74" fmla="*/ 2189 w 2393"/>
              <a:gd name="T75" fmla="*/ 1818 h 3444"/>
              <a:gd name="T76" fmla="*/ 2050 w 2393"/>
              <a:gd name="T77" fmla="*/ 2042 h 3444"/>
              <a:gd name="T78" fmla="*/ 1908 w 2393"/>
              <a:gd name="T79" fmla="*/ 2267 h 3444"/>
              <a:gd name="T80" fmla="*/ 1805 w 2393"/>
              <a:gd name="T81" fmla="*/ 2440 h 3444"/>
              <a:gd name="T82" fmla="*/ 1744 w 2393"/>
              <a:gd name="T83" fmla="*/ 2515 h 3444"/>
              <a:gd name="T84" fmla="*/ 1649 w 2393"/>
              <a:gd name="T85" fmla="*/ 2673 h 3444"/>
              <a:gd name="T86" fmla="*/ 1336 w 2393"/>
              <a:gd name="T87" fmla="*/ 3207 h 3444"/>
              <a:gd name="T88" fmla="*/ 1028 w 2393"/>
              <a:gd name="T89" fmla="*/ 3173 h 3444"/>
              <a:gd name="T90" fmla="*/ 525 w 2393"/>
              <a:gd name="T91" fmla="*/ 2354 h 3444"/>
              <a:gd name="T92" fmla="*/ 387 w 2393"/>
              <a:gd name="T93" fmla="*/ 2131 h 3444"/>
              <a:gd name="T94" fmla="*/ 249 w 2393"/>
              <a:gd name="T95" fmla="*/ 1905 h 3444"/>
              <a:gd name="T96" fmla="*/ 126 w 2393"/>
              <a:gd name="T97" fmla="*/ 1678 h 3444"/>
              <a:gd name="T98" fmla="*/ 36 w 2393"/>
              <a:gd name="T99" fmla="*/ 1453 h 3444"/>
              <a:gd name="T100" fmla="*/ 3 w 2393"/>
              <a:gd name="T101" fmla="*/ 1291 h 3444"/>
              <a:gd name="T102" fmla="*/ 1 w 2393"/>
              <a:gd name="T103" fmla="*/ 1244 h 3444"/>
              <a:gd name="T104" fmla="*/ 0 w 2393"/>
              <a:gd name="T105" fmla="*/ 1216 h 3444"/>
              <a:gd name="T106" fmla="*/ 28 w 2393"/>
              <a:gd name="T107" fmla="*/ 903 h 3444"/>
              <a:gd name="T108" fmla="*/ 101 w 2393"/>
              <a:gd name="T109" fmla="*/ 681 h 3444"/>
              <a:gd name="T110" fmla="*/ 210 w 2393"/>
              <a:gd name="T111" fmla="*/ 491 h 3444"/>
              <a:gd name="T112" fmla="*/ 346 w 2393"/>
              <a:gd name="T113" fmla="*/ 332 h 3444"/>
              <a:gd name="T114" fmla="*/ 504 w 2393"/>
              <a:gd name="T115" fmla="*/ 204 h 3444"/>
              <a:gd name="T116" fmla="*/ 678 w 2393"/>
              <a:gd name="T117" fmla="*/ 108 h 3444"/>
              <a:gd name="T118" fmla="*/ 863 w 2393"/>
              <a:gd name="T119" fmla="*/ 42 h 3444"/>
              <a:gd name="T120" fmla="*/ 1053 w 2393"/>
              <a:gd name="T121" fmla="*/ 6 h 3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393" h="3444">
                <a:moveTo>
                  <a:pt x="1203" y="713"/>
                </a:moveTo>
                <a:lnTo>
                  <a:pt x="1168" y="714"/>
                </a:lnTo>
                <a:lnTo>
                  <a:pt x="1131" y="719"/>
                </a:lnTo>
                <a:lnTo>
                  <a:pt x="1095" y="725"/>
                </a:lnTo>
                <a:lnTo>
                  <a:pt x="1060" y="734"/>
                </a:lnTo>
                <a:lnTo>
                  <a:pt x="1025" y="746"/>
                </a:lnTo>
                <a:lnTo>
                  <a:pt x="990" y="760"/>
                </a:lnTo>
                <a:lnTo>
                  <a:pt x="958" y="778"/>
                </a:lnTo>
                <a:lnTo>
                  <a:pt x="927" y="797"/>
                </a:lnTo>
                <a:lnTo>
                  <a:pt x="898" y="820"/>
                </a:lnTo>
                <a:lnTo>
                  <a:pt x="871" y="845"/>
                </a:lnTo>
                <a:lnTo>
                  <a:pt x="846" y="874"/>
                </a:lnTo>
                <a:lnTo>
                  <a:pt x="825" y="905"/>
                </a:lnTo>
                <a:lnTo>
                  <a:pt x="807" y="939"/>
                </a:lnTo>
                <a:lnTo>
                  <a:pt x="792" y="976"/>
                </a:lnTo>
                <a:lnTo>
                  <a:pt x="781" y="1016"/>
                </a:lnTo>
                <a:lnTo>
                  <a:pt x="774" y="1059"/>
                </a:lnTo>
                <a:lnTo>
                  <a:pt x="772" y="1105"/>
                </a:lnTo>
                <a:lnTo>
                  <a:pt x="772" y="1200"/>
                </a:lnTo>
                <a:lnTo>
                  <a:pt x="772" y="1206"/>
                </a:lnTo>
                <a:lnTo>
                  <a:pt x="772" y="1218"/>
                </a:lnTo>
                <a:lnTo>
                  <a:pt x="773" y="1234"/>
                </a:lnTo>
                <a:lnTo>
                  <a:pt x="774" y="1253"/>
                </a:lnTo>
                <a:lnTo>
                  <a:pt x="776" y="1272"/>
                </a:lnTo>
                <a:lnTo>
                  <a:pt x="779" y="1291"/>
                </a:lnTo>
                <a:lnTo>
                  <a:pt x="783" y="1307"/>
                </a:lnTo>
                <a:lnTo>
                  <a:pt x="804" y="1353"/>
                </a:lnTo>
                <a:lnTo>
                  <a:pt x="827" y="1396"/>
                </a:lnTo>
                <a:lnTo>
                  <a:pt x="854" y="1433"/>
                </a:lnTo>
                <a:lnTo>
                  <a:pt x="882" y="1466"/>
                </a:lnTo>
                <a:lnTo>
                  <a:pt x="911" y="1494"/>
                </a:lnTo>
                <a:lnTo>
                  <a:pt x="943" y="1520"/>
                </a:lnTo>
                <a:lnTo>
                  <a:pt x="977" y="1541"/>
                </a:lnTo>
                <a:lnTo>
                  <a:pt x="1011" y="1558"/>
                </a:lnTo>
                <a:lnTo>
                  <a:pt x="1046" y="1571"/>
                </a:lnTo>
                <a:lnTo>
                  <a:pt x="1082" y="1582"/>
                </a:lnTo>
                <a:lnTo>
                  <a:pt x="1117" y="1589"/>
                </a:lnTo>
                <a:lnTo>
                  <a:pt x="1154" y="1594"/>
                </a:lnTo>
                <a:lnTo>
                  <a:pt x="1190" y="1595"/>
                </a:lnTo>
                <a:lnTo>
                  <a:pt x="1242" y="1593"/>
                </a:lnTo>
                <a:lnTo>
                  <a:pt x="1292" y="1583"/>
                </a:lnTo>
                <a:lnTo>
                  <a:pt x="1342" y="1569"/>
                </a:lnTo>
                <a:lnTo>
                  <a:pt x="1387" y="1550"/>
                </a:lnTo>
                <a:lnTo>
                  <a:pt x="1431" y="1527"/>
                </a:lnTo>
                <a:lnTo>
                  <a:pt x="1471" y="1498"/>
                </a:lnTo>
                <a:lnTo>
                  <a:pt x="1508" y="1467"/>
                </a:lnTo>
                <a:lnTo>
                  <a:pt x="1541" y="1431"/>
                </a:lnTo>
                <a:lnTo>
                  <a:pt x="1570" y="1392"/>
                </a:lnTo>
                <a:lnTo>
                  <a:pt x="1594" y="1349"/>
                </a:lnTo>
                <a:lnTo>
                  <a:pt x="1615" y="1304"/>
                </a:lnTo>
                <a:lnTo>
                  <a:pt x="1629" y="1256"/>
                </a:lnTo>
                <a:lnTo>
                  <a:pt x="1638" y="1206"/>
                </a:lnTo>
                <a:lnTo>
                  <a:pt x="1641" y="1154"/>
                </a:lnTo>
                <a:lnTo>
                  <a:pt x="1638" y="1103"/>
                </a:lnTo>
                <a:lnTo>
                  <a:pt x="1630" y="1053"/>
                </a:lnTo>
                <a:lnTo>
                  <a:pt x="1616" y="1005"/>
                </a:lnTo>
                <a:lnTo>
                  <a:pt x="1598" y="960"/>
                </a:lnTo>
                <a:lnTo>
                  <a:pt x="1574" y="917"/>
                </a:lnTo>
                <a:lnTo>
                  <a:pt x="1546" y="878"/>
                </a:lnTo>
                <a:lnTo>
                  <a:pt x="1514" y="842"/>
                </a:lnTo>
                <a:lnTo>
                  <a:pt x="1479" y="810"/>
                </a:lnTo>
                <a:lnTo>
                  <a:pt x="1440" y="782"/>
                </a:lnTo>
                <a:lnTo>
                  <a:pt x="1398" y="758"/>
                </a:lnTo>
                <a:lnTo>
                  <a:pt x="1353" y="739"/>
                </a:lnTo>
                <a:lnTo>
                  <a:pt x="1305" y="725"/>
                </a:lnTo>
                <a:lnTo>
                  <a:pt x="1255" y="716"/>
                </a:lnTo>
                <a:lnTo>
                  <a:pt x="1203" y="713"/>
                </a:lnTo>
                <a:close/>
                <a:moveTo>
                  <a:pt x="1180" y="0"/>
                </a:moveTo>
                <a:lnTo>
                  <a:pt x="1237" y="1"/>
                </a:lnTo>
                <a:lnTo>
                  <a:pt x="1295" y="5"/>
                </a:lnTo>
                <a:lnTo>
                  <a:pt x="1353" y="12"/>
                </a:lnTo>
                <a:lnTo>
                  <a:pt x="1412" y="22"/>
                </a:lnTo>
                <a:lnTo>
                  <a:pt x="1472" y="34"/>
                </a:lnTo>
                <a:lnTo>
                  <a:pt x="1530" y="50"/>
                </a:lnTo>
                <a:lnTo>
                  <a:pt x="1590" y="69"/>
                </a:lnTo>
                <a:lnTo>
                  <a:pt x="1649" y="91"/>
                </a:lnTo>
                <a:lnTo>
                  <a:pt x="1708" y="116"/>
                </a:lnTo>
                <a:lnTo>
                  <a:pt x="1765" y="145"/>
                </a:lnTo>
                <a:lnTo>
                  <a:pt x="1822" y="178"/>
                </a:lnTo>
                <a:lnTo>
                  <a:pt x="1877" y="214"/>
                </a:lnTo>
                <a:lnTo>
                  <a:pt x="1932" y="254"/>
                </a:lnTo>
                <a:lnTo>
                  <a:pt x="1983" y="297"/>
                </a:lnTo>
                <a:lnTo>
                  <a:pt x="2033" y="345"/>
                </a:lnTo>
                <a:lnTo>
                  <a:pt x="2081" y="397"/>
                </a:lnTo>
                <a:lnTo>
                  <a:pt x="2127" y="453"/>
                </a:lnTo>
                <a:lnTo>
                  <a:pt x="2170" y="513"/>
                </a:lnTo>
                <a:lnTo>
                  <a:pt x="2210" y="578"/>
                </a:lnTo>
                <a:lnTo>
                  <a:pt x="2247" y="647"/>
                </a:lnTo>
                <a:lnTo>
                  <a:pt x="2281" y="720"/>
                </a:lnTo>
                <a:lnTo>
                  <a:pt x="2295" y="752"/>
                </a:lnTo>
                <a:lnTo>
                  <a:pt x="2311" y="787"/>
                </a:lnTo>
                <a:lnTo>
                  <a:pt x="2324" y="822"/>
                </a:lnTo>
                <a:lnTo>
                  <a:pt x="2336" y="857"/>
                </a:lnTo>
                <a:lnTo>
                  <a:pt x="2338" y="862"/>
                </a:lnTo>
                <a:lnTo>
                  <a:pt x="2342" y="873"/>
                </a:lnTo>
                <a:lnTo>
                  <a:pt x="2347" y="887"/>
                </a:lnTo>
                <a:lnTo>
                  <a:pt x="2352" y="905"/>
                </a:lnTo>
                <a:lnTo>
                  <a:pt x="2359" y="924"/>
                </a:lnTo>
                <a:lnTo>
                  <a:pt x="2366" y="946"/>
                </a:lnTo>
                <a:lnTo>
                  <a:pt x="2373" y="968"/>
                </a:lnTo>
                <a:lnTo>
                  <a:pt x="2379" y="990"/>
                </a:lnTo>
                <a:lnTo>
                  <a:pt x="2384" y="1011"/>
                </a:lnTo>
                <a:lnTo>
                  <a:pt x="2389" y="1031"/>
                </a:lnTo>
                <a:lnTo>
                  <a:pt x="2392" y="1047"/>
                </a:lnTo>
                <a:lnTo>
                  <a:pt x="2393" y="1059"/>
                </a:lnTo>
                <a:lnTo>
                  <a:pt x="2393" y="1221"/>
                </a:lnTo>
                <a:lnTo>
                  <a:pt x="2389" y="1295"/>
                </a:lnTo>
                <a:lnTo>
                  <a:pt x="2378" y="1370"/>
                </a:lnTo>
                <a:lnTo>
                  <a:pt x="2359" y="1444"/>
                </a:lnTo>
                <a:lnTo>
                  <a:pt x="2334" y="1518"/>
                </a:lnTo>
                <a:lnTo>
                  <a:pt x="2304" y="1594"/>
                </a:lnTo>
                <a:lnTo>
                  <a:pt x="2270" y="1668"/>
                </a:lnTo>
                <a:lnTo>
                  <a:pt x="2231" y="1743"/>
                </a:lnTo>
                <a:lnTo>
                  <a:pt x="2189" y="1818"/>
                </a:lnTo>
                <a:lnTo>
                  <a:pt x="2144" y="1892"/>
                </a:lnTo>
                <a:lnTo>
                  <a:pt x="2098" y="1967"/>
                </a:lnTo>
                <a:lnTo>
                  <a:pt x="2050" y="2042"/>
                </a:lnTo>
                <a:lnTo>
                  <a:pt x="2002" y="2116"/>
                </a:lnTo>
                <a:lnTo>
                  <a:pt x="1955" y="2191"/>
                </a:lnTo>
                <a:lnTo>
                  <a:pt x="1908" y="2267"/>
                </a:lnTo>
                <a:lnTo>
                  <a:pt x="1863" y="2341"/>
                </a:lnTo>
                <a:lnTo>
                  <a:pt x="1821" y="2416"/>
                </a:lnTo>
                <a:lnTo>
                  <a:pt x="1805" y="2440"/>
                </a:lnTo>
                <a:lnTo>
                  <a:pt x="1786" y="2465"/>
                </a:lnTo>
                <a:lnTo>
                  <a:pt x="1764" y="2490"/>
                </a:lnTo>
                <a:lnTo>
                  <a:pt x="1744" y="2515"/>
                </a:lnTo>
                <a:lnTo>
                  <a:pt x="1727" y="2541"/>
                </a:lnTo>
                <a:lnTo>
                  <a:pt x="1688" y="2606"/>
                </a:lnTo>
                <a:lnTo>
                  <a:pt x="1649" y="2673"/>
                </a:lnTo>
                <a:lnTo>
                  <a:pt x="1610" y="2740"/>
                </a:lnTo>
                <a:lnTo>
                  <a:pt x="1474" y="2972"/>
                </a:lnTo>
                <a:lnTo>
                  <a:pt x="1336" y="3207"/>
                </a:lnTo>
                <a:lnTo>
                  <a:pt x="1197" y="3444"/>
                </a:lnTo>
                <a:lnTo>
                  <a:pt x="1197" y="3444"/>
                </a:lnTo>
                <a:lnTo>
                  <a:pt x="1028" y="3173"/>
                </a:lnTo>
                <a:lnTo>
                  <a:pt x="858" y="2902"/>
                </a:lnTo>
                <a:lnTo>
                  <a:pt x="691" y="2629"/>
                </a:lnTo>
                <a:lnTo>
                  <a:pt x="525" y="2354"/>
                </a:lnTo>
                <a:lnTo>
                  <a:pt x="480" y="2280"/>
                </a:lnTo>
                <a:lnTo>
                  <a:pt x="434" y="2206"/>
                </a:lnTo>
                <a:lnTo>
                  <a:pt x="387" y="2131"/>
                </a:lnTo>
                <a:lnTo>
                  <a:pt x="340" y="2056"/>
                </a:lnTo>
                <a:lnTo>
                  <a:pt x="293" y="1981"/>
                </a:lnTo>
                <a:lnTo>
                  <a:pt x="249" y="1905"/>
                </a:lnTo>
                <a:lnTo>
                  <a:pt x="205" y="1830"/>
                </a:lnTo>
                <a:lnTo>
                  <a:pt x="163" y="1753"/>
                </a:lnTo>
                <a:lnTo>
                  <a:pt x="126" y="1678"/>
                </a:lnTo>
                <a:lnTo>
                  <a:pt x="92" y="1602"/>
                </a:lnTo>
                <a:lnTo>
                  <a:pt x="62" y="1527"/>
                </a:lnTo>
                <a:lnTo>
                  <a:pt x="36" y="1453"/>
                </a:lnTo>
                <a:lnTo>
                  <a:pt x="18" y="1378"/>
                </a:lnTo>
                <a:lnTo>
                  <a:pt x="5" y="1305"/>
                </a:lnTo>
                <a:lnTo>
                  <a:pt x="3" y="1291"/>
                </a:lnTo>
                <a:lnTo>
                  <a:pt x="2" y="1276"/>
                </a:lnTo>
                <a:lnTo>
                  <a:pt x="2" y="1259"/>
                </a:lnTo>
                <a:lnTo>
                  <a:pt x="1" y="1244"/>
                </a:lnTo>
                <a:lnTo>
                  <a:pt x="0" y="1231"/>
                </a:lnTo>
                <a:lnTo>
                  <a:pt x="0" y="1221"/>
                </a:lnTo>
                <a:lnTo>
                  <a:pt x="0" y="1216"/>
                </a:lnTo>
                <a:lnTo>
                  <a:pt x="0" y="1069"/>
                </a:lnTo>
                <a:lnTo>
                  <a:pt x="12" y="984"/>
                </a:lnTo>
                <a:lnTo>
                  <a:pt x="28" y="903"/>
                </a:lnTo>
                <a:lnTo>
                  <a:pt x="48" y="825"/>
                </a:lnTo>
                <a:lnTo>
                  <a:pt x="74" y="751"/>
                </a:lnTo>
                <a:lnTo>
                  <a:pt x="101" y="681"/>
                </a:lnTo>
                <a:lnTo>
                  <a:pt x="134" y="614"/>
                </a:lnTo>
                <a:lnTo>
                  <a:pt x="171" y="551"/>
                </a:lnTo>
                <a:lnTo>
                  <a:pt x="210" y="491"/>
                </a:lnTo>
                <a:lnTo>
                  <a:pt x="252" y="435"/>
                </a:lnTo>
                <a:lnTo>
                  <a:pt x="298" y="382"/>
                </a:lnTo>
                <a:lnTo>
                  <a:pt x="346" y="332"/>
                </a:lnTo>
                <a:lnTo>
                  <a:pt x="396" y="286"/>
                </a:lnTo>
                <a:lnTo>
                  <a:pt x="449" y="243"/>
                </a:lnTo>
                <a:lnTo>
                  <a:pt x="504" y="204"/>
                </a:lnTo>
                <a:lnTo>
                  <a:pt x="560" y="169"/>
                </a:lnTo>
                <a:lnTo>
                  <a:pt x="618" y="137"/>
                </a:lnTo>
                <a:lnTo>
                  <a:pt x="678" y="108"/>
                </a:lnTo>
                <a:lnTo>
                  <a:pt x="739" y="83"/>
                </a:lnTo>
                <a:lnTo>
                  <a:pt x="800" y="60"/>
                </a:lnTo>
                <a:lnTo>
                  <a:pt x="863" y="42"/>
                </a:lnTo>
                <a:lnTo>
                  <a:pt x="926" y="26"/>
                </a:lnTo>
                <a:lnTo>
                  <a:pt x="990" y="15"/>
                </a:lnTo>
                <a:lnTo>
                  <a:pt x="1053" y="6"/>
                </a:lnTo>
                <a:lnTo>
                  <a:pt x="1117" y="2"/>
                </a:lnTo>
                <a:lnTo>
                  <a:pt x="1180" y="0"/>
                </a:lnTo>
                <a:close/>
              </a:path>
            </a:pathLst>
          </a:custGeom>
          <a:solidFill>
            <a:srgbClr val="0084C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750" name="Freeform 36"/>
          <p:cNvSpPr>
            <a:spLocks noEditPoints="1"/>
          </p:cNvSpPr>
          <p:nvPr/>
        </p:nvSpPr>
        <p:spPr bwMode="auto">
          <a:xfrm>
            <a:off x="9818323" y="3699502"/>
            <a:ext cx="116713" cy="168043"/>
          </a:xfrm>
          <a:custGeom>
            <a:avLst/>
            <a:gdLst>
              <a:gd name="T0" fmla="*/ 1131 w 2393"/>
              <a:gd name="T1" fmla="*/ 719 h 3444"/>
              <a:gd name="T2" fmla="*/ 1025 w 2393"/>
              <a:gd name="T3" fmla="*/ 746 h 3444"/>
              <a:gd name="T4" fmla="*/ 927 w 2393"/>
              <a:gd name="T5" fmla="*/ 797 h 3444"/>
              <a:gd name="T6" fmla="*/ 846 w 2393"/>
              <a:gd name="T7" fmla="*/ 874 h 3444"/>
              <a:gd name="T8" fmla="*/ 792 w 2393"/>
              <a:gd name="T9" fmla="*/ 976 h 3444"/>
              <a:gd name="T10" fmla="*/ 772 w 2393"/>
              <a:gd name="T11" fmla="*/ 1105 h 3444"/>
              <a:gd name="T12" fmla="*/ 772 w 2393"/>
              <a:gd name="T13" fmla="*/ 1218 h 3444"/>
              <a:gd name="T14" fmla="*/ 776 w 2393"/>
              <a:gd name="T15" fmla="*/ 1272 h 3444"/>
              <a:gd name="T16" fmla="*/ 804 w 2393"/>
              <a:gd name="T17" fmla="*/ 1353 h 3444"/>
              <a:gd name="T18" fmla="*/ 882 w 2393"/>
              <a:gd name="T19" fmla="*/ 1466 h 3444"/>
              <a:gd name="T20" fmla="*/ 977 w 2393"/>
              <a:gd name="T21" fmla="*/ 1541 h 3444"/>
              <a:gd name="T22" fmla="*/ 1082 w 2393"/>
              <a:gd name="T23" fmla="*/ 1582 h 3444"/>
              <a:gd name="T24" fmla="*/ 1190 w 2393"/>
              <a:gd name="T25" fmla="*/ 1595 h 3444"/>
              <a:gd name="T26" fmla="*/ 1342 w 2393"/>
              <a:gd name="T27" fmla="*/ 1569 h 3444"/>
              <a:gd name="T28" fmla="*/ 1471 w 2393"/>
              <a:gd name="T29" fmla="*/ 1498 h 3444"/>
              <a:gd name="T30" fmla="*/ 1570 w 2393"/>
              <a:gd name="T31" fmla="*/ 1392 h 3444"/>
              <a:gd name="T32" fmla="*/ 1629 w 2393"/>
              <a:gd name="T33" fmla="*/ 1256 h 3444"/>
              <a:gd name="T34" fmla="*/ 1638 w 2393"/>
              <a:gd name="T35" fmla="*/ 1103 h 3444"/>
              <a:gd name="T36" fmla="*/ 1598 w 2393"/>
              <a:gd name="T37" fmla="*/ 960 h 3444"/>
              <a:gd name="T38" fmla="*/ 1514 w 2393"/>
              <a:gd name="T39" fmla="*/ 842 h 3444"/>
              <a:gd name="T40" fmla="*/ 1398 w 2393"/>
              <a:gd name="T41" fmla="*/ 758 h 3444"/>
              <a:gd name="T42" fmla="*/ 1255 w 2393"/>
              <a:gd name="T43" fmla="*/ 716 h 3444"/>
              <a:gd name="T44" fmla="*/ 1237 w 2393"/>
              <a:gd name="T45" fmla="*/ 1 h 3444"/>
              <a:gd name="T46" fmla="*/ 1412 w 2393"/>
              <a:gd name="T47" fmla="*/ 22 h 3444"/>
              <a:gd name="T48" fmla="*/ 1590 w 2393"/>
              <a:gd name="T49" fmla="*/ 69 h 3444"/>
              <a:gd name="T50" fmla="*/ 1765 w 2393"/>
              <a:gd name="T51" fmla="*/ 145 h 3444"/>
              <a:gd name="T52" fmla="*/ 1932 w 2393"/>
              <a:gd name="T53" fmla="*/ 254 h 3444"/>
              <a:gd name="T54" fmla="*/ 2081 w 2393"/>
              <a:gd name="T55" fmla="*/ 397 h 3444"/>
              <a:gd name="T56" fmla="*/ 2210 w 2393"/>
              <a:gd name="T57" fmla="*/ 578 h 3444"/>
              <a:gd name="T58" fmla="*/ 2295 w 2393"/>
              <a:gd name="T59" fmla="*/ 752 h 3444"/>
              <a:gd name="T60" fmla="*/ 2336 w 2393"/>
              <a:gd name="T61" fmla="*/ 857 h 3444"/>
              <a:gd name="T62" fmla="*/ 2347 w 2393"/>
              <a:gd name="T63" fmla="*/ 887 h 3444"/>
              <a:gd name="T64" fmla="*/ 2366 w 2393"/>
              <a:gd name="T65" fmla="*/ 946 h 3444"/>
              <a:gd name="T66" fmla="*/ 2384 w 2393"/>
              <a:gd name="T67" fmla="*/ 1011 h 3444"/>
              <a:gd name="T68" fmla="*/ 2393 w 2393"/>
              <a:gd name="T69" fmla="*/ 1059 h 3444"/>
              <a:gd name="T70" fmla="*/ 2378 w 2393"/>
              <a:gd name="T71" fmla="*/ 1370 h 3444"/>
              <a:gd name="T72" fmla="*/ 2304 w 2393"/>
              <a:gd name="T73" fmla="*/ 1594 h 3444"/>
              <a:gd name="T74" fmla="*/ 2189 w 2393"/>
              <a:gd name="T75" fmla="*/ 1818 h 3444"/>
              <a:gd name="T76" fmla="*/ 2050 w 2393"/>
              <a:gd name="T77" fmla="*/ 2042 h 3444"/>
              <a:gd name="T78" fmla="*/ 1908 w 2393"/>
              <a:gd name="T79" fmla="*/ 2267 h 3444"/>
              <a:gd name="T80" fmla="*/ 1805 w 2393"/>
              <a:gd name="T81" fmla="*/ 2440 h 3444"/>
              <a:gd name="T82" fmla="*/ 1744 w 2393"/>
              <a:gd name="T83" fmla="*/ 2515 h 3444"/>
              <a:gd name="T84" fmla="*/ 1649 w 2393"/>
              <a:gd name="T85" fmla="*/ 2673 h 3444"/>
              <a:gd name="T86" fmla="*/ 1336 w 2393"/>
              <a:gd name="T87" fmla="*/ 3207 h 3444"/>
              <a:gd name="T88" fmla="*/ 1028 w 2393"/>
              <a:gd name="T89" fmla="*/ 3173 h 3444"/>
              <a:gd name="T90" fmla="*/ 525 w 2393"/>
              <a:gd name="T91" fmla="*/ 2354 h 3444"/>
              <a:gd name="T92" fmla="*/ 387 w 2393"/>
              <a:gd name="T93" fmla="*/ 2131 h 3444"/>
              <a:gd name="T94" fmla="*/ 249 w 2393"/>
              <a:gd name="T95" fmla="*/ 1905 h 3444"/>
              <a:gd name="T96" fmla="*/ 126 w 2393"/>
              <a:gd name="T97" fmla="*/ 1678 h 3444"/>
              <a:gd name="T98" fmla="*/ 36 w 2393"/>
              <a:gd name="T99" fmla="*/ 1453 h 3444"/>
              <a:gd name="T100" fmla="*/ 3 w 2393"/>
              <a:gd name="T101" fmla="*/ 1291 h 3444"/>
              <a:gd name="T102" fmla="*/ 1 w 2393"/>
              <a:gd name="T103" fmla="*/ 1244 h 3444"/>
              <a:gd name="T104" fmla="*/ 0 w 2393"/>
              <a:gd name="T105" fmla="*/ 1216 h 3444"/>
              <a:gd name="T106" fmla="*/ 28 w 2393"/>
              <a:gd name="T107" fmla="*/ 903 h 3444"/>
              <a:gd name="T108" fmla="*/ 101 w 2393"/>
              <a:gd name="T109" fmla="*/ 681 h 3444"/>
              <a:gd name="T110" fmla="*/ 210 w 2393"/>
              <a:gd name="T111" fmla="*/ 491 h 3444"/>
              <a:gd name="T112" fmla="*/ 346 w 2393"/>
              <a:gd name="T113" fmla="*/ 332 h 3444"/>
              <a:gd name="T114" fmla="*/ 504 w 2393"/>
              <a:gd name="T115" fmla="*/ 204 h 3444"/>
              <a:gd name="T116" fmla="*/ 678 w 2393"/>
              <a:gd name="T117" fmla="*/ 108 h 3444"/>
              <a:gd name="T118" fmla="*/ 863 w 2393"/>
              <a:gd name="T119" fmla="*/ 42 h 3444"/>
              <a:gd name="T120" fmla="*/ 1053 w 2393"/>
              <a:gd name="T121" fmla="*/ 6 h 3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393" h="3444">
                <a:moveTo>
                  <a:pt x="1203" y="713"/>
                </a:moveTo>
                <a:lnTo>
                  <a:pt x="1168" y="714"/>
                </a:lnTo>
                <a:lnTo>
                  <a:pt x="1131" y="719"/>
                </a:lnTo>
                <a:lnTo>
                  <a:pt x="1095" y="725"/>
                </a:lnTo>
                <a:lnTo>
                  <a:pt x="1060" y="734"/>
                </a:lnTo>
                <a:lnTo>
                  <a:pt x="1025" y="746"/>
                </a:lnTo>
                <a:lnTo>
                  <a:pt x="990" y="760"/>
                </a:lnTo>
                <a:lnTo>
                  <a:pt x="958" y="778"/>
                </a:lnTo>
                <a:lnTo>
                  <a:pt x="927" y="797"/>
                </a:lnTo>
                <a:lnTo>
                  <a:pt x="898" y="820"/>
                </a:lnTo>
                <a:lnTo>
                  <a:pt x="871" y="845"/>
                </a:lnTo>
                <a:lnTo>
                  <a:pt x="846" y="874"/>
                </a:lnTo>
                <a:lnTo>
                  <a:pt x="825" y="905"/>
                </a:lnTo>
                <a:lnTo>
                  <a:pt x="807" y="939"/>
                </a:lnTo>
                <a:lnTo>
                  <a:pt x="792" y="976"/>
                </a:lnTo>
                <a:lnTo>
                  <a:pt x="781" y="1016"/>
                </a:lnTo>
                <a:lnTo>
                  <a:pt x="774" y="1059"/>
                </a:lnTo>
                <a:lnTo>
                  <a:pt x="772" y="1105"/>
                </a:lnTo>
                <a:lnTo>
                  <a:pt x="772" y="1200"/>
                </a:lnTo>
                <a:lnTo>
                  <a:pt x="772" y="1206"/>
                </a:lnTo>
                <a:lnTo>
                  <a:pt x="772" y="1218"/>
                </a:lnTo>
                <a:lnTo>
                  <a:pt x="773" y="1234"/>
                </a:lnTo>
                <a:lnTo>
                  <a:pt x="774" y="1253"/>
                </a:lnTo>
                <a:lnTo>
                  <a:pt x="776" y="1272"/>
                </a:lnTo>
                <a:lnTo>
                  <a:pt x="779" y="1291"/>
                </a:lnTo>
                <a:lnTo>
                  <a:pt x="783" y="1307"/>
                </a:lnTo>
                <a:lnTo>
                  <a:pt x="804" y="1353"/>
                </a:lnTo>
                <a:lnTo>
                  <a:pt x="827" y="1396"/>
                </a:lnTo>
                <a:lnTo>
                  <a:pt x="854" y="1433"/>
                </a:lnTo>
                <a:lnTo>
                  <a:pt x="882" y="1466"/>
                </a:lnTo>
                <a:lnTo>
                  <a:pt x="911" y="1494"/>
                </a:lnTo>
                <a:lnTo>
                  <a:pt x="943" y="1520"/>
                </a:lnTo>
                <a:lnTo>
                  <a:pt x="977" y="1541"/>
                </a:lnTo>
                <a:lnTo>
                  <a:pt x="1011" y="1558"/>
                </a:lnTo>
                <a:lnTo>
                  <a:pt x="1046" y="1571"/>
                </a:lnTo>
                <a:lnTo>
                  <a:pt x="1082" y="1582"/>
                </a:lnTo>
                <a:lnTo>
                  <a:pt x="1117" y="1589"/>
                </a:lnTo>
                <a:lnTo>
                  <a:pt x="1154" y="1594"/>
                </a:lnTo>
                <a:lnTo>
                  <a:pt x="1190" y="1595"/>
                </a:lnTo>
                <a:lnTo>
                  <a:pt x="1242" y="1593"/>
                </a:lnTo>
                <a:lnTo>
                  <a:pt x="1292" y="1583"/>
                </a:lnTo>
                <a:lnTo>
                  <a:pt x="1342" y="1569"/>
                </a:lnTo>
                <a:lnTo>
                  <a:pt x="1387" y="1550"/>
                </a:lnTo>
                <a:lnTo>
                  <a:pt x="1431" y="1527"/>
                </a:lnTo>
                <a:lnTo>
                  <a:pt x="1471" y="1498"/>
                </a:lnTo>
                <a:lnTo>
                  <a:pt x="1508" y="1467"/>
                </a:lnTo>
                <a:lnTo>
                  <a:pt x="1541" y="1431"/>
                </a:lnTo>
                <a:lnTo>
                  <a:pt x="1570" y="1392"/>
                </a:lnTo>
                <a:lnTo>
                  <a:pt x="1594" y="1349"/>
                </a:lnTo>
                <a:lnTo>
                  <a:pt x="1615" y="1304"/>
                </a:lnTo>
                <a:lnTo>
                  <a:pt x="1629" y="1256"/>
                </a:lnTo>
                <a:lnTo>
                  <a:pt x="1638" y="1206"/>
                </a:lnTo>
                <a:lnTo>
                  <a:pt x="1641" y="1154"/>
                </a:lnTo>
                <a:lnTo>
                  <a:pt x="1638" y="1103"/>
                </a:lnTo>
                <a:lnTo>
                  <a:pt x="1630" y="1053"/>
                </a:lnTo>
                <a:lnTo>
                  <a:pt x="1616" y="1005"/>
                </a:lnTo>
                <a:lnTo>
                  <a:pt x="1598" y="960"/>
                </a:lnTo>
                <a:lnTo>
                  <a:pt x="1574" y="917"/>
                </a:lnTo>
                <a:lnTo>
                  <a:pt x="1546" y="878"/>
                </a:lnTo>
                <a:lnTo>
                  <a:pt x="1514" y="842"/>
                </a:lnTo>
                <a:lnTo>
                  <a:pt x="1479" y="810"/>
                </a:lnTo>
                <a:lnTo>
                  <a:pt x="1440" y="782"/>
                </a:lnTo>
                <a:lnTo>
                  <a:pt x="1398" y="758"/>
                </a:lnTo>
                <a:lnTo>
                  <a:pt x="1353" y="739"/>
                </a:lnTo>
                <a:lnTo>
                  <a:pt x="1305" y="725"/>
                </a:lnTo>
                <a:lnTo>
                  <a:pt x="1255" y="716"/>
                </a:lnTo>
                <a:lnTo>
                  <a:pt x="1203" y="713"/>
                </a:lnTo>
                <a:close/>
                <a:moveTo>
                  <a:pt x="1180" y="0"/>
                </a:moveTo>
                <a:lnTo>
                  <a:pt x="1237" y="1"/>
                </a:lnTo>
                <a:lnTo>
                  <a:pt x="1295" y="5"/>
                </a:lnTo>
                <a:lnTo>
                  <a:pt x="1353" y="12"/>
                </a:lnTo>
                <a:lnTo>
                  <a:pt x="1412" y="22"/>
                </a:lnTo>
                <a:lnTo>
                  <a:pt x="1472" y="34"/>
                </a:lnTo>
                <a:lnTo>
                  <a:pt x="1530" y="50"/>
                </a:lnTo>
                <a:lnTo>
                  <a:pt x="1590" y="69"/>
                </a:lnTo>
                <a:lnTo>
                  <a:pt x="1649" y="91"/>
                </a:lnTo>
                <a:lnTo>
                  <a:pt x="1708" y="116"/>
                </a:lnTo>
                <a:lnTo>
                  <a:pt x="1765" y="145"/>
                </a:lnTo>
                <a:lnTo>
                  <a:pt x="1822" y="178"/>
                </a:lnTo>
                <a:lnTo>
                  <a:pt x="1877" y="214"/>
                </a:lnTo>
                <a:lnTo>
                  <a:pt x="1932" y="254"/>
                </a:lnTo>
                <a:lnTo>
                  <a:pt x="1983" y="297"/>
                </a:lnTo>
                <a:lnTo>
                  <a:pt x="2033" y="345"/>
                </a:lnTo>
                <a:lnTo>
                  <a:pt x="2081" y="397"/>
                </a:lnTo>
                <a:lnTo>
                  <a:pt x="2127" y="453"/>
                </a:lnTo>
                <a:lnTo>
                  <a:pt x="2170" y="513"/>
                </a:lnTo>
                <a:lnTo>
                  <a:pt x="2210" y="578"/>
                </a:lnTo>
                <a:lnTo>
                  <a:pt x="2247" y="647"/>
                </a:lnTo>
                <a:lnTo>
                  <a:pt x="2281" y="720"/>
                </a:lnTo>
                <a:lnTo>
                  <a:pt x="2295" y="752"/>
                </a:lnTo>
                <a:lnTo>
                  <a:pt x="2311" y="787"/>
                </a:lnTo>
                <a:lnTo>
                  <a:pt x="2324" y="822"/>
                </a:lnTo>
                <a:lnTo>
                  <a:pt x="2336" y="857"/>
                </a:lnTo>
                <a:lnTo>
                  <a:pt x="2338" y="862"/>
                </a:lnTo>
                <a:lnTo>
                  <a:pt x="2342" y="873"/>
                </a:lnTo>
                <a:lnTo>
                  <a:pt x="2347" y="887"/>
                </a:lnTo>
                <a:lnTo>
                  <a:pt x="2352" y="905"/>
                </a:lnTo>
                <a:lnTo>
                  <a:pt x="2359" y="924"/>
                </a:lnTo>
                <a:lnTo>
                  <a:pt x="2366" y="946"/>
                </a:lnTo>
                <a:lnTo>
                  <a:pt x="2373" y="968"/>
                </a:lnTo>
                <a:lnTo>
                  <a:pt x="2379" y="990"/>
                </a:lnTo>
                <a:lnTo>
                  <a:pt x="2384" y="1011"/>
                </a:lnTo>
                <a:lnTo>
                  <a:pt x="2389" y="1031"/>
                </a:lnTo>
                <a:lnTo>
                  <a:pt x="2392" y="1047"/>
                </a:lnTo>
                <a:lnTo>
                  <a:pt x="2393" y="1059"/>
                </a:lnTo>
                <a:lnTo>
                  <a:pt x="2393" y="1221"/>
                </a:lnTo>
                <a:lnTo>
                  <a:pt x="2389" y="1295"/>
                </a:lnTo>
                <a:lnTo>
                  <a:pt x="2378" y="1370"/>
                </a:lnTo>
                <a:lnTo>
                  <a:pt x="2359" y="1444"/>
                </a:lnTo>
                <a:lnTo>
                  <a:pt x="2334" y="1518"/>
                </a:lnTo>
                <a:lnTo>
                  <a:pt x="2304" y="1594"/>
                </a:lnTo>
                <a:lnTo>
                  <a:pt x="2270" y="1668"/>
                </a:lnTo>
                <a:lnTo>
                  <a:pt x="2231" y="1743"/>
                </a:lnTo>
                <a:lnTo>
                  <a:pt x="2189" y="1818"/>
                </a:lnTo>
                <a:lnTo>
                  <a:pt x="2144" y="1892"/>
                </a:lnTo>
                <a:lnTo>
                  <a:pt x="2098" y="1967"/>
                </a:lnTo>
                <a:lnTo>
                  <a:pt x="2050" y="2042"/>
                </a:lnTo>
                <a:lnTo>
                  <a:pt x="2002" y="2116"/>
                </a:lnTo>
                <a:lnTo>
                  <a:pt x="1955" y="2191"/>
                </a:lnTo>
                <a:lnTo>
                  <a:pt x="1908" y="2267"/>
                </a:lnTo>
                <a:lnTo>
                  <a:pt x="1863" y="2341"/>
                </a:lnTo>
                <a:lnTo>
                  <a:pt x="1821" y="2416"/>
                </a:lnTo>
                <a:lnTo>
                  <a:pt x="1805" y="2440"/>
                </a:lnTo>
                <a:lnTo>
                  <a:pt x="1786" y="2465"/>
                </a:lnTo>
                <a:lnTo>
                  <a:pt x="1764" y="2490"/>
                </a:lnTo>
                <a:lnTo>
                  <a:pt x="1744" y="2515"/>
                </a:lnTo>
                <a:lnTo>
                  <a:pt x="1727" y="2541"/>
                </a:lnTo>
                <a:lnTo>
                  <a:pt x="1688" y="2606"/>
                </a:lnTo>
                <a:lnTo>
                  <a:pt x="1649" y="2673"/>
                </a:lnTo>
                <a:lnTo>
                  <a:pt x="1610" y="2740"/>
                </a:lnTo>
                <a:lnTo>
                  <a:pt x="1474" y="2972"/>
                </a:lnTo>
                <a:lnTo>
                  <a:pt x="1336" y="3207"/>
                </a:lnTo>
                <a:lnTo>
                  <a:pt x="1197" y="3444"/>
                </a:lnTo>
                <a:lnTo>
                  <a:pt x="1197" y="3444"/>
                </a:lnTo>
                <a:lnTo>
                  <a:pt x="1028" y="3173"/>
                </a:lnTo>
                <a:lnTo>
                  <a:pt x="858" y="2902"/>
                </a:lnTo>
                <a:lnTo>
                  <a:pt x="691" y="2629"/>
                </a:lnTo>
                <a:lnTo>
                  <a:pt x="525" y="2354"/>
                </a:lnTo>
                <a:lnTo>
                  <a:pt x="480" y="2280"/>
                </a:lnTo>
                <a:lnTo>
                  <a:pt x="434" y="2206"/>
                </a:lnTo>
                <a:lnTo>
                  <a:pt x="387" y="2131"/>
                </a:lnTo>
                <a:lnTo>
                  <a:pt x="340" y="2056"/>
                </a:lnTo>
                <a:lnTo>
                  <a:pt x="293" y="1981"/>
                </a:lnTo>
                <a:lnTo>
                  <a:pt x="249" y="1905"/>
                </a:lnTo>
                <a:lnTo>
                  <a:pt x="205" y="1830"/>
                </a:lnTo>
                <a:lnTo>
                  <a:pt x="163" y="1753"/>
                </a:lnTo>
                <a:lnTo>
                  <a:pt x="126" y="1678"/>
                </a:lnTo>
                <a:lnTo>
                  <a:pt x="92" y="1602"/>
                </a:lnTo>
                <a:lnTo>
                  <a:pt x="62" y="1527"/>
                </a:lnTo>
                <a:lnTo>
                  <a:pt x="36" y="1453"/>
                </a:lnTo>
                <a:lnTo>
                  <a:pt x="18" y="1378"/>
                </a:lnTo>
                <a:lnTo>
                  <a:pt x="5" y="1305"/>
                </a:lnTo>
                <a:lnTo>
                  <a:pt x="3" y="1291"/>
                </a:lnTo>
                <a:lnTo>
                  <a:pt x="2" y="1276"/>
                </a:lnTo>
                <a:lnTo>
                  <a:pt x="2" y="1259"/>
                </a:lnTo>
                <a:lnTo>
                  <a:pt x="1" y="1244"/>
                </a:lnTo>
                <a:lnTo>
                  <a:pt x="0" y="1231"/>
                </a:lnTo>
                <a:lnTo>
                  <a:pt x="0" y="1221"/>
                </a:lnTo>
                <a:lnTo>
                  <a:pt x="0" y="1216"/>
                </a:lnTo>
                <a:lnTo>
                  <a:pt x="0" y="1069"/>
                </a:lnTo>
                <a:lnTo>
                  <a:pt x="12" y="984"/>
                </a:lnTo>
                <a:lnTo>
                  <a:pt x="28" y="903"/>
                </a:lnTo>
                <a:lnTo>
                  <a:pt x="48" y="825"/>
                </a:lnTo>
                <a:lnTo>
                  <a:pt x="74" y="751"/>
                </a:lnTo>
                <a:lnTo>
                  <a:pt x="101" y="681"/>
                </a:lnTo>
                <a:lnTo>
                  <a:pt x="134" y="614"/>
                </a:lnTo>
                <a:lnTo>
                  <a:pt x="171" y="551"/>
                </a:lnTo>
                <a:lnTo>
                  <a:pt x="210" y="491"/>
                </a:lnTo>
                <a:lnTo>
                  <a:pt x="252" y="435"/>
                </a:lnTo>
                <a:lnTo>
                  <a:pt x="298" y="382"/>
                </a:lnTo>
                <a:lnTo>
                  <a:pt x="346" y="332"/>
                </a:lnTo>
                <a:lnTo>
                  <a:pt x="396" y="286"/>
                </a:lnTo>
                <a:lnTo>
                  <a:pt x="449" y="243"/>
                </a:lnTo>
                <a:lnTo>
                  <a:pt x="504" y="204"/>
                </a:lnTo>
                <a:lnTo>
                  <a:pt x="560" y="169"/>
                </a:lnTo>
                <a:lnTo>
                  <a:pt x="618" y="137"/>
                </a:lnTo>
                <a:lnTo>
                  <a:pt x="678" y="108"/>
                </a:lnTo>
                <a:lnTo>
                  <a:pt x="739" y="83"/>
                </a:lnTo>
                <a:lnTo>
                  <a:pt x="800" y="60"/>
                </a:lnTo>
                <a:lnTo>
                  <a:pt x="863" y="42"/>
                </a:lnTo>
                <a:lnTo>
                  <a:pt x="926" y="26"/>
                </a:lnTo>
                <a:lnTo>
                  <a:pt x="990" y="15"/>
                </a:lnTo>
                <a:lnTo>
                  <a:pt x="1053" y="6"/>
                </a:lnTo>
                <a:lnTo>
                  <a:pt x="1117" y="2"/>
                </a:lnTo>
                <a:lnTo>
                  <a:pt x="1180" y="0"/>
                </a:lnTo>
                <a:close/>
              </a:path>
            </a:pathLst>
          </a:custGeom>
          <a:solidFill>
            <a:srgbClr val="0084C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751" name="Freeform 36"/>
          <p:cNvSpPr>
            <a:spLocks noEditPoints="1"/>
          </p:cNvSpPr>
          <p:nvPr/>
        </p:nvSpPr>
        <p:spPr bwMode="auto">
          <a:xfrm>
            <a:off x="11125534" y="4024952"/>
            <a:ext cx="116713" cy="168043"/>
          </a:xfrm>
          <a:custGeom>
            <a:avLst/>
            <a:gdLst>
              <a:gd name="T0" fmla="*/ 1131 w 2393"/>
              <a:gd name="T1" fmla="*/ 719 h 3444"/>
              <a:gd name="T2" fmla="*/ 1025 w 2393"/>
              <a:gd name="T3" fmla="*/ 746 h 3444"/>
              <a:gd name="T4" fmla="*/ 927 w 2393"/>
              <a:gd name="T5" fmla="*/ 797 h 3444"/>
              <a:gd name="T6" fmla="*/ 846 w 2393"/>
              <a:gd name="T7" fmla="*/ 874 h 3444"/>
              <a:gd name="T8" fmla="*/ 792 w 2393"/>
              <a:gd name="T9" fmla="*/ 976 h 3444"/>
              <a:gd name="T10" fmla="*/ 772 w 2393"/>
              <a:gd name="T11" fmla="*/ 1105 h 3444"/>
              <a:gd name="T12" fmla="*/ 772 w 2393"/>
              <a:gd name="T13" fmla="*/ 1218 h 3444"/>
              <a:gd name="T14" fmla="*/ 776 w 2393"/>
              <a:gd name="T15" fmla="*/ 1272 h 3444"/>
              <a:gd name="T16" fmla="*/ 804 w 2393"/>
              <a:gd name="T17" fmla="*/ 1353 h 3444"/>
              <a:gd name="T18" fmla="*/ 882 w 2393"/>
              <a:gd name="T19" fmla="*/ 1466 h 3444"/>
              <a:gd name="T20" fmla="*/ 977 w 2393"/>
              <a:gd name="T21" fmla="*/ 1541 h 3444"/>
              <a:gd name="T22" fmla="*/ 1082 w 2393"/>
              <a:gd name="T23" fmla="*/ 1582 h 3444"/>
              <a:gd name="T24" fmla="*/ 1190 w 2393"/>
              <a:gd name="T25" fmla="*/ 1595 h 3444"/>
              <a:gd name="T26" fmla="*/ 1342 w 2393"/>
              <a:gd name="T27" fmla="*/ 1569 h 3444"/>
              <a:gd name="T28" fmla="*/ 1471 w 2393"/>
              <a:gd name="T29" fmla="*/ 1498 h 3444"/>
              <a:gd name="T30" fmla="*/ 1570 w 2393"/>
              <a:gd name="T31" fmla="*/ 1392 h 3444"/>
              <a:gd name="T32" fmla="*/ 1629 w 2393"/>
              <a:gd name="T33" fmla="*/ 1256 h 3444"/>
              <a:gd name="T34" fmla="*/ 1638 w 2393"/>
              <a:gd name="T35" fmla="*/ 1103 h 3444"/>
              <a:gd name="T36" fmla="*/ 1598 w 2393"/>
              <a:gd name="T37" fmla="*/ 960 h 3444"/>
              <a:gd name="T38" fmla="*/ 1514 w 2393"/>
              <a:gd name="T39" fmla="*/ 842 h 3444"/>
              <a:gd name="T40" fmla="*/ 1398 w 2393"/>
              <a:gd name="T41" fmla="*/ 758 h 3444"/>
              <a:gd name="T42" fmla="*/ 1255 w 2393"/>
              <a:gd name="T43" fmla="*/ 716 h 3444"/>
              <a:gd name="T44" fmla="*/ 1237 w 2393"/>
              <a:gd name="T45" fmla="*/ 1 h 3444"/>
              <a:gd name="T46" fmla="*/ 1412 w 2393"/>
              <a:gd name="T47" fmla="*/ 22 h 3444"/>
              <a:gd name="T48" fmla="*/ 1590 w 2393"/>
              <a:gd name="T49" fmla="*/ 69 h 3444"/>
              <a:gd name="T50" fmla="*/ 1765 w 2393"/>
              <a:gd name="T51" fmla="*/ 145 h 3444"/>
              <a:gd name="T52" fmla="*/ 1932 w 2393"/>
              <a:gd name="T53" fmla="*/ 254 h 3444"/>
              <a:gd name="T54" fmla="*/ 2081 w 2393"/>
              <a:gd name="T55" fmla="*/ 397 h 3444"/>
              <a:gd name="T56" fmla="*/ 2210 w 2393"/>
              <a:gd name="T57" fmla="*/ 578 h 3444"/>
              <a:gd name="T58" fmla="*/ 2295 w 2393"/>
              <a:gd name="T59" fmla="*/ 752 h 3444"/>
              <a:gd name="T60" fmla="*/ 2336 w 2393"/>
              <a:gd name="T61" fmla="*/ 857 h 3444"/>
              <a:gd name="T62" fmla="*/ 2347 w 2393"/>
              <a:gd name="T63" fmla="*/ 887 h 3444"/>
              <a:gd name="T64" fmla="*/ 2366 w 2393"/>
              <a:gd name="T65" fmla="*/ 946 h 3444"/>
              <a:gd name="T66" fmla="*/ 2384 w 2393"/>
              <a:gd name="T67" fmla="*/ 1011 h 3444"/>
              <a:gd name="T68" fmla="*/ 2393 w 2393"/>
              <a:gd name="T69" fmla="*/ 1059 h 3444"/>
              <a:gd name="T70" fmla="*/ 2378 w 2393"/>
              <a:gd name="T71" fmla="*/ 1370 h 3444"/>
              <a:gd name="T72" fmla="*/ 2304 w 2393"/>
              <a:gd name="T73" fmla="*/ 1594 h 3444"/>
              <a:gd name="T74" fmla="*/ 2189 w 2393"/>
              <a:gd name="T75" fmla="*/ 1818 h 3444"/>
              <a:gd name="T76" fmla="*/ 2050 w 2393"/>
              <a:gd name="T77" fmla="*/ 2042 h 3444"/>
              <a:gd name="T78" fmla="*/ 1908 w 2393"/>
              <a:gd name="T79" fmla="*/ 2267 h 3444"/>
              <a:gd name="T80" fmla="*/ 1805 w 2393"/>
              <a:gd name="T81" fmla="*/ 2440 h 3444"/>
              <a:gd name="T82" fmla="*/ 1744 w 2393"/>
              <a:gd name="T83" fmla="*/ 2515 h 3444"/>
              <a:gd name="T84" fmla="*/ 1649 w 2393"/>
              <a:gd name="T85" fmla="*/ 2673 h 3444"/>
              <a:gd name="T86" fmla="*/ 1336 w 2393"/>
              <a:gd name="T87" fmla="*/ 3207 h 3444"/>
              <a:gd name="T88" fmla="*/ 1028 w 2393"/>
              <a:gd name="T89" fmla="*/ 3173 h 3444"/>
              <a:gd name="T90" fmla="*/ 525 w 2393"/>
              <a:gd name="T91" fmla="*/ 2354 h 3444"/>
              <a:gd name="T92" fmla="*/ 387 w 2393"/>
              <a:gd name="T93" fmla="*/ 2131 h 3444"/>
              <a:gd name="T94" fmla="*/ 249 w 2393"/>
              <a:gd name="T95" fmla="*/ 1905 h 3444"/>
              <a:gd name="T96" fmla="*/ 126 w 2393"/>
              <a:gd name="T97" fmla="*/ 1678 h 3444"/>
              <a:gd name="T98" fmla="*/ 36 w 2393"/>
              <a:gd name="T99" fmla="*/ 1453 h 3444"/>
              <a:gd name="T100" fmla="*/ 3 w 2393"/>
              <a:gd name="T101" fmla="*/ 1291 h 3444"/>
              <a:gd name="T102" fmla="*/ 1 w 2393"/>
              <a:gd name="T103" fmla="*/ 1244 h 3444"/>
              <a:gd name="T104" fmla="*/ 0 w 2393"/>
              <a:gd name="T105" fmla="*/ 1216 h 3444"/>
              <a:gd name="T106" fmla="*/ 28 w 2393"/>
              <a:gd name="T107" fmla="*/ 903 h 3444"/>
              <a:gd name="T108" fmla="*/ 101 w 2393"/>
              <a:gd name="T109" fmla="*/ 681 h 3444"/>
              <a:gd name="T110" fmla="*/ 210 w 2393"/>
              <a:gd name="T111" fmla="*/ 491 h 3444"/>
              <a:gd name="T112" fmla="*/ 346 w 2393"/>
              <a:gd name="T113" fmla="*/ 332 h 3444"/>
              <a:gd name="T114" fmla="*/ 504 w 2393"/>
              <a:gd name="T115" fmla="*/ 204 h 3444"/>
              <a:gd name="T116" fmla="*/ 678 w 2393"/>
              <a:gd name="T117" fmla="*/ 108 h 3444"/>
              <a:gd name="T118" fmla="*/ 863 w 2393"/>
              <a:gd name="T119" fmla="*/ 42 h 3444"/>
              <a:gd name="T120" fmla="*/ 1053 w 2393"/>
              <a:gd name="T121" fmla="*/ 6 h 3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393" h="3444">
                <a:moveTo>
                  <a:pt x="1203" y="713"/>
                </a:moveTo>
                <a:lnTo>
                  <a:pt x="1168" y="714"/>
                </a:lnTo>
                <a:lnTo>
                  <a:pt x="1131" y="719"/>
                </a:lnTo>
                <a:lnTo>
                  <a:pt x="1095" y="725"/>
                </a:lnTo>
                <a:lnTo>
                  <a:pt x="1060" y="734"/>
                </a:lnTo>
                <a:lnTo>
                  <a:pt x="1025" y="746"/>
                </a:lnTo>
                <a:lnTo>
                  <a:pt x="990" y="760"/>
                </a:lnTo>
                <a:lnTo>
                  <a:pt x="958" y="778"/>
                </a:lnTo>
                <a:lnTo>
                  <a:pt x="927" y="797"/>
                </a:lnTo>
                <a:lnTo>
                  <a:pt x="898" y="820"/>
                </a:lnTo>
                <a:lnTo>
                  <a:pt x="871" y="845"/>
                </a:lnTo>
                <a:lnTo>
                  <a:pt x="846" y="874"/>
                </a:lnTo>
                <a:lnTo>
                  <a:pt x="825" y="905"/>
                </a:lnTo>
                <a:lnTo>
                  <a:pt x="807" y="939"/>
                </a:lnTo>
                <a:lnTo>
                  <a:pt x="792" y="976"/>
                </a:lnTo>
                <a:lnTo>
                  <a:pt x="781" y="1016"/>
                </a:lnTo>
                <a:lnTo>
                  <a:pt x="774" y="1059"/>
                </a:lnTo>
                <a:lnTo>
                  <a:pt x="772" y="1105"/>
                </a:lnTo>
                <a:lnTo>
                  <a:pt x="772" y="1200"/>
                </a:lnTo>
                <a:lnTo>
                  <a:pt x="772" y="1206"/>
                </a:lnTo>
                <a:lnTo>
                  <a:pt x="772" y="1218"/>
                </a:lnTo>
                <a:lnTo>
                  <a:pt x="773" y="1234"/>
                </a:lnTo>
                <a:lnTo>
                  <a:pt x="774" y="1253"/>
                </a:lnTo>
                <a:lnTo>
                  <a:pt x="776" y="1272"/>
                </a:lnTo>
                <a:lnTo>
                  <a:pt x="779" y="1291"/>
                </a:lnTo>
                <a:lnTo>
                  <a:pt x="783" y="1307"/>
                </a:lnTo>
                <a:lnTo>
                  <a:pt x="804" y="1353"/>
                </a:lnTo>
                <a:lnTo>
                  <a:pt x="827" y="1396"/>
                </a:lnTo>
                <a:lnTo>
                  <a:pt x="854" y="1433"/>
                </a:lnTo>
                <a:lnTo>
                  <a:pt x="882" y="1466"/>
                </a:lnTo>
                <a:lnTo>
                  <a:pt x="911" y="1494"/>
                </a:lnTo>
                <a:lnTo>
                  <a:pt x="943" y="1520"/>
                </a:lnTo>
                <a:lnTo>
                  <a:pt x="977" y="1541"/>
                </a:lnTo>
                <a:lnTo>
                  <a:pt x="1011" y="1558"/>
                </a:lnTo>
                <a:lnTo>
                  <a:pt x="1046" y="1571"/>
                </a:lnTo>
                <a:lnTo>
                  <a:pt x="1082" y="1582"/>
                </a:lnTo>
                <a:lnTo>
                  <a:pt x="1117" y="1589"/>
                </a:lnTo>
                <a:lnTo>
                  <a:pt x="1154" y="1594"/>
                </a:lnTo>
                <a:lnTo>
                  <a:pt x="1190" y="1595"/>
                </a:lnTo>
                <a:lnTo>
                  <a:pt x="1242" y="1593"/>
                </a:lnTo>
                <a:lnTo>
                  <a:pt x="1292" y="1583"/>
                </a:lnTo>
                <a:lnTo>
                  <a:pt x="1342" y="1569"/>
                </a:lnTo>
                <a:lnTo>
                  <a:pt x="1387" y="1550"/>
                </a:lnTo>
                <a:lnTo>
                  <a:pt x="1431" y="1527"/>
                </a:lnTo>
                <a:lnTo>
                  <a:pt x="1471" y="1498"/>
                </a:lnTo>
                <a:lnTo>
                  <a:pt x="1508" y="1467"/>
                </a:lnTo>
                <a:lnTo>
                  <a:pt x="1541" y="1431"/>
                </a:lnTo>
                <a:lnTo>
                  <a:pt x="1570" y="1392"/>
                </a:lnTo>
                <a:lnTo>
                  <a:pt x="1594" y="1349"/>
                </a:lnTo>
                <a:lnTo>
                  <a:pt x="1615" y="1304"/>
                </a:lnTo>
                <a:lnTo>
                  <a:pt x="1629" y="1256"/>
                </a:lnTo>
                <a:lnTo>
                  <a:pt x="1638" y="1206"/>
                </a:lnTo>
                <a:lnTo>
                  <a:pt x="1641" y="1154"/>
                </a:lnTo>
                <a:lnTo>
                  <a:pt x="1638" y="1103"/>
                </a:lnTo>
                <a:lnTo>
                  <a:pt x="1630" y="1053"/>
                </a:lnTo>
                <a:lnTo>
                  <a:pt x="1616" y="1005"/>
                </a:lnTo>
                <a:lnTo>
                  <a:pt x="1598" y="960"/>
                </a:lnTo>
                <a:lnTo>
                  <a:pt x="1574" y="917"/>
                </a:lnTo>
                <a:lnTo>
                  <a:pt x="1546" y="878"/>
                </a:lnTo>
                <a:lnTo>
                  <a:pt x="1514" y="842"/>
                </a:lnTo>
                <a:lnTo>
                  <a:pt x="1479" y="810"/>
                </a:lnTo>
                <a:lnTo>
                  <a:pt x="1440" y="782"/>
                </a:lnTo>
                <a:lnTo>
                  <a:pt x="1398" y="758"/>
                </a:lnTo>
                <a:lnTo>
                  <a:pt x="1353" y="739"/>
                </a:lnTo>
                <a:lnTo>
                  <a:pt x="1305" y="725"/>
                </a:lnTo>
                <a:lnTo>
                  <a:pt x="1255" y="716"/>
                </a:lnTo>
                <a:lnTo>
                  <a:pt x="1203" y="713"/>
                </a:lnTo>
                <a:close/>
                <a:moveTo>
                  <a:pt x="1180" y="0"/>
                </a:moveTo>
                <a:lnTo>
                  <a:pt x="1237" y="1"/>
                </a:lnTo>
                <a:lnTo>
                  <a:pt x="1295" y="5"/>
                </a:lnTo>
                <a:lnTo>
                  <a:pt x="1353" y="12"/>
                </a:lnTo>
                <a:lnTo>
                  <a:pt x="1412" y="22"/>
                </a:lnTo>
                <a:lnTo>
                  <a:pt x="1472" y="34"/>
                </a:lnTo>
                <a:lnTo>
                  <a:pt x="1530" y="50"/>
                </a:lnTo>
                <a:lnTo>
                  <a:pt x="1590" y="69"/>
                </a:lnTo>
                <a:lnTo>
                  <a:pt x="1649" y="91"/>
                </a:lnTo>
                <a:lnTo>
                  <a:pt x="1708" y="116"/>
                </a:lnTo>
                <a:lnTo>
                  <a:pt x="1765" y="145"/>
                </a:lnTo>
                <a:lnTo>
                  <a:pt x="1822" y="178"/>
                </a:lnTo>
                <a:lnTo>
                  <a:pt x="1877" y="214"/>
                </a:lnTo>
                <a:lnTo>
                  <a:pt x="1932" y="254"/>
                </a:lnTo>
                <a:lnTo>
                  <a:pt x="1983" y="297"/>
                </a:lnTo>
                <a:lnTo>
                  <a:pt x="2033" y="345"/>
                </a:lnTo>
                <a:lnTo>
                  <a:pt x="2081" y="397"/>
                </a:lnTo>
                <a:lnTo>
                  <a:pt x="2127" y="453"/>
                </a:lnTo>
                <a:lnTo>
                  <a:pt x="2170" y="513"/>
                </a:lnTo>
                <a:lnTo>
                  <a:pt x="2210" y="578"/>
                </a:lnTo>
                <a:lnTo>
                  <a:pt x="2247" y="647"/>
                </a:lnTo>
                <a:lnTo>
                  <a:pt x="2281" y="720"/>
                </a:lnTo>
                <a:lnTo>
                  <a:pt x="2295" y="752"/>
                </a:lnTo>
                <a:lnTo>
                  <a:pt x="2311" y="787"/>
                </a:lnTo>
                <a:lnTo>
                  <a:pt x="2324" y="822"/>
                </a:lnTo>
                <a:lnTo>
                  <a:pt x="2336" y="857"/>
                </a:lnTo>
                <a:lnTo>
                  <a:pt x="2338" y="862"/>
                </a:lnTo>
                <a:lnTo>
                  <a:pt x="2342" y="873"/>
                </a:lnTo>
                <a:lnTo>
                  <a:pt x="2347" y="887"/>
                </a:lnTo>
                <a:lnTo>
                  <a:pt x="2352" y="905"/>
                </a:lnTo>
                <a:lnTo>
                  <a:pt x="2359" y="924"/>
                </a:lnTo>
                <a:lnTo>
                  <a:pt x="2366" y="946"/>
                </a:lnTo>
                <a:lnTo>
                  <a:pt x="2373" y="968"/>
                </a:lnTo>
                <a:lnTo>
                  <a:pt x="2379" y="990"/>
                </a:lnTo>
                <a:lnTo>
                  <a:pt x="2384" y="1011"/>
                </a:lnTo>
                <a:lnTo>
                  <a:pt x="2389" y="1031"/>
                </a:lnTo>
                <a:lnTo>
                  <a:pt x="2392" y="1047"/>
                </a:lnTo>
                <a:lnTo>
                  <a:pt x="2393" y="1059"/>
                </a:lnTo>
                <a:lnTo>
                  <a:pt x="2393" y="1221"/>
                </a:lnTo>
                <a:lnTo>
                  <a:pt x="2389" y="1295"/>
                </a:lnTo>
                <a:lnTo>
                  <a:pt x="2378" y="1370"/>
                </a:lnTo>
                <a:lnTo>
                  <a:pt x="2359" y="1444"/>
                </a:lnTo>
                <a:lnTo>
                  <a:pt x="2334" y="1518"/>
                </a:lnTo>
                <a:lnTo>
                  <a:pt x="2304" y="1594"/>
                </a:lnTo>
                <a:lnTo>
                  <a:pt x="2270" y="1668"/>
                </a:lnTo>
                <a:lnTo>
                  <a:pt x="2231" y="1743"/>
                </a:lnTo>
                <a:lnTo>
                  <a:pt x="2189" y="1818"/>
                </a:lnTo>
                <a:lnTo>
                  <a:pt x="2144" y="1892"/>
                </a:lnTo>
                <a:lnTo>
                  <a:pt x="2098" y="1967"/>
                </a:lnTo>
                <a:lnTo>
                  <a:pt x="2050" y="2042"/>
                </a:lnTo>
                <a:lnTo>
                  <a:pt x="2002" y="2116"/>
                </a:lnTo>
                <a:lnTo>
                  <a:pt x="1955" y="2191"/>
                </a:lnTo>
                <a:lnTo>
                  <a:pt x="1908" y="2267"/>
                </a:lnTo>
                <a:lnTo>
                  <a:pt x="1863" y="2341"/>
                </a:lnTo>
                <a:lnTo>
                  <a:pt x="1821" y="2416"/>
                </a:lnTo>
                <a:lnTo>
                  <a:pt x="1805" y="2440"/>
                </a:lnTo>
                <a:lnTo>
                  <a:pt x="1786" y="2465"/>
                </a:lnTo>
                <a:lnTo>
                  <a:pt x="1764" y="2490"/>
                </a:lnTo>
                <a:lnTo>
                  <a:pt x="1744" y="2515"/>
                </a:lnTo>
                <a:lnTo>
                  <a:pt x="1727" y="2541"/>
                </a:lnTo>
                <a:lnTo>
                  <a:pt x="1688" y="2606"/>
                </a:lnTo>
                <a:lnTo>
                  <a:pt x="1649" y="2673"/>
                </a:lnTo>
                <a:lnTo>
                  <a:pt x="1610" y="2740"/>
                </a:lnTo>
                <a:lnTo>
                  <a:pt x="1474" y="2972"/>
                </a:lnTo>
                <a:lnTo>
                  <a:pt x="1336" y="3207"/>
                </a:lnTo>
                <a:lnTo>
                  <a:pt x="1197" y="3444"/>
                </a:lnTo>
                <a:lnTo>
                  <a:pt x="1197" y="3444"/>
                </a:lnTo>
                <a:lnTo>
                  <a:pt x="1028" y="3173"/>
                </a:lnTo>
                <a:lnTo>
                  <a:pt x="858" y="2902"/>
                </a:lnTo>
                <a:lnTo>
                  <a:pt x="691" y="2629"/>
                </a:lnTo>
                <a:lnTo>
                  <a:pt x="525" y="2354"/>
                </a:lnTo>
                <a:lnTo>
                  <a:pt x="480" y="2280"/>
                </a:lnTo>
                <a:lnTo>
                  <a:pt x="434" y="2206"/>
                </a:lnTo>
                <a:lnTo>
                  <a:pt x="387" y="2131"/>
                </a:lnTo>
                <a:lnTo>
                  <a:pt x="340" y="2056"/>
                </a:lnTo>
                <a:lnTo>
                  <a:pt x="293" y="1981"/>
                </a:lnTo>
                <a:lnTo>
                  <a:pt x="249" y="1905"/>
                </a:lnTo>
                <a:lnTo>
                  <a:pt x="205" y="1830"/>
                </a:lnTo>
                <a:lnTo>
                  <a:pt x="163" y="1753"/>
                </a:lnTo>
                <a:lnTo>
                  <a:pt x="126" y="1678"/>
                </a:lnTo>
                <a:lnTo>
                  <a:pt x="92" y="1602"/>
                </a:lnTo>
                <a:lnTo>
                  <a:pt x="62" y="1527"/>
                </a:lnTo>
                <a:lnTo>
                  <a:pt x="36" y="1453"/>
                </a:lnTo>
                <a:lnTo>
                  <a:pt x="18" y="1378"/>
                </a:lnTo>
                <a:lnTo>
                  <a:pt x="5" y="1305"/>
                </a:lnTo>
                <a:lnTo>
                  <a:pt x="3" y="1291"/>
                </a:lnTo>
                <a:lnTo>
                  <a:pt x="2" y="1276"/>
                </a:lnTo>
                <a:lnTo>
                  <a:pt x="2" y="1259"/>
                </a:lnTo>
                <a:lnTo>
                  <a:pt x="1" y="1244"/>
                </a:lnTo>
                <a:lnTo>
                  <a:pt x="0" y="1231"/>
                </a:lnTo>
                <a:lnTo>
                  <a:pt x="0" y="1221"/>
                </a:lnTo>
                <a:lnTo>
                  <a:pt x="0" y="1216"/>
                </a:lnTo>
                <a:lnTo>
                  <a:pt x="0" y="1069"/>
                </a:lnTo>
                <a:lnTo>
                  <a:pt x="12" y="984"/>
                </a:lnTo>
                <a:lnTo>
                  <a:pt x="28" y="903"/>
                </a:lnTo>
                <a:lnTo>
                  <a:pt x="48" y="825"/>
                </a:lnTo>
                <a:lnTo>
                  <a:pt x="74" y="751"/>
                </a:lnTo>
                <a:lnTo>
                  <a:pt x="101" y="681"/>
                </a:lnTo>
                <a:lnTo>
                  <a:pt x="134" y="614"/>
                </a:lnTo>
                <a:lnTo>
                  <a:pt x="171" y="551"/>
                </a:lnTo>
                <a:lnTo>
                  <a:pt x="210" y="491"/>
                </a:lnTo>
                <a:lnTo>
                  <a:pt x="252" y="435"/>
                </a:lnTo>
                <a:lnTo>
                  <a:pt x="298" y="382"/>
                </a:lnTo>
                <a:lnTo>
                  <a:pt x="346" y="332"/>
                </a:lnTo>
                <a:lnTo>
                  <a:pt x="396" y="286"/>
                </a:lnTo>
                <a:lnTo>
                  <a:pt x="449" y="243"/>
                </a:lnTo>
                <a:lnTo>
                  <a:pt x="504" y="204"/>
                </a:lnTo>
                <a:lnTo>
                  <a:pt x="560" y="169"/>
                </a:lnTo>
                <a:lnTo>
                  <a:pt x="618" y="137"/>
                </a:lnTo>
                <a:lnTo>
                  <a:pt x="678" y="108"/>
                </a:lnTo>
                <a:lnTo>
                  <a:pt x="739" y="83"/>
                </a:lnTo>
                <a:lnTo>
                  <a:pt x="800" y="60"/>
                </a:lnTo>
                <a:lnTo>
                  <a:pt x="863" y="42"/>
                </a:lnTo>
                <a:lnTo>
                  <a:pt x="926" y="26"/>
                </a:lnTo>
                <a:lnTo>
                  <a:pt x="990" y="15"/>
                </a:lnTo>
                <a:lnTo>
                  <a:pt x="1053" y="6"/>
                </a:lnTo>
                <a:lnTo>
                  <a:pt x="1117" y="2"/>
                </a:lnTo>
                <a:lnTo>
                  <a:pt x="1180" y="0"/>
                </a:lnTo>
                <a:close/>
              </a:path>
            </a:pathLst>
          </a:custGeom>
          <a:solidFill>
            <a:srgbClr val="0084C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752" name="Freeform 36"/>
          <p:cNvSpPr>
            <a:spLocks noEditPoints="1"/>
          </p:cNvSpPr>
          <p:nvPr/>
        </p:nvSpPr>
        <p:spPr bwMode="auto">
          <a:xfrm>
            <a:off x="10982659" y="4248369"/>
            <a:ext cx="116713" cy="168043"/>
          </a:xfrm>
          <a:custGeom>
            <a:avLst/>
            <a:gdLst>
              <a:gd name="T0" fmla="*/ 1131 w 2393"/>
              <a:gd name="T1" fmla="*/ 719 h 3444"/>
              <a:gd name="T2" fmla="*/ 1025 w 2393"/>
              <a:gd name="T3" fmla="*/ 746 h 3444"/>
              <a:gd name="T4" fmla="*/ 927 w 2393"/>
              <a:gd name="T5" fmla="*/ 797 h 3444"/>
              <a:gd name="T6" fmla="*/ 846 w 2393"/>
              <a:gd name="T7" fmla="*/ 874 h 3444"/>
              <a:gd name="T8" fmla="*/ 792 w 2393"/>
              <a:gd name="T9" fmla="*/ 976 h 3444"/>
              <a:gd name="T10" fmla="*/ 772 w 2393"/>
              <a:gd name="T11" fmla="*/ 1105 h 3444"/>
              <a:gd name="T12" fmla="*/ 772 w 2393"/>
              <a:gd name="T13" fmla="*/ 1218 h 3444"/>
              <a:gd name="T14" fmla="*/ 776 w 2393"/>
              <a:gd name="T15" fmla="*/ 1272 h 3444"/>
              <a:gd name="T16" fmla="*/ 804 w 2393"/>
              <a:gd name="T17" fmla="*/ 1353 h 3444"/>
              <a:gd name="T18" fmla="*/ 882 w 2393"/>
              <a:gd name="T19" fmla="*/ 1466 h 3444"/>
              <a:gd name="T20" fmla="*/ 977 w 2393"/>
              <a:gd name="T21" fmla="*/ 1541 h 3444"/>
              <a:gd name="T22" fmla="*/ 1082 w 2393"/>
              <a:gd name="T23" fmla="*/ 1582 h 3444"/>
              <a:gd name="T24" fmla="*/ 1190 w 2393"/>
              <a:gd name="T25" fmla="*/ 1595 h 3444"/>
              <a:gd name="T26" fmla="*/ 1342 w 2393"/>
              <a:gd name="T27" fmla="*/ 1569 h 3444"/>
              <a:gd name="T28" fmla="*/ 1471 w 2393"/>
              <a:gd name="T29" fmla="*/ 1498 h 3444"/>
              <a:gd name="T30" fmla="*/ 1570 w 2393"/>
              <a:gd name="T31" fmla="*/ 1392 h 3444"/>
              <a:gd name="T32" fmla="*/ 1629 w 2393"/>
              <a:gd name="T33" fmla="*/ 1256 h 3444"/>
              <a:gd name="T34" fmla="*/ 1638 w 2393"/>
              <a:gd name="T35" fmla="*/ 1103 h 3444"/>
              <a:gd name="T36" fmla="*/ 1598 w 2393"/>
              <a:gd name="T37" fmla="*/ 960 h 3444"/>
              <a:gd name="T38" fmla="*/ 1514 w 2393"/>
              <a:gd name="T39" fmla="*/ 842 h 3444"/>
              <a:gd name="T40" fmla="*/ 1398 w 2393"/>
              <a:gd name="T41" fmla="*/ 758 h 3444"/>
              <a:gd name="T42" fmla="*/ 1255 w 2393"/>
              <a:gd name="T43" fmla="*/ 716 h 3444"/>
              <a:gd name="T44" fmla="*/ 1237 w 2393"/>
              <a:gd name="T45" fmla="*/ 1 h 3444"/>
              <a:gd name="T46" fmla="*/ 1412 w 2393"/>
              <a:gd name="T47" fmla="*/ 22 h 3444"/>
              <a:gd name="T48" fmla="*/ 1590 w 2393"/>
              <a:gd name="T49" fmla="*/ 69 h 3444"/>
              <a:gd name="T50" fmla="*/ 1765 w 2393"/>
              <a:gd name="T51" fmla="*/ 145 h 3444"/>
              <a:gd name="T52" fmla="*/ 1932 w 2393"/>
              <a:gd name="T53" fmla="*/ 254 h 3444"/>
              <a:gd name="T54" fmla="*/ 2081 w 2393"/>
              <a:gd name="T55" fmla="*/ 397 h 3444"/>
              <a:gd name="T56" fmla="*/ 2210 w 2393"/>
              <a:gd name="T57" fmla="*/ 578 h 3444"/>
              <a:gd name="T58" fmla="*/ 2295 w 2393"/>
              <a:gd name="T59" fmla="*/ 752 h 3444"/>
              <a:gd name="T60" fmla="*/ 2336 w 2393"/>
              <a:gd name="T61" fmla="*/ 857 h 3444"/>
              <a:gd name="T62" fmla="*/ 2347 w 2393"/>
              <a:gd name="T63" fmla="*/ 887 h 3444"/>
              <a:gd name="T64" fmla="*/ 2366 w 2393"/>
              <a:gd name="T65" fmla="*/ 946 h 3444"/>
              <a:gd name="T66" fmla="*/ 2384 w 2393"/>
              <a:gd name="T67" fmla="*/ 1011 h 3444"/>
              <a:gd name="T68" fmla="*/ 2393 w 2393"/>
              <a:gd name="T69" fmla="*/ 1059 h 3444"/>
              <a:gd name="T70" fmla="*/ 2378 w 2393"/>
              <a:gd name="T71" fmla="*/ 1370 h 3444"/>
              <a:gd name="T72" fmla="*/ 2304 w 2393"/>
              <a:gd name="T73" fmla="*/ 1594 h 3444"/>
              <a:gd name="T74" fmla="*/ 2189 w 2393"/>
              <a:gd name="T75" fmla="*/ 1818 h 3444"/>
              <a:gd name="T76" fmla="*/ 2050 w 2393"/>
              <a:gd name="T77" fmla="*/ 2042 h 3444"/>
              <a:gd name="T78" fmla="*/ 1908 w 2393"/>
              <a:gd name="T79" fmla="*/ 2267 h 3444"/>
              <a:gd name="T80" fmla="*/ 1805 w 2393"/>
              <a:gd name="T81" fmla="*/ 2440 h 3444"/>
              <a:gd name="T82" fmla="*/ 1744 w 2393"/>
              <a:gd name="T83" fmla="*/ 2515 h 3444"/>
              <a:gd name="T84" fmla="*/ 1649 w 2393"/>
              <a:gd name="T85" fmla="*/ 2673 h 3444"/>
              <a:gd name="T86" fmla="*/ 1336 w 2393"/>
              <a:gd name="T87" fmla="*/ 3207 h 3444"/>
              <a:gd name="T88" fmla="*/ 1028 w 2393"/>
              <a:gd name="T89" fmla="*/ 3173 h 3444"/>
              <a:gd name="T90" fmla="*/ 525 w 2393"/>
              <a:gd name="T91" fmla="*/ 2354 h 3444"/>
              <a:gd name="T92" fmla="*/ 387 w 2393"/>
              <a:gd name="T93" fmla="*/ 2131 h 3444"/>
              <a:gd name="T94" fmla="*/ 249 w 2393"/>
              <a:gd name="T95" fmla="*/ 1905 h 3444"/>
              <a:gd name="T96" fmla="*/ 126 w 2393"/>
              <a:gd name="T97" fmla="*/ 1678 h 3444"/>
              <a:gd name="T98" fmla="*/ 36 w 2393"/>
              <a:gd name="T99" fmla="*/ 1453 h 3444"/>
              <a:gd name="T100" fmla="*/ 3 w 2393"/>
              <a:gd name="T101" fmla="*/ 1291 h 3444"/>
              <a:gd name="T102" fmla="*/ 1 w 2393"/>
              <a:gd name="T103" fmla="*/ 1244 h 3444"/>
              <a:gd name="T104" fmla="*/ 0 w 2393"/>
              <a:gd name="T105" fmla="*/ 1216 h 3444"/>
              <a:gd name="T106" fmla="*/ 28 w 2393"/>
              <a:gd name="T107" fmla="*/ 903 h 3444"/>
              <a:gd name="T108" fmla="*/ 101 w 2393"/>
              <a:gd name="T109" fmla="*/ 681 h 3444"/>
              <a:gd name="T110" fmla="*/ 210 w 2393"/>
              <a:gd name="T111" fmla="*/ 491 h 3444"/>
              <a:gd name="T112" fmla="*/ 346 w 2393"/>
              <a:gd name="T113" fmla="*/ 332 h 3444"/>
              <a:gd name="T114" fmla="*/ 504 w 2393"/>
              <a:gd name="T115" fmla="*/ 204 h 3444"/>
              <a:gd name="T116" fmla="*/ 678 w 2393"/>
              <a:gd name="T117" fmla="*/ 108 h 3444"/>
              <a:gd name="T118" fmla="*/ 863 w 2393"/>
              <a:gd name="T119" fmla="*/ 42 h 3444"/>
              <a:gd name="T120" fmla="*/ 1053 w 2393"/>
              <a:gd name="T121" fmla="*/ 6 h 3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393" h="3444">
                <a:moveTo>
                  <a:pt x="1203" y="713"/>
                </a:moveTo>
                <a:lnTo>
                  <a:pt x="1168" y="714"/>
                </a:lnTo>
                <a:lnTo>
                  <a:pt x="1131" y="719"/>
                </a:lnTo>
                <a:lnTo>
                  <a:pt x="1095" y="725"/>
                </a:lnTo>
                <a:lnTo>
                  <a:pt x="1060" y="734"/>
                </a:lnTo>
                <a:lnTo>
                  <a:pt x="1025" y="746"/>
                </a:lnTo>
                <a:lnTo>
                  <a:pt x="990" y="760"/>
                </a:lnTo>
                <a:lnTo>
                  <a:pt x="958" y="778"/>
                </a:lnTo>
                <a:lnTo>
                  <a:pt x="927" y="797"/>
                </a:lnTo>
                <a:lnTo>
                  <a:pt x="898" y="820"/>
                </a:lnTo>
                <a:lnTo>
                  <a:pt x="871" y="845"/>
                </a:lnTo>
                <a:lnTo>
                  <a:pt x="846" y="874"/>
                </a:lnTo>
                <a:lnTo>
                  <a:pt x="825" y="905"/>
                </a:lnTo>
                <a:lnTo>
                  <a:pt x="807" y="939"/>
                </a:lnTo>
                <a:lnTo>
                  <a:pt x="792" y="976"/>
                </a:lnTo>
                <a:lnTo>
                  <a:pt x="781" y="1016"/>
                </a:lnTo>
                <a:lnTo>
                  <a:pt x="774" y="1059"/>
                </a:lnTo>
                <a:lnTo>
                  <a:pt x="772" y="1105"/>
                </a:lnTo>
                <a:lnTo>
                  <a:pt x="772" y="1200"/>
                </a:lnTo>
                <a:lnTo>
                  <a:pt x="772" y="1206"/>
                </a:lnTo>
                <a:lnTo>
                  <a:pt x="772" y="1218"/>
                </a:lnTo>
                <a:lnTo>
                  <a:pt x="773" y="1234"/>
                </a:lnTo>
                <a:lnTo>
                  <a:pt x="774" y="1253"/>
                </a:lnTo>
                <a:lnTo>
                  <a:pt x="776" y="1272"/>
                </a:lnTo>
                <a:lnTo>
                  <a:pt x="779" y="1291"/>
                </a:lnTo>
                <a:lnTo>
                  <a:pt x="783" y="1307"/>
                </a:lnTo>
                <a:lnTo>
                  <a:pt x="804" y="1353"/>
                </a:lnTo>
                <a:lnTo>
                  <a:pt x="827" y="1396"/>
                </a:lnTo>
                <a:lnTo>
                  <a:pt x="854" y="1433"/>
                </a:lnTo>
                <a:lnTo>
                  <a:pt x="882" y="1466"/>
                </a:lnTo>
                <a:lnTo>
                  <a:pt x="911" y="1494"/>
                </a:lnTo>
                <a:lnTo>
                  <a:pt x="943" y="1520"/>
                </a:lnTo>
                <a:lnTo>
                  <a:pt x="977" y="1541"/>
                </a:lnTo>
                <a:lnTo>
                  <a:pt x="1011" y="1558"/>
                </a:lnTo>
                <a:lnTo>
                  <a:pt x="1046" y="1571"/>
                </a:lnTo>
                <a:lnTo>
                  <a:pt x="1082" y="1582"/>
                </a:lnTo>
                <a:lnTo>
                  <a:pt x="1117" y="1589"/>
                </a:lnTo>
                <a:lnTo>
                  <a:pt x="1154" y="1594"/>
                </a:lnTo>
                <a:lnTo>
                  <a:pt x="1190" y="1595"/>
                </a:lnTo>
                <a:lnTo>
                  <a:pt x="1242" y="1593"/>
                </a:lnTo>
                <a:lnTo>
                  <a:pt x="1292" y="1583"/>
                </a:lnTo>
                <a:lnTo>
                  <a:pt x="1342" y="1569"/>
                </a:lnTo>
                <a:lnTo>
                  <a:pt x="1387" y="1550"/>
                </a:lnTo>
                <a:lnTo>
                  <a:pt x="1431" y="1527"/>
                </a:lnTo>
                <a:lnTo>
                  <a:pt x="1471" y="1498"/>
                </a:lnTo>
                <a:lnTo>
                  <a:pt x="1508" y="1467"/>
                </a:lnTo>
                <a:lnTo>
                  <a:pt x="1541" y="1431"/>
                </a:lnTo>
                <a:lnTo>
                  <a:pt x="1570" y="1392"/>
                </a:lnTo>
                <a:lnTo>
                  <a:pt x="1594" y="1349"/>
                </a:lnTo>
                <a:lnTo>
                  <a:pt x="1615" y="1304"/>
                </a:lnTo>
                <a:lnTo>
                  <a:pt x="1629" y="1256"/>
                </a:lnTo>
                <a:lnTo>
                  <a:pt x="1638" y="1206"/>
                </a:lnTo>
                <a:lnTo>
                  <a:pt x="1641" y="1154"/>
                </a:lnTo>
                <a:lnTo>
                  <a:pt x="1638" y="1103"/>
                </a:lnTo>
                <a:lnTo>
                  <a:pt x="1630" y="1053"/>
                </a:lnTo>
                <a:lnTo>
                  <a:pt x="1616" y="1005"/>
                </a:lnTo>
                <a:lnTo>
                  <a:pt x="1598" y="960"/>
                </a:lnTo>
                <a:lnTo>
                  <a:pt x="1574" y="917"/>
                </a:lnTo>
                <a:lnTo>
                  <a:pt x="1546" y="878"/>
                </a:lnTo>
                <a:lnTo>
                  <a:pt x="1514" y="842"/>
                </a:lnTo>
                <a:lnTo>
                  <a:pt x="1479" y="810"/>
                </a:lnTo>
                <a:lnTo>
                  <a:pt x="1440" y="782"/>
                </a:lnTo>
                <a:lnTo>
                  <a:pt x="1398" y="758"/>
                </a:lnTo>
                <a:lnTo>
                  <a:pt x="1353" y="739"/>
                </a:lnTo>
                <a:lnTo>
                  <a:pt x="1305" y="725"/>
                </a:lnTo>
                <a:lnTo>
                  <a:pt x="1255" y="716"/>
                </a:lnTo>
                <a:lnTo>
                  <a:pt x="1203" y="713"/>
                </a:lnTo>
                <a:close/>
                <a:moveTo>
                  <a:pt x="1180" y="0"/>
                </a:moveTo>
                <a:lnTo>
                  <a:pt x="1237" y="1"/>
                </a:lnTo>
                <a:lnTo>
                  <a:pt x="1295" y="5"/>
                </a:lnTo>
                <a:lnTo>
                  <a:pt x="1353" y="12"/>
                </a:lnTo>
                <a:lnTo>
                  <a:pt x="1412" y="22"/>
                </a:lnTo>
                <a:lnTo>
                  <a:pt x="1472" y="34"/>
                </a:lnTo>
                <a:lnTo>
                  <a:pt x="1530" y="50"/>
                </a:lnTo>
                <a:lnTo>
                  <a:pt x="1590" y="69"/>
                </a:lnTo>
                <a:lnTo>
                  <a:pt x="1649" y="91"/>
                </a:lnTo>
                <a:lnTo>
                  <a:pt x="1708" y="116"/>
                </a:lnTo>
                <a:lnTo>
                  <a:pt x="1765" y="145"/>
                </a:lnTo>
                <a:lnTo>
                  <a:pt x="1822" y="178"/>
                </a:lnTo>
                <a:lnTo>
                  <a:pt x="1877" y="214"/>
                </a:lnTo>
                <a:lnTo>
                  <a:pt x="1932" y="254"/>
                </a:lnTo>
                <a:lnTo>
                  <a:pt x="1983" y="297"/>
                </a:lnTo>
                <a:lnTo>
                  <a:pt x="2033" y="345"/>
                </a:lnTo>
                <a:lnTo>
                  <a:pt x="2081" y="397"/>
                </a:lnTo>
                <a:lnTo>
                  <a:pt x="2127" y="453"/>
                </a:lnTo>
                <a:lnTo>
                  <a:pt x="2170" y="513"/>
                </a:lnTo>
                <a:lnTo>
                  <a:pt x="2210" y="578"/>
                </a:lnTo>
                <a:lnTo>
                  <a:pt x="2247" y="647"/>
                </a:lnTo>
                <a:lnTo>
                  <a:pt x="2281" y="720"/>
                </a:lnTo>
                <a:lnTo>
                  <a:pt x="2295" y="752"/>
                </a:lnTo>
                <a:lnTo>
                  <a:pt x="2311" y="787"/>
                </a:lnTo>
                <a:lnTo>
                  <a:pt x="2324" y="822"/>
                </a:lnTo>
                <a:lnTo>
                  <a:pt x="2336" y="857"/>
                </a:lnTo>
                <a:lnTo>
                  <a:pt x="2338" y="862"/>
                </a:lnTo>
                <a:lnTo>
                  <a:pt x="2342" y="873"/>
                </a:lnTo>
                <a:lnTo>
                  <a:pt x="2347" y="887"/>
                </a:lnTo>
                <a:lnTo>
                  <a:pt x="2352" y="905"/>
                </a:lnTo>
                <a:lnTo>
                  <a:pt x="2359" y="924"/>
                </a:lnTo>
                <a:lnTo>
                  <a:pt x="2366" y="946"/>
                </a:lnTo>
                <a:lnTo>
                  <a:pt x="2373" y="968"/>
                </a:lnTo>
                <a:lnTo>
                  <a:pt x="2379" y="990"/>
                </a:lnTo>
                <a:lnTo>
                  <a:pt x="2384" y="1011"/>
                </a:lnTo>
                <a:lnTo>
                  <a:pt x="2389" y="1031"/>
                </a:lnTo>
                <a:lnTo>
                  <a:pt x="2392" y="1047"/>
                </a:lnTo>
                <a:lnTo>
                  <a:pt x="2393" y="1059"/>
                </a:lnTo>
                <a:lnTo>
                  <a:pt x="2393" y="1221"/>
                </a:lnTo>
                <a:lnTo>
                  <a:pt x="2389" y="1295"/>
                </a:lnTo>
                <a:lnTo>
                  <a:pt x="2378" y="1370"/>
                </a:lnTo>
                <a:lnTo>
                  <a:pt x="2359" y="1444"/>
                </a:lnTo>
                <a:lnTo>
                  <a:pt x="2334" y="1518"/>
                </a:lnTo>
                <a:lnTo>
                  <a:pt x="2304" y="1594"/>
                </a:lnTo>
                <a:lnTo>
                  <a:pt x="2270" y="1668"/>
                </a:lnTo>
                <a:lnTo>
                  <a:pt x="2231" y="1743"/>
                </a:lnTo>
                <a:lnTo>
                  <a:pt x="2189" y="1818"/>
                </a:lnTo>
                <a:lnTo>
                  <a:pt x="2144" y="1892"/>
                </a:lnTo>
                <a:lnTo>
                  <a:pt x="2098" y="1967"/>
                </a:lnTo>
                <a:lnTo>
                  <a:pt x="2050" y="2042"/>
                </a:lnTo>
                <a:lnTo>
                  <a:pt x="2002" y="2116"/>
                </a:lnTo>
                <a:lnTo>
                  <a:pt x="1955" y="2191"/>
                </a:lnTo>
                <a:lnTo>
                  <a:pt x="1908" y="2267"/>
                </a:lnTo>
                <a:lnTo>
                  <a:pt x="1863" y="2341"/>
                </a:lnTo>
                <a:lnTo>
                  <a:pt x="1821" y="2416"/>
                </a:lnTo>
                <a:lnTo>
                  <a:pt x="1805" y="2440"/>
                </a:lnTo>
                <a:lnTo>
                  <a:pt x="1786" y="2465"/>
                </a:lnTo>
                <a:lnTo>
                  <a:pt x="1764" y="2490"/>
                </a:lnTo>
                <a:lnTo>
                  <a:pt x="1744" y="2515"/>
                </a:lnTo>
                <a:lnTo>
                  <a:pt x="1727" y="2541"/>
                </a:lnTo>
                <a:lnTo>
                  <a:pt x="1688" y="2606"/>
                </a:lnTo>
                <a:lnTo>
                  <a:pt x="1649" y="2673"/>
                </a:lnTo>
                <a:lnTo>
                  <a:pt x="1610" y="2740"/>
                </a:lnTo>
                <a:lnTo>
                  <a:pt x="1474" y="2972"/>
                </a:lnTo>
                <a:lnTo>
                  <a:pt x="1336" y="3207"/>
                </a:lnTo>
                <a:lnTo>
                  <a:pt x="1197" y="3444"/>
                </a:lnTo>
                <a:lnTo>
                  <a:pt x="1197" y="3444"/>
                </a:lnTo>
                <a:lnTo>
                  <a:pt x="1028" y="3173"/>
                </a:lnTo>
                <a:lnTo>
                  <a:pt x="858" y="2902"/>
                </a:lnTo>
                <a:lnTo>
                  <a:pt x="691" y="2629"/>
                </a:lnTo>
                <a:lnTo>
                  <a:pt x="525" y="2354"/>
                </a:lnTo>
                <a:lnTo>
                  <a:pt x="480" y="2280"/>
                </a:lnTo>
                <a:lnTo>
                  <a:pt x="434" y="2206"/>
                </a:lnTo>
                <a:lnTo>
                  <a:pt x="387" y="2131"/>
                </a:lnTo>
                <a:lnTo>
                  <a:pt x="340" y="2056"/>
                </a:lnTo>
                <a:lnTo>
                  <a:pt x="293" y="1981"/>
                </a:lnTo>
                <a:lnTo>
                  <a:pt x="249" y="1905"/>
                </a:lnTo>
                <a:lnTo>
                  <a:pt x="205" y="1830"/>
                </a:lnTo>
                <a:lnTo>
                  <a:pt x="163" y="1753"/>
                </a:lnTo>
                <a:lnTo>
                  <a:pt x="126" y="1678"/>
                </a:lnTo>
                <a:lnTo>
                  <a:pt x="92" y="1602"/>
                </a:lnTo>
                <a:lnTo>
                  <a:pt x="62" y="1527"/>
                </a:lnTo>
                <a:lnTo>
                  <a:pt x="36" y="1453"/>
                </a:lnTo>
                <a:lnTo>
                  <a:pt x="18" y="1378"/>
                </a:lnTo>
                <a:lnTo>
                  <a:pt x="5" y="1305"/>
                </a:lnTo>
                <a:lnTo>
                  <a:pt x="3" y="1291"/>
                </a:lnTo>
                <a:lnTo>
                  <a:pt x="2" y="1276"/>
                </a:lnTo>
                <a:lnTo>
                  <a:pt x="2" y="1259"/>
                </a:lnTo>
                <a:lnTo>
                  <a:pt x="1" y="1244"/>
                </a:lnTo>
                <a:lnTo>
                  <a:pt x="0" y="1231"/>
                </a:lnTo>
                <a:lnTo>
                  <a:pt x="0" y="1221"/>
                </a:lnTo>
                <a:lnTo>
                  <a:pt x="0" y="1216"/>
                </a:lnTo>
                <a:lnTo>
                  <a:pt x="0" y="1069"/>
                </a:lnTo>
                <a:lnTo>
                  <a:pt x="12" y="984"/>
                </a:lnTo>
                <a:lnTo>
                  <a:pt x="28" y="903"/>
                </a:lnTo>
                <a:lnTo>
                  <a:pt x="48" y="825"/>
                </a:lnTo>
                <a:lnTo>
                  <a:pt x="74" y="751"/>
                </a:lnTo>
                <a:lnTo>
                  <a:pt x="101" y="681"/>
                </a:lnTo>
                <a:lnTo>
                  <a:pt x="134" y="614"/>
                </a:lnTo>
                <a:lnTo>
                  <a:pt x="171" y="551"/>
                </a:lnTo>
                <a:lnTo>
                  <a:pt x="210" y="491"/>
                </a:lnTo>
                <a:lnTo>
                  <a:pt x="252" y="435"/>
                </a:lnTo>
                <a:lnTo>
                  <a:pt x="298" y="382"/>
                </a:lnTo>
                <a:lnTo>
                  <a:pt x="346" y="332"/>
                </a:lnTo>
                <a:lnTo>
                  <a:pt x="396" y="286"/>
                </a:lnTo>
                <a:lnTo>
                  <a:pt x="449" y="243"/>
                </a:lnTo>
                <a:lnTo>
                  <a:pt x="504" y="204"/>
                </a:lnTo>
                <a:lnTo>
                  <a:pt x="560" y="169"/>
                </a:lnTo>
                <a:lnTo>
                  <a:pt x="618" y="137"/>
                </a:lnTo>
                <a:lnTo>
                  <a:pt x="678" y="108"/>
                </a:lnTo>
                <a:lnTo>
                  <a:pt x="739" y="83"/>
                </a:lnTo>
                <a:lnTo>
                  <a:pt x="800" y="60"/>
                </a:lnTo>
                <a:lnTo>
                  <a:pt x="863" y="42"/>
                </a:lnTo>
                <a:lnTo>
                  <a:pt x="926" y="26"/>
                </a:lnTo>
                <a:lnTo>
                  <a:pt x="990" y="15"/>
                </a:lnTo>
                <a:lnTo>
                  <a:pt x="1053" y="6"/>
                </a:lnTo>
                <a:lnTo>
                  <a:pt x="1117" y="2"/>
                </a:lnTo>
                <a:lnTo>
                  <a:pt x="1180" y="0"/>
                </a:lnTo>
                <a:close/>
              </a:path>
            </a:pathLst>
          </a:custGeom>
          <a:solidFill>
            <a:srgbClr val="0084C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335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C2F3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Raleway" panose="020B0003030101060003" pitchFamily="34" charset="0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0" y="0"/>
            <a:ext cx="10016836" cy="6858000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2653145" y="4864665"/>
            <a:ext cx="51054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rgbClr val="00C2F3"/>
                </a:solidFill>
                <a:latin typeface="Raleway" panose="020B0003030101060003" pitchFamily="34" charset="0"/>
                <a:ea typeface="+mn-ea"/>
                <a:cs typeface="+mn-cs"/>
              </a:rPr>
              <a:t>MAKING IT HAPPEN</a:t>
            </a:r>
            <a:r>
              <a:rPr lang="en-US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Raleway" panose="020B0003030101060003" pitchFamily="34" charset="0"/>
                <a:ea typeface="+mn-ea"/>
                <a:cs typeface="+mn-cs"/>
              </a:rPr>
              <a:t/>
            </a:r>
            <a:br>
              <a:rPr lang="en-US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Raleway" panose="020B0003030101060003" pitchFamily="34" charset="0"/>
                <a:ea typeface="+mn-ea"/>
                <a:cs typeface="+mn-cs"/>
              </a:rPr>
            </a:br>
            <a:r>
              <a:rPr lang="en-US" sz="40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Operating ccRobot</a:t>
            </a:r>
            <a:endParaRPr lang="en-US" sz="1800" b="1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4702789" y="5635501"/>
            <a:ext cx="2479964" cy="5403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2000" b="1" dirty="0" smtClean="0">
                <a:solidFill>
                  <a:srgbClr val="00C2F3"/>
                </a:solidFill>
                <a:latin typeface="Raleway" panose="020B0003030101060003" pitchFamily="34" charset="0"/>
              </a:rPr>
              <a:t>Demonstration</a:t>
            </a:r>
            <a:endParaRPr lang="en-CA" sz="2000" b="1" dirty="0">
              <a:solidFill>
                <a:srgbClr val="00C2F3"/>
              </a:solidFill>
              <a:latin typeface="Raleway" panose="020B0003030101060003" pitchFamily="34" charset="0"/>
            </a:endParaRPr>
          </a:p>
        </p:txBody>
      </p:sp>
      <p:sp>
        <p:nvSpPr>
          <p:cNvPr id="12" name="Rectangle 11"/>
          <p:cNvSpPr>
            <a:spLocks noChangeAspect="1"/>
          </p:cNvSpPr>
          <p:nvPr/>
        </p:nvSpPr>
        <p:spPr>
          <a:xfrm flipH="1">
            <a:off x="-291732" y="1613565"/>
            <a:ext cx="3364764" cy="5244435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38253" t="-869" r="478" b="23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Raleway" panose="020B00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5685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7875624" y="1852246"/>
            <a:ext cx="3848086" cy="3992563"/>
          </a:xfrm>
          <a:prstGeom prst="roundRect">
            <a:avLst>
              <a:gd name="adj" fmla="val 3506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3559356" y="1852246"/>
            <a:ext cx="3848086" cy="3992563"/>
          </a:xfrm>
          <a:prstGeom prst="roundRect">
            <a:avLst>
              <a:gd name="adj" fmla="val 3506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" name="Straight Connector 1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81253" y="340567"/>
            <a:ext cx="19559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HOW IT WORK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77388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Cost Breakdown</a:t>
            </a:r>
          </a:p>
        </p:txBody>
      </p:sp>
      <p:sp>
        <p:nvSpPr>
          <p:cNvPr id="6" name="Freeform 5"/>
          <p:cNvSpPr/>
          <p:nvPr/>
        </p:nvSpPr>
        <p:spPr>
          <a:xfrm>
            <a:off x="3559356" y="1852246"/>
            <a:ext cx="3962102" cy="3992563"/>
          </a:xfrm>
          <a:custGeom>
            <a:avLst/>
            <a:gdLst>
              <a:gd name="connsiteX0" fmla="*/ 0 w 3962102"/>
              <a:gd name="connsiteY0" fmla="*/ 396210 h 3992563"/>
              <a:gd name="connsiteX1" fmla="*/ 396210 w 3962102"/>
              <a:gd name="connsiteY1" fmla="*/ 0 h 3992563"/>
              <a:gd name="connsiteX2" fmla="*/ 3565892 w 3962102"/>
              <a:gd name="connsiteY2" fmla="*/ 0 h 3992563"/>
              <a:gd name="connsiteX3" fmla="*/ 3962102 w 3962102"/>
              <a:gd name="connsiteY3" fmla="*/ 396210 h 3992563"/>
              <a:gd name="connsiteX4" fmla="*/ 3962102 w 3962102"/>
              <a:gd name="connsiteY4" fmla="*/ 3596353 h 3992563"/>
              <a:gd name="connsiteX5" fmla="*/ 3565892 w 3962102"/>
              <a:gd name="connsiteY5" fmla="*/ 3992563 h 3992563"/>
              <a:gd name="connsiteX6" fmla="*/ 396210 w 3962102"/>
              <a:gd name="connsiteY6" fmla="*/ 3992563 h 3992563"/>
              <a:gd name="connsiteX7" fmla="*/ 0 w 3962102"/>
              <a:gd name="connsiteY7" fmla="*/ 3596353 h 3992563"/>
              <a:gd name="connsiteX8" fmla="*/ 0 w 3962102"/>
              <a:gd name="connsiteY8" fmla="*/ 396210 h 3992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62102" h="3992563">
                <a:moveTo>
                  <a:pt x="0" y="396210"/>
                </a:moveTo>
                <a:cubicBezTo>
                  <a:pt x="0" y="177389"/>
                  <a:pt x="177389" y="0"/>
                  <a:pt x="396210" y="0"/>
                </a:cubicBezTo>
                <a:lnTo>
                  <a:pt x="3565892" y="0"/>
                </a:lnTo>
                <a:cubicBezTo>
                  <a:pt x="3784713" y="0"/>
                  <a:pt x="3962102" y="177389"/>
                  <a:pt x="3962102" y="396210"/>
                </a:cubicBezTo>
                <a:lnTo>
                  <a:pt x="3962102" y="3596353"/>
                </a:lnTo>
                <a:cubicBezTo>
                  <a:pt x="3962102" y="3815174"/>
                  <a:pt x="3784713" y="3992563"/>
                  <a:pt x="3565892" y="3992563"/>
                </a:cubicBezTo>
                <a:lnTo>
                  <a:pt x="396210" y="3992563"/>
                </a:lnTo>
                <a:cubicBezTo>
                  <a:pt x="177389" y="3992563"/>
                  <a:pt x="0" y="3815174"/>
                  <a:pt x="0" y="3596353"/>
                </a:cubicBezTo>
                <a:lnTo>
                  <a:pt x="0" y="396210"/>
                </a:lnTo>
                <a:close/>
              </a:path>
            </a:pathLst>
          </a:custGeom>
          <a:noFill/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9550" tIns="209550" rIns="209550" bIns="3004345" numCol="1" spcCol="1270" anchor="ctr" anchorCtr="0">
            <a:noAutofit/>
          </a:bodyPr>
          <a:lstStyle/>
          <a:p>
            <a:pPr lvl="0" algn="ctr" defTabSz="2444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5500" kern="1200" dirty="0">
                <a:solidFill>
                  <a:srgbClr val="0084CB"/>
                </a:solidFill>
                <a:latin typeface="Raleway" panose="020B0003030101060003" pitchFamily="34" charset="0"/>
              </a:rPr>
              <a:t>Initial</a:t>
            </a:r>
            <a:endParaRPr lang="en-CA" sz="5500" kern="12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3955566" y="4860460"/>
            <a:ext cx="3169681" cy="784378"/>
          </a:xfrm>
          <a:custGeom>
            <a:avLst/>
            <a:gdLst>
              <a:gd name="connsiteX0" fmla="*/ 0 w 3169681"/>
              <a:gd name="connsiteY0" fmla="*/ 78438 h 784378"/>
              <a:gd name="connsiteX1" fmla="*/ 78438 w 3169681"/>
              <a:gd name="connsiteY1" fmla="*/ 0 h 784378"/>
              <a:gd name="connsiteX2" fmla="*/ 3091243 w 3169681"/>
              <a:gd name="connsiteY2" fmla="*/ 0 h 784378"/>
              <a:gd name="connsiteX3" fmla="*/ 3169681 w 3169681"/>
              <a:gd name="connsiteY3" fmla="*/ 78438 h 784378"/>
              <a:gd name="connsiteX4" fmla="*/ 3169681 w 3169681"/>
              <a:gd name="connsiteY4" fmla="*/ 705940 h 784378"/>
              <a:gd name="connsiteX5" fmla="*/ 3091243 w 3169681"/>
              <a:gd name="connsiteY5" fmla="*/ 784378 h 784378"/>
              <a:gd name="connsiteX6" fmla="*/ 78438 w 3169681"/>
              <a:gd name="connsiteY6" fmla="*/ 784378 h 784378"/>
              <a:gd name="connsiteX7" fmla="*/ 0 w 3169681"/>
              <a:gd name="connsiteY7" fmla="*/ 705940 h 784378"/>
              <a:gd name="connsiteX8" fmla="*/ 0 w 3169681"/>
              <a:gd name="connsiteY8" fmla="*/ 78438 h 784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69681" h="784378">
                <a:moveTo>
                  <a:pt x="0" y="78438"/>
                </a:moveTo>
                <a:cubicBezTo>
                  <a:pt x="0" y="35118"/>
                  <a:pt x="35118" y="0"/>
                  <a:pt x="78438" y="0"/>
                </a:cubicBezTo>
                <a:lnTo>
                  <a:pt x="3091243" y="0"/>
                </a:lnTo>
                <a:cubicBezTo>
                  <a:pt x="3134563" y="0"/>
                  <a:pt x="3169681" y="35118"/>
                  <a:pt x="3169681" y="78438"/>
                </a:cubicBezTo>
                <a:lnTo>
                  <a:pt x="3169681" y="705940"/>
                </a:lnTo>
                <a:cubicBezTo>
                  <a:pt x="3169681" y="749260"/>
                  <a:pt x="3134563" y="784378"/>
                  <a:pt x="3091243" y="784378"/>
                </a:cubicBezTo>
                <a:lnTo>
                  <a:pt x="78438" y="784378"/>
                </a:lnTo>
                <a:cubicBezTo>
                  <a:pt x="35118" y="784378"/>
                  <a:pt x="0" y="749260"/>
                  <a:pt x="0" y="705940"/>
                </a:cubicBezTo>
                <a:lnTo>
                  <a:pt x="0" y="78438"/>
                </a:lnTo>
                <a:close/>
              </a:path>
            </a:pathLst>
          </a:custGeom>
          <a:solidFill>
            <a:srgbClr val="0084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394" tIns="66789" rIns="81394" bIns="66789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700" kern="1200" dirty="0">
              <a:latin typeface="Raleway" panose="020B0003030101060003" pitchFamily="34" charset="0"/>
            </a:endParaRPr>
          </a:p>
          <a:p>
            <a:pPr lvl="0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300" dirty="0">
                <a:solidFill>
                  <a:prstClr val="white"/>
                </a:solidFill>
                <a:latin typeface="Raleway" panose="020B0003030101060003" pitchFamily="34" charset="0"/>
              </a:rPr>
              <a:t>  </a:t>
            </a:r>
            <a:r>
              <a:rPr lang="en-US" sz="2300" u="sng" dirty="0">
                <a:solidFill>
                  <a:prstClr val="white"/>
                </a:solidFill>
                <a:latin typeface="Raleway" panose="020B0003030101060003" pitchFamily="34" charset="0"/>
              </a:rPr>
              <a:t>Optional</a:t>
            </a:r>
            <a:r>
              <a:rPr lang="en-US" sz="2300" dirty="0">
                <a:solidFill>
                  <a:prstClr val="white"/>
                </a:solidFill>
                <a:latin typeface="Raleway" panose="020B0003030101060003" pitchFamily="34" charset="0"/>
              </a:rPr>
              <a:t> (as needed)</a:t>
            </a:r>
            <a:endParaRPr lang="en-CA" sz="2000" kern="1200" dirty="0">
              <a:latin typeface="Raleway" panose="020B0003030101060003" pitchFamily="34" charset="0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7818616" y="1852246"/>
            <a:ext cx="3962102" cy="3992563"/>
          </a:xfrm>
          <a:custGeom>
            <a:avLst/>
            <a:gdLst>
              <a:gd name="connsiteX0" fmla="*/ 0 w 3962102"/>
              <a:gd name="connsiteY0" fmla="*/ 396210 h 3992563"/>
              <a:gd name="connsiteX1" fmla="*/ 396210 w 3962102"/>
              <a:gd name="connsiteY1" fmla="*/ 0 h 3992563"/>
              <a:gd name="connsiteX2" fmla="*/ 3565892 w 3962102"/>
              <a:gd name="connsiteY2" fmla="*/ 0 h 3992563"/>
              <a:gd name="connsiteX3" fmla="*/ 3962102 w 3962102"/>
              <a:gd name="connsiteY3" fmla="*/ 396210 h 3992563"/>
              <a:gd name="connsiteX4" fmla="*/ 3962102 w 3962102"/>
              <a:gd name="connsiteY4" fmla="*/ 3596353 h 3992563"/>
              <a:gd name="connsiteX5" fmla="*/ 3565892 w 3962102"/>
              <a:gd name="connsiteY5" fmla="*/ 3992563 h 3992563"/>
              <a:gd name="connsiteX6" fmla="*/ 396210 w 3962102"/>
              <a:gd name="connsiteY6" fmla="*/ 3992563 h 3992563"/>
              <a:gd name="connsiteX7" fmla="*/ 0 w 3962102"/>
              <a:gd name="connsiteY7" fmla="*/ 3596353 h 3992563"/>
              <a:gd name="connsiteX8" fmla="*/ 0 w 3962102"/>
              <a:gd name="connsiteY8" fmla="*/ 396210 h 3992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62102" h="3992563">
                <a:moveTo>
                  <a:pt x="0" y="396210"/>
                </a:moveTo>
                <a:cubicBezTo>
                  <a:pt x="0" y="177389"/>
                  <a:pt x="177389" y="0"/>
                  <a:pt x="396210" y="0"/>
                </a:cubicBezTo>
                <a:lnTo>
                  <a:pt x="3565892" y="0"/>
                </a:lnTo>
                <a:cubicBezTo>
                  <a:pt x="3784713" y="0"/>
                  <a:pt x="3962102" y="177389"/>
                  <a:pt x="3962102" y="396210"/>
                </a:cubicBezTo>
                <a:lnTo>
                  <a:pt x="3962102" y="3596353"/>
                </a:lnTo>
                <a:cubicBezTo>
                  <a:pt x="3962102" y="3815174"/>
                  <a:pt x="3784713" y="3992563"/>
                  <a:pt x="3565892" y="3992563"/>
                </a:cubicBezTo>
                <a:lnTo>
                  <a:pt x="396210" y="3992563"/>
                </a:lnTo>
                <a:cubicBezTo>
                  <a:pt x="177389" y="3992563"/>
                  <a:pt x="0" y="3815174"/>
                  <a:pt x="0" y="3596353"/>
                </a:cubicBezTo>
                <a:lnTo>
                  <a:pt x="0" y="396210"/>
                </a:lnTo>
                <a:close/>
              </a:path>
            </a:pathLst>
          </a:custGeom>
          <a:noFill/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9550" tIns="209550" rIns="209550" bIns="3004345" numCol="1" spcCol="1270" anchor="ctr" anchorCtr="0">
            <a:noAutofit/>
          </a:bodyPr>
          <a:lstStyle/>
          <a:p>
            <a:pPr lvl="0" algn="ctr" defTabSz="2444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5500" kern="1200" dirty="0">
                <a:solidFill>
                  <a:srgbClr val="0084CB"/>
                </a:solidFill>
                <a:latin typeface="Raleway" panose="020B0003030101060003" pitchFamily="34" charset="0"/>
              </a:rPr>
              <a:t>Ongoing</a:t>
            </a:r>
            <a:endParaRPr lang="en-CA" sz="5500" kern="12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3930166" y="2896668"/>
            <a:ext cx="7428941" cy="784378"/>
          </a:xfrm>
          <a:custGeom>
            <a:avLst/>
            <a:gdLst>
              <a:gd name="connsiteX0" fmla="*/ 0 w 3169681"/>
              <a:gd name="connsiteY0" fmla="*/ 78438 h 784378"/>
              <a:gd name="connsiteX1" fmla="*/ 78438 w 3169681"/>
              <a:gd name="connsiteY1" fmla="*/ 0 h 784378"/>
              <a:gd name="connsiteX2" fmla="*/ 3091243 w 3169681"/>
              <a:gd name="connsiteY2" fmla="*/ 0 h 784378"/>
              <a:gd name="connsiteX3" fmla="*/ 3169681 w 3169681"/>
              <a:gd name="connsiteY3" fmla="*/ 78438 h 784378"/>
              <a:gd name="connsiteX4" fmla="*/ 3169681 w 3169681"/>
              <a:gd name="connsiteY4" fmla="*/ 705940 h 784378"/>
              <a:gd name="connsiteX5" fmla="*/ 3091243 w 3169681"/>
              <a:gd name="connsiteY5" fmla="*/ 784378 h 784378"/>
              <a:gd name="connsiteX6" fmla="*/ 78438 w 3169681"/>
              <a:gd name="connsiteY6" fmla="*/ 784378 h 784378"/>
              <a:gd name="connsiteX7" fmla="*/ 0 w 3169681"/>
              <a:gd name="connsiteY7" fmla="*/ 705940 h 784378"/>
              <a:gd name="connsiteX8" fmla="*/ 0 w 3169681"/>
              <a:gd name="connsiteY8" fmla="*/ 78438 h 784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69681" h="784378">
                <a:moveTo>
                  <a:pt x="0" y="78438"/>
                </a:moveTo>
                <a:cubicBezTo>
                  <a:pt x="0" y="35118"/>
                  <a:pt x="35118" y="0"/>
                  <a:pt x="78438" y="0"/>
                </a:cubicBezTo>
                <a:lnTo>
                  <a:pt x="3091243" y="0"/>
                </a:lnTo>
                <a:cubicBezTo>
                  <a:pt x="3134563" y="0"/>
                  <a:pt x="3169681" y="35118"/>
                  <a:pt x="3169681" y="78438"/>
                </a:cubicBezTo>
                <a:lnTo>
                  <a:pt x="3169681" y="705940"/>
                </a:lnTo>
                <a:cubicBezTo>
                  <a:pt x="3169681" y="749260"/>
                  <a:pt x="3134563" y="784378"/>
                  <a:pt x="3091243" y="784378"/>
                </a:cubicBezTo>
                <a:lnTo>
                  <a:pt x="78438" y="784378"/>
                </a:lnTo>
                <a:cubicBezTo>
                  <a:pt x="35118" y="784378"/>
                  <a:pt x="0" y="749260"/>
                  <a:pt x="0" y="705940"/>
                </a:cubicBezTo>
                <a:lnTo>
                  <a:pt x="0" y="78438"/>
                </a:lnTo>
                <a:close/>
              </a:path>
            </a:pathLst>
          </a:custGeom>
          <a:solidFill>
            <a:srgbClr val="0084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394" tIns="66789" rIns="81394" bIns="66789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300" kern="1200" dirty="0">
                <a:latin typeface="Raleway" panose="020B0003030101060003" pitchFamily="34" charset="0"/>
              </a:rPr>
              <a:t>~</a:t>
            </a:r>
            <a:r>
              <a:rPr lang="en-US" sz="2300" b="1" kern="1200" dirty="0">
                <a:latin typeface="Raleway" panose="020B0003030101060003" pitchFamily="34" charset="0"/>
              </a:rPr>
              <a:t>$300-600</a:t>
            </a:r>
            <a:r>
              <a:rPr lang="en-US" sz="2300" kern="1200" dirty="0">
                <a:latin typeface="Raleway" panose="020B0003030101060003" pitchFamily="34" charset="0"/>
              </a:rPr>
              <a:t>/</a:t>
            </a:r>
            <a:r>
              <a:rPr lang="en-US" sz="2000" kern="1200" dirty="0">
                <a:latin typeface="Raleway" panose="020B0003030101060003" pitchFamily="34" charset="0"/>
              </a:rPr>
              <a:t>human agent equivalent (monthly</a:t>
            </a:r>
            <a:r>
              <a:rPr lang="en-US" sz="2000" dirty="0">
                <a:latin typeface="Raleway" panose="020B0003030101060003" pitchFamily="34" charset="0"/>
              </a:rPr>
              <a:t>)</a:t>
            </a:r>
            <a:endParaRPr lang="en-CA" sz="2000" kern="1200" dirty="0">
              <a:latin typeface="Raleway" panose="020B0003030101060003" pitchFamily="34" charset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3930166" y="3887268"/>
            <a:ext cx="7428941" cy="784378"/>
          </a:xfrm>
          <a:custGeom>
            <a:avLst/>
            <a:gdLst>
              <a:gd name="connsiteX0" fmla="*/ 0 w 3169681"/>
              <a:gd name="connsiteY0" fmla="*/ 78438 h 784378"/>
              <a:gd name="connsiteX1" fmla="*/ 78438 w 3169681"/>
              <a:gd name="connsiteY1" fmla="*/ 0 h 784378"/>
              <a:gd name="connsiteX2" fmla="*/ 3091243 w 3169681"/>
              <a:gd name="connsiteY2" fmla="*/ 0 h 784378"/>
              <a:gd name="connsiteX3" fmla="*/ 3169681 w 3169681"/>
              <a:gd name="connsiteY3" fmla="*/ 78438 h 784378"/>
              <a:gd name="connsiteX4" fmla="*/ 3169681 w 3169681"/>
              <a:gd name="connsiteY4" fmla="*/ 705940 h 784378"/>
              <a:gd name="connsiteX5" fmla="*/ 3091243 w 3169681"/>
              <a:gd name="connsiteY5" fmla="*/ 784378 h 784378"/>
              <a:gd name="connsiteX6" fmla="*/ 78438 w 3169681"/>
              <a:gd name="connsiteY6" fmla="*/ 784378 h 784378"/>
              <a:gd name="connsiteX7" fmla="*/ 0 w 3169681"/>
              <a:gd name="connsiteY7" fmla="*/ 705940 h 784378"/>
              <a:gd name="connsiteX8" fmla="*/ 0 w 3169681"/>
              <a:gd name="connsiteY8" fmla="*/ 78438 h 784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69681" h="784378">
                <a:moveTo>
                  <a:pt x="0" y="78438"/>
                </a:moveTo>
                <a:cubicBezTo>
                  <a:pt x="0" y="35118"/>
                  <a:pt x="35118" y="0"/>
                  <a:pt x="78438" y="0"/>
                </a:cubicBezTo>
                <a:lnTo>
                  <a:pt x="3091243" y="0"/>
                </a:lnTo>
                <a:cubicBezTo>
                  <a:pt x="3134563" y="0"/>
                  <a:pt x="3169681" y="35118"/>
                  <a:pt x="3169681" y="78438"/>
                </a:cubicBezTo>
                <a:lnTo>
                  <a:pt x="3169681" y="705940"/>
                </a:lnTo>
                <a:cubicBezTo>
                  <a:pt x="3169681" y="749260"/>
                  <a:pt x="3134563" y="784378"/>
                  <a:pt x="3091243" y="784378"/>
                </a:cubicBezTo>
                <a:lnTo>
                  <a:pt x="78438" y="784378"/>
                </a:lnTo>
                <a:cubicBezTo>
                  <a:pt x="35118" y="784378"/>
                  <a:pt x="0" y="749260"/>
                  <a:pt x="0" y="705940"/>
                </a:cubicBezTo>
                <a:lnTo>
                  <a:pt x="0" y="78438"/>
                </a:lnTo>
                <a:close/>
              </a:path>
            </a:pathLst>
          </a:custGeom>
          <a:solidFill>
            <a:srgbClr val="0084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394" tIns="66789" rIns="81394" bIns="66789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300" u="sng" dirty="0">
                <a:latin typeface="Raleway" panose="020B0003030101060003" pitchFamily="34" charset="0"/>
              </a:rPr>
              <a:t>Optional</a:t>
            </a:r>
            <a:r>
              <a:rPr lang="en-US" sz="2300" dirty="0">
                <a:latin typeface="Raleway" panose="020B0003030101060003" pitchFamily="34" charset="0"/>
              </a:rPr>
              <a:t> Packages Only (you can DIY if you prefer)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673" y="3079085"/>
            <a:ext cx="3090911" cy="24468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100" dirty="0">
                <a:solidFill>
                  <a:srgbClr val="0084CB"/>
                </a:solidFill>
                <a:latin typeface="Raleway" panose="020B0003030101060003" pitchFamily="34" charset="0"/>
              </a:rPr>
              <a:t>ccRobot License:</a:t>
            </a:r>
          </a:p>
          <a:p>
            <a:endParaRPr lang="en-US" sz="2400" dirty="0">
              <a:solidFill>
                <a:srgbClr val="0084CB"/>
              </a:solidFill>
              <a:latin typeface="Raleway" panose="020B0003030101060003" pitchFamily="34" charset="0"/>
            </a:endParaRPr>
          </a:p>
          <a:p>
            <a:endParaRPr lang="en-US" sz="2100" dirty="0">
              <a:solidFill>
                <a:srgbClr val="0084CB"/>
              </a:solidFill>
              <a:latin typeface="Raleway" panose="020B0003030101060003" pitchFamily="34" charset="0"/>
            </a:endParaRPr>
          </a:p>
          <a:p>
            <a:r>
              <a:rPr lang="en-US" sz="2100" dirty="0">
                <a:solidFill>
                  <a:srgbClr val="0084CB"/>
                </a:solidFill>
                <a:latin typeface="Raleway" panose="020B0003030101060003" pitchFamily="34" charset="0"/>
              </a:rPr>
              <a:t>Hosting + Hardware</a:t>
            </a:r>
          </a:p>
          <a:p>
            <a:endParaRPr lang="en-US" sz="2100" dirty="0">
              <a:solidFill>
                <a:srgbClr val="0084CB"/>
              </a:solidFill>
              <a:latin typeface="Raleway" panose="020B0003030101060003" pitchFamily="34" charset="0"/>
            </a:endParaRPr>
          </a:p>
          <a:p>
            <a:endParaRPr lang="en-US" sz="2000" dirty="0">
              <a:solidFill>
                <a:srgbClr val="0084CB"/>
              </a:solidFill>
              <a:latin typeface="Raleway" panose="020B0003030101060003" pitchFamily="34" charset="0"/>
            </a:endParaRPr>
          </a:p>
          <a:p>
            <a:r>
              <a:rPr lang="en-US" sz="2100" dirty="0">
                <a:solidFill>
                  <a:srgbClr val="0084CB"/>
                </a:solidFill>
                <a:latin typeface="Raleway" panose="020B0003030101060003" pitchFamily="34" charset="0"/>
              </a:rPr>
              <a:t>Consulting/Integration </a:t>
            </a:r>
          </a:p>
        </p:txBody>
      </p:sp>
    </p:spTree>
    <p:extLst>
      <p:ext uri="{BB962C8B-B14F-4D97-AF65-F5344CB8AC3E}">
        <p14:creationId xmlns:p14="http://schemas.microsoft.com/office/powerpoint/2010/main" val="7527980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81253" y="340567"/>
            <a:ext cx="35237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 smtClean="0">
                <a:solidFill>
                  <a:srgbClr val="00C2F3"/>
                </a:solidFill>
                <a:latin typeface="Raleway" panose="020B0003030101060003" pitchFamily="34" charset="0"/>
              </a:rPr>
              <a:t>SOME EARLY IDEAS FOR YOU 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77388" y="708526"/>
            <a:ext cx="88274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Using </a:t>
            </a:r>
            <a:r>
              <a:rPr lang="en-US" sz="2600" dirty="0" err="1">
                <a:solidFill>
                  <a:srgbClr val="0084CB"/>
                </a:solidFill>
                <a:latin typeface="Raleway" panose="020B0003030101060003" pitchFamily="34" charset="0"/>
              </a:rPr>
              <a:t>ccRobot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 for coordinating with patients</a:t>
            </a:r>
          </a:p>
          <a:p>
            <a:endParaRPr lang="en-US" sz="26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sp>
        <p:nvSpPr>
          <p:cNvPr id="15" name="Content Placeholder 5"/>
          <p:cNvSpPr txBox="1">
            <a:spLocks/>
          </p:cNvSpPr>
          <p:nvPr/>
        </p:nvSpPr>
        <p:spPr>
          <a:xfrm>
            <a:off x="946484" y="1729774"/>
            <a:ext cx="8229600" cy="6096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Interact with and take care of patients in an engaging way</a:t>
            </a:r>
            <a:endParaRPr lang="en-CA" sz="20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66598" y="0"/>
            <a:ext cx="8058805" cy="6858000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43204" y="1117601"/>
            <a:ext cx="6583680" cy="574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2681304" y="3197483"/>
            <a:ext cx="6504940" cy="1145915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4" name="Rectangle 13"/>
          <p:cNvSpPr/>
          <p:nvPr/>
        </p:nvSpPr>
        <p:spPr>
          <a:xfrm>
            <a:off x="2681304" y="4341940"/>
            <a:ext cx="6494780" cy="217316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6" name="Rectangle 15"/>
          <p:cNvSpPr/>
          <p:nvPr/>
        </p:nvSpPr>
        <p:spPr>
          <a:xfrm>
            <a:off x="2681304" y="6515100"/>
            <a:ext cx="6494780" cy="3429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43204" y="1117601"/>
            <a:ext cx="6583680" cy="574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2682574" y="3756282"/>
            <a:ext cx="6504940" cy="1971418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9" name="Rectangle 18"/>
          <p:cNvSpPr/>
          <p:nvPr/>
        </p:nvSpPr>
        <p:spPr>
          <a:xfrm>
            <a:off x="2682574" y="2443291"/>
            <a:ext cx="6504940" cy="1325691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45507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xit" presetSubtype="0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xit" presetSubtype="0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10" presetClass="exit" presetSubtype="0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" grpId="1" animBg="1"/>
      <p:bldP spid="14" grpId="0" animBg="1"/>
      <p:bldP spid="14" grpId="1" animBg="1"/>
      <p:bldP spid="16" grpId="0" animBg="1"/>
      <p:bldP spid="18" grpId="0" animBg="1"/>
      <p:bldP spid="18" grpId="1" animBg="1"/>
      <p:bldP spid="19" grpId="0" animBg="1"/>
      <p:bldP spid="19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81253" y="340567"/>
            <a:ext cx="35237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 smtClean="0">
                <a:solidFill>
                  <a:srgbClr val="00C2F3"/>
                </a:solidFill>
                <a:latin typeface="Raleway" panose="020B0003030101060003" pitchFamily="34" charset="0"/>
              </a:rPr>
              <a:t>SOME EARLY IDEAS FOR YOU 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77388" y="708526"/>
            <a:ext cx="88274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Using </a:t>
            </a:r>
            <a:r>
              <a:rPr lang="en-US" sz="2600" dirty="0" err="1">
                <a:solidFill>
                  <a:srgbClr val="0084CB"/>
                </a:solidFill>
                <a:latin typeface="Raleway" panose="020B0003030101060003" pitchFamily="34" charset="0"/>
              </a:rPr>
              <a:t>ccRobot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 to monitor chronic conditions</a:t>
            </a:r>
          </a:p>
          <a:p>
            <a:endParaRPr lang="en-US" sz="26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sp>
        <p:nvSpPr>
          <p:cNvPr id="15" name="Content Placeholder 5"/>
          <p:cNvSpPr txBox="1">
            <a:spLocks/>
          </p:cNvSpPr>
          <p:nvPr/>
        </p:nvSpPr>
        <p:spPr>
          <a:xfrm>
            <a:off x="946484" y="1729774"/>
            <a:ext cx="8229600" cy="6096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0084CB"/>
                </a:solidFill>
                <a:latin typeface="Raleway" panose="020B0003030101060003" pitchFamily="34" charset="0"/>
              </a:rPr>
              <a:t>Perform non-intrusive weekly check-ins</a:t>
            </a:r>
          </a:p>
          <a:p>
            <a:r>
              <a:rPr lang="en-US" sz="2000" dirty="0">
                <a:solidFill>
                  <a:srgbClr val="0084CB"/>
                </a:solidFill>
                <a:latin typeface="Raleway" panose="020B0003030101060003" pitchFamily="34" charset="0"/>
              </a:rPr>
              <a:t>Provide engaging interaction while getting at-home feedback from the patient</a:t>
            </a:r>
            <a:endParaRPr lang="en-CA" sz="20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66598" y="0"/>
            <a:ext cx="8058805" cy="685800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2681304" y="6515100"/>
            <a:ext cx="6494780" cy="3429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36854" y="1119391"/>
            <a:ext cx="6583680" cy="5738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2682574" y="2798891"/>
            <a:ext cx="6504940" cy="145560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1" name="Rectangle 20"/>
          <p:cNvSpPr/>
          <p:nvPr/>
        </p:nvSpPr>
        <p:spPr>
          <a:xfrm>
            <a:off x="2682574" y="4144618"/>
            <a:ext cx="6504940" cy="201488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43235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xit" presetSubtype="0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0" grpId="0" animBg="1"/>
      <p:bldP spid="20" grpId="1" animBg="1"/>
      <p:bldP spid="21" grpId="0" animBg="1"/>
      <p:bldP spid="21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81253" y="340567"/>
            <a:ext cx="35237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>
                <a:solidFill>
                  <a:srgbClr val="00C2F3"/>
                </a:solidFill>
                <a:latin typeface="Raleway" panose="020B0003030101060003" pitchFamily="34" charset="0"/>
              </a:rPr>
              <a:t>SOME EARLY IDEAS FOR YOU 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77388" y="708526"/>
            <a:ext cx="1032396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Using ccRobot to assist in enrollment &amp; remote assistance</a:t>
            </a:r>
          </a:p>
          <a:p>
            <a:endParaRPr lang="en-US" sz="26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sp>
        <p:nvSpPr>
          <p:cNvPr id="15" name="Content Placeholder 5"/>
          <p:cNvSpPr txBox="1">
            <a:spLocks/>
          </p:cNvSpPr>
          <p:nvPr/>
        </p:nvSpPr>
        <p:spPr>
          <a:xfrm>
            <a:off x="946484" y="1729774"/>
            <a:ext cx="8997616" cy="6096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0084CB"/>
                </a:solidFill>
                <a:latin typeface="Raleway" panose="020B0003030101060003" pitchFamily="34" charset="0"/>
              </a:rPr>
              <a:t>Communicating through diverse channels (SMS, web chat, etc.) Collecting Patient Information</a:t>
            </a:r>
          </a:p>
          <a:p>
            <a:r>
              <a:rPr lang="en-US" sz="2000" dirty="0">
                <a:solidFill>
                  <a:srgbClr val="0084CB"/>
                </a:solidFill>
                <a:latin typeface="Raleway" panose="020B0003030101060003" pitchFamily="34" charset="0"/>
              </a:rPr>
              <a:t>Streamlining paperwork and the need for diverse human intervention</a:t>
            </a:r>
          </a:p>
          <a:p>
            <a:r>
              <a:rPr lang="en-US" sz="2000" dirty="0">
                <a:solidFill>
                  <a:srgbClr val="0084CB"/>
                </a:solidFill>
                <a:latin typeface="Raleway" panose="020B0003030101060003" pitchFamily="34" charset="0"/>
              </a:rPr>
              <a:t>Working in native patient languages</a:t>
            </a:r>
            <a:endParaRPr lang="en-CA" sz="20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547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arallelogram 25"/>
          <p:cNvSpPr/>
          <p:nvPr/>
        </p:nvSpPr>
        <p:spPr>
          <a:xfrm>
            <a:off x="0" y="-2"/>
            <a:ext cx="12192000" cy="6866330"/>
          </a:xfrm>
          <a:prstGeom prst="parallelogram">
            <a:avLst>
              <a:gd name="adj" fmla="val 0"/>
            </a:avLst>
          </a:prstGeom>
          <a:blipFill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6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arallelogram 7"/>
          <p:cNvSpPr/>
          <p:nvPr/>
        </p:nvSpPr>
        <p:spPr>
          <a:xfrm>
            <a:off x="0" y="0"/>
            <a:ext cx="12192000" cy="6866330"/>
          </a:xfrm>
          <a:prstGeom prst="parallelogram">
            <a:avLst>
              <a:gd name="adj" fmla="val 0"/>
            </a:avLst>
          </a:prstGeom>
          <a:solidFill>
            <a:srgbClr val="0084CB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-1" y="2725614"/>
            <a:ext cx="6246056" cy="1846387"/>
          </a:xfrm>
          <a:custGeom>
            <a:avLst/>
            <a:gdLst>
              <a:gd name="connsiteX0" fmla="*/ 3328251 w 6096000"/>
              <a:gd name="connsiteY0" fmla="*/ 0 h 1780163"/>
              <a:gd name="connsiteX1" fmla="*/ 6096000 w 6096000"/>
              <a:gd name="connsiteY1" fmla="*/ 0 h 1780163"/>
              <a:gd name="connsiteX2" fmla="*/ 4923907 w 6096000"/>
              <a:gd name="connsiteY2" fmla="*/ 1780161 h 1780163"/>
              <a:gd name="connsiteX3" fmla="*/ 3347357 w 6096000"/>
              <a:gd name="connsiteY3" fmla="*/ 1780161 h 1780163"/>
              <a:gd name="connsiteX4" fmla="*/ 3347357 w 6096000"/>
              <a:gd name="connsiteY4" fmla="*/ 1780163 h 1780163"/>
              <a:gd name="connsiteX5" fmla="*/ 0 w 6096000"/>
              <a:gd name="connsiteY5" fmla="*/ 1780163 h 1780163"/>
              <a:gd name="connsiteX6" fmla="*/ 0 w 6096000"/>
              <a:gd name="connsiteY6" fmla="*/ 1 h 1780163"/>
              <a:gd name="connsiteX7" fmla="*/ 3328251 w 6096000"/>
              <a:gd name="connsiteY7" fmla="*/ 1 h 1780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1780163">
                <a:moveTo>
                  <a:pt x="3328251" y="0"/>
                </a:moveTo>
                <a:lnTo>
                  <a:pt x="6096000" y="0"/>
                </a:lnTo>
                <a:lnTo>
                  <a:pt x="4923907" y="1780161"/>
                </a:lnTo>
                <a:lnTo>
                  <a:pt x="3347357" y="1780161"/>
                </a:lnTo>
                <a:lnTo>
                  <a:pt x="3347357" y="1780163"/>
                </a:lnTo>
                <a:lnTo>
                  <a:pt x="0" y="1780163"/>
                </a:lnTo>
                <a:lnTo>
                  <a:pt x="0" y="1"/>
                </a:lnTo>
                <a:lnTo>
                  <a:pt x="3328251" y="1"/>
                </a:lnTo>
                <a:close/>
              </a:path>
            </a:pathLst>
          </a:custGeom>
          <a:solidFill>
            <a:srgbClr val="00C2F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4815" y="2550860"/>
            <a:ext cx="5215249" cy="1954192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09847" y="2956455"/>
            <a:ext cx="5105400" cy="1143001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 cap="none">
                <a:solidFill>
                  <a:schemeClr val="tx1"/>
                </a:solidFill>
                <a:latin typeface="Georgia" pitchFamily="18" charset="0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003030101060003" pitchFamily="34" charset="0"/>
              </a:rPr>
              <a:t>MAKING IT HAPPEN</a:t>
            </a:r>
            <a:b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003030101060003" pitchFamily="34" charset="0"/>
              </a:rPr>
            </a:b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003030101060003" pitchFamily="34" charset="0"/>
              </a:rPr>
              <a:t>Q&amp;A and Next Step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aleway" panose="020B00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446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481253" y="70747"/>
            <a:ext cx="12602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CONTEXT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81253" y="310150"/>
            <a:ext cx="927734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…And because of maturing technology, the way these companies interact with their customers is about to change!</a:t>
            </a:r>
            <a:endParaRPr lang="en-US" sz="2500" dirty="0"/>
          </a:p>
        </p:txBody>
      </p:sp>
      <p:graphicFrame>
        <p:nvGraphicFramePr>
          <p:cNvPr id="8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5118010"/>
              </p:ext>
            </p:extLst>
          </p:nvPr>
        </p:nvGraphicFramePr>
        <p:xfrm>
          <a:off x="1607457" y="1489529"/>
          <a:ext cx="8977087" cy="4648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20968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81253" y="70747"/>
            <a:ext cx="12602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CONTEXT</a:t>
            </a:r>
            <a:endParaRPr lang="en-US" dirty="0"/>
          </a:p>
        </p:txBody>
      </p:sp>
      <p:sp>
        <p:nvSpPr>
          <p:cNvPr id="150" name="TextBox 149"/>
          <p:cNvSpPr txBox="1"/>
          <p:nvPr/>
        </p:nvSpPr>
        <p:spPr>
          <a:xfrm>
            <a:off x="481253" y="310150"/>
            <a:ext cx="927734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600" dirty="0">
                <a:solidFill>
                  <a:srgbClr val="0084CB"/>
                </a:solidFill>
                <a:latin typeface="Raleway" panose="020B0003030101060003" pitchFamily="34" charset="0"/>
              </a:rPr>
              <a:t>Digital customer experience is becoming the new battleground (for winning customer hearts and wallets)</a:t>
            </a:r>
          </a:p>
        </p:txBody>
      </p:sp>
      <p:sp>
        <p:nvSpPr>
          <p:cNvPr id="51" name="Parallelogram 50"/>
          <p:cNvSpPr/>
          <p:nvPr/>
        </p:nvSpPr>
        <p:spPr>
          <a:xfrm>
            <a:off x="1694484" y="1817077"/>
            <a:ext cx="8756072" cy="3465156"/>
          </a:xfrm>
          <a:prstGeom prst="parallelogram">
            <a:avLst>
              <a:gd name="adj" fmla="val 80816"/>
            </a:avLst>
          </a:prstGeom>
          <a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22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Parallelogram 9"/>
          <p:cNvSpPr/>
          <p:nvPr/>
        </p:nvSpPr>
        <p:spPr>
          <a:xfrm>
            <a:off x="8287035" y="1820681"/>
            <a:ext cx="2152696" cy="942109"/>
          </a:xfrm>
          <a:custGeom>
            <a:avLst/>
            <a:gdLst>
              <a:gd name="connsiteX0" fmla="*/ 0 w 2147958"/>
              <a:gd name="connsiteY0" fmla="*/ 942109 h 942109"/>
              <a:gd name="connsiteX1" fmla="*/ 734289 w 2147958"/>
              <a:gd name="connsiteY1" fmla="*/ 0 h 942109"/>
              <a:gd name="connsiteX2" fmla="*/ 2147958 w 2147958"/>
              <a:gd name="connsiteY2" fmla="*/ 0 h 942109"/>
              <a:gd name="connsiteX3" fmla="*/ 1413669 w 2147958"/>
              <a:gd name="connsiteY3" fmla="*/ 942109 h 942109"/>
              <a:gd name="connsiteX4" fmla="*/ 0 w 2147958"/>
              <a:gd name="connsiteY4" fmla="*/ 942109 h 942109"/>
              <a:gd name="connsiteX0" fmla="*/ 0 w 2152696"/>
              <a:gd name="connsiteY0" fmla="*/ 942109 h 942109"/>
              <a:gd name="connsiteX1" fmla="*/ 734289 w 2152696"/>
              <a:gd name="connsiteY1" fmla="*/ 0 h 942109"/>
              <a:gd name="connsiteX2" fmla="*/ 2152696 w 2152696"/>
              <a:gd name="connsiteY2" fmla="*/ 0 h 942109"/>
              <a:gd name="connsiteX3" fmla="*/ 1413669 w 2152696"/>
              <a:gd name="connsiteY3" fmla="*/ 942109 h 942109"/>
              <a:gd name="connsiteX4" fmla="*/ 0 w 2152696"/>
              <a:gd name="connsiteY4" fmla="*/ 942109 h 942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2696" h="942109">
                <a:moveTo>
                  <a:pt x="0" y="942109"/>
                </a:moveTo>
                <a:lnTo>
                  <a:pt x="734289" y="0"/>
                </a:lnTo>
                <a:lnTo>
                  <a:pt x="2152696" y="0"/>
                </a:lnTo>
                <a:lnTo>
                  <a:pt x="1413669" y="942109"/>
                </a:lnTo>
                <a:lnTo>
                  <a:pt x="0" y="942109"/>
                </a:lnTo>
                <a:close/>
              </a:path>
            </a:pathLst>
          </a:custGeom>
          <a:solidFill>
            <a:srgbClr val="00C2F3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/>
        </p:nvSpPr>
        <p:spPr>
          <a:xfrm>
            <a:off x="8415684" y="2371628"/>
            <a:ext cx="1588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ts val="1800"/>
              </a:spcBef>
              <a:defRPr/>
            </a:pPr>
            <a:r>
              <a:rPr lang="en-US" sz="1400" kern="0" dirty="0">
                <a:solidFill>
                  <a:schemeClr val="bg1"/>
                </a:solidFill>
                <a:latin typeface="Raleway" panose="020B0003030101060003" pitchFamily="34" charset="0"/>
              </a:rPr>
              <a:t>On-demand</a:t>
            </a:r>
          </a:p>
        </p:txBody>
      </p:sp>
      <p:grpSp>
        <p:nvGrpSpPr>
          <p:cNvPr id="58" name="Group 4"/>
          <p:cNvGrpSpPr>
            <a:grpSpLocks noChangeAspect="1"/>
          </p:cNvGrpSpPr>
          <p:nvPr/>
        </p:nvGrpSpPr>
        <p:grpSpPr bwMode="auto">
          <a:xfrm>
            <a:off x="9171964" y="1914428"/>
            <a:ext cx="378100" cy="457200"/>
            <a:chOff x="2145" y="111"/>
            <a:chExt cx="3389" cy="4098"/>
          </a:xfrm>
          <a:solidFill>
            <a:schemeClr val="bg1"/>
          </a:solidFill>
        </p:grpSpPr>
        <p:sp>
          <p:nvSpPr>
            <p:cNvPr id="59" name="Freeform 6"/>
            <p:cNvSpPr>
              <a:spLocks noEditPoints="1"/>
            </p:cNvSpPr>
            <p:nvPr/>
          </p:nvSpPr>
          <p:spPr bwMode="auto">
            <a:xfrm>
              <a:off x="3083" y="3526"/>
              <a:ext cx="511" cy="512"/>
            </a:xfrm>
            <a:custGeom>
              <a:avLst/>
              <a:gdLst>
                <a:gd name="T0" fmla="*/ 233 w 511"/>
                <a:gd name="T1" fmla="*/ 174 h 512"/>
                <a:gd name="T2" fmla="*/ 196 w 511"/>
                <a:gd name="T3" fmla="*/ 196 h 512"/>
                <a:gd name="T4" fmla="*/ 174 w 511"/>
                <a:gd name="T5" fmla="*/ 233 h 512"/>
                <a:gd name="T6" fmla="*/ 174 w 511"/>
                <a:gd name="T7" fmla="*/ 278 h 512"/>
                <a:gd name="T8" fmla="*/ 196 w 511"/>
                <a:gd name="T9" fmla="*/ 317 h 512"/>
                <a:gd name="T10" fmla="*/ 233 w 511"/>
                <a:gd name="T11" fmla="*/ 339 h 512"/>
                <a:gd name="T12" fmla="*/ 278 w 511"/>
                <a:gd name="T13" fmla="*/ 339 h 512"/>
                <a:gd name="T14" fmla="*/ 316 w 511"/>
                <a:gd name="T15" fmla="*/ 317 h 512"/>
                <a:gd name="T16" fmla="*/ 338 w 511"/>
                <a:gd name="T17" fmla="*/ 278 h 512"/>
                <a:gd name="T18" fmla="*/ 338 w 511"/>
                <a:gd name="T19" fmla="*/ 233 h 512"/>
                <a:gd name="T20" fmla="*/ 316 w 511"/>
                <a:gd name="T21" fmla="*/ 196 h 512"/>
                <a:gd name="T22" fmla="*/ 278 w 511"/>
                <a:gd name="T23" fmla="*/ 174 h 512"/>
                <a:gd name="T24" fmla="*/ 256 w 511"/>
                <a:gd name="T25" fmla="*/ 0 h 512"/>
                <a:gd name="T26" fmla="*/ 336 w 511"/>
                <a:gd name="T27" fmla="*/ 12 h 512"/>
                <a:gd name="T28" fmla="*/ 407 w 511"/>
                <a:gd name="T29" fmla="*/ 50 h 512"/>
                <a:gd name="T30" fmla="*/ 463 w 511"/>
                <a:gd name="T31" fmla="*/ 104 h 512"/>
                <a:gd name="T32" fmla="*/ 499 w 511"/>
                <a:gd name="T33" fmla="*/ 175 h 512"/>
                <a:gd name="T34" fmla="*/ 511 w 511"/>
                <a:gd name="T35" fmla="*/ 256 h 512"/>
                <a:gd name="T36" fmla="*/ 499 w 511"/>
                <a:gd name="T37" fmla="*/ 337 h 512"/>
                <a:gd name="T38" fmla="*/ 463 w 511"/>
                <a:gd name="T39" fmla="*/ 407 h 512"/>
                <a:gd name="T40" fmla="*/ 407 w 511"/>
                <a:gd name="T41" fmla="*/ 463 h 512"/>
                <a:gd name="T42" fmla="*/ 336 w 511"/>
                <a:gd name="T43" fmla="*/ 499 h 512"/>
                <a:gd name="T44" fmla="*/ 256 w 511"/>
                <a:gd name="T45" fmla="*/ 512 h 512"/>
                <a:gd name="T46" fmla="*/ 175 w 511"/>
                <a:gd name="T47" fmla="*/ 499 h 512"/>
                <a:gd name="T48" fmla="*/ 104 w 511"/>
                <a:gd name="T49" fmla="*/ 463 h 512"/>
                <a:gd name="T50" fmla="*/ 50 w 511"/>
                <a:gd name="T51" fmla="*/ 407 h 512"/>
                <a:gd name="T52" fmla="*/ 12 w 511"/>
                <a:gd name="T53" fmla="*/ 337 h 512"/>
                <a:gd name="T54" fmla="*/ 0 w 511"/>
                <a:gd name="T55" fmla="*/ 256 h 512"/>
                <a:gd name="T56" fmla="*/ 12 w 511"/>
                <a:gd name="T57" fmla="*/ 175 h 512"/>
                <a:gd name="T58" fmla="*/ 50 w 511"/>
                <a:gd name="T59" fmla="*/ 104 h 512"/>
                <a:gd name="T60" fmla="*/ 104 w 511"/>
                <a:gd name="T61" fmla="*/ 50 h 512"/>
                <a:gd name="T62" fmla="*/ 175 w 511"/>
                <a:gd name="T63" fmla="*/ 12 h 512"/>
                <a:gd name="T64" fmla="*/ 256 w 511"/>
                <a:gd name="T65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11" h="512">
                  <a:moveTo>
                    <a:pt x="256" y="171"/>
                  </a:moveTo>
                  <a:lnTo>
                    <a:pt x="233" y="174"/>
                  </a:lnTo>
                  <a:lnTo>
                    <a:pt x="212" y="183"/>
                  </a:lnTo>
                  <a:lnTo>
                    <a:pt x="196" y="196"/>
                  </a:lnTo>
                  <a:lnTo>
                    <a:pt x="182" y="214"/>
                  </a:lnTo>
                  <a:lnTo>
                    <a:pt x="174" y="233"/>
                  </a:lnTo>
                  <a:lnTo>
                    <a:pt x="170" y="256"/>
                  </a:lnTo>
                  <a:lnTo>
                    <a:pt x="174" y="278"/>
                  </a:lnTo>
                  <a:lnTo>
                    <a:pt x="182" y="299"/>
                  </a:lnTo>
                  <a:lnTo>
                    <a:pt x="196" y="317"/>
                  </a:lnTo>
                  <a:lnTo>
                    <a:pt x="212" y="330"/>
                  </a:lnTo>
                  <a:lnTo>
                    <a:pt x="233" y="339"/>
                  </a:lnTo>
                  <a:lnTo>
                    <a:pt x="256" y="342"/>
                  </a:lnTo>
                  <a:lnTo>
                    <a:pt x="278" y="339"/>
                  </a:lnTo>
                  <a:lnTo>
                    <a:pt x="299" y="330"/>
                  </a:lnTo>
                  <a:lnTo>
                    <a:pt x="316" y="317"/>
                  </a:lnTo>
                  <a:lnTo>
                    <a:pt x="329" y="299"/>
                  </a:lnTo>
                  <a:lnTo>
                    <a:pt x="338" y="278"/>
                  </a:lnTo>
                  <a:lnTo>
                    <a:pt x="341" y="256"/>
                  </a:lnTo>
                  <a:lnTo>
                    <a:pt x="338" y="233"/>
                  </a:lnTo>
                  <a:lnTo>
                    <a:pt x="329" y="214"/>
                  </a:lnTo>
                  <a:lnTo>
                    <a:pt x="316" y="196"/>
                  </a:lnTo>
                  <a:lnTo>
                    <a:pt x="299" y="183"/>
                  </a:lnTo>
                  <a:lnTo>
                    <a:pt x="278" y="174"/>
                  </a:lnTo>
                  <a:lnTo>
                    <a:pt x="256" y="171"/>
                  </a:lnTo>
                  <a:close/>
                  <a:moveTo>
                    <a:pt x="256" y="0"/>
                  </a:moveTo>
                  <a:lnTo>
                    <a:pt x="298" y="4"/>
                  </a:lnTo>
                  <a:lnTo>
                    <a:pt x="336" y="12"/>
                  </a:lnTo>
                  <a:lnTo>
                    <a:pt x="374" y="29"/>
                  </a:lnTo>
                  <a:lnTo>
                    <a:pt x="407" y="50"/>
                  </a:lnTo>
                  <a:lnTo>
                    <a:pt x="437" y="75"/>
                  </a:lnTo>
                  <a:lnTo>
                    <a:pt x="463" y="104"/>
                  </a:lnTo>
                  <a:lnTo>
                    <a:pt x="483" y="138"/>
                  </a:lnTo>
                  <a:lnTo>
                    <a:pt x="499" y="175"/>
                  </a:lnTo>
                  <a:lnTo>
                    <a:pt x="509" y="215"/>
                  </a:lnTo>
                  <a:lnTo>
                    <a:pt x="511" y="256"/>
                  </a:lnTo>
                  <a:lnTo>
                    <a:pt x="509" y="298"/>
                  </a:lnTo>
                  <a:lnTo>
                    <a:pt x="499" y="337"/>
                  </a:lnTo>
                  <a:lnTo>
                    <a:pt x="483" y="374"/>
                  </a:lnTo>
                  <a:lnTo>
                    <a:pt x="463" y="407"/>
                  </a:lnTo>
                  <a:lnTo>
                    <a:pt x="437" y="437"/>
                  </a:lnTo>
                  <a:lnTo>
                    <a:pt x="407" y="463"/>
                  </a:lnTo>
                  <a:lnTo>
                    <a:pt x="374" y="483"/>
                  </a:lnTo>
                  <a:lnTo>
                    <a:pt x="336" y="499"/>
                  </a:lnTo>
                  <a:lnTo>
                    <a:pt x="298" y="509"/>
                  </a:lnTo>
                  <a:lnTo>
                    <a:pt x="256" y="512"/>
                  </a:lnTo>
                  <a:lnTo>
                    <a:pt x="215" y="509"/>
                  </a:lnTo>
                  <a:lnTo>
                    <a:pt x="175" y="499"/>
                  </a:lnTo>
                  <a:lnTo>
                    <a:pt x="138" y="483"/>
                  </a:lnTo>
                  <a:lnTo>
                    <a:pt x="104" y="463"/>
                  </a:lnTo>
                  <a:lnTo>
                    <a:pt x="75" y="437"/>
                  </a:lnTo>
                  <a:lnTo>
                    <a:pt x="50" y="407"/>
                  </a:lnTo>
                  <a:lnTo>
                    <a:pt x="29" y="374"/>
                  </a:lnTo>
                  <a:lnTo>
                    <a:pt x="12" y="337"/>
                  </a:lnTo>
                  <a:lnTo>
                    <a:pt x="4" y="298"/>
                  </a:lnTo>
                  <a:lnTo>
                    <a:pt x="0" y="256"/>
                  </a:lnTo>
                  <a:lnTo>
                    <a:pt x="4" y="215"/>
                  </a:lnTo>
                  <a:lnTo>
                    <a:pt x="12" y="175"/>
                  </a:lnTo>
                  <a:lnTo>
                    <a:pt x="29" y="138"/>
                  </a:lnTo>
                  <a:lnTo>
                    <a:pt x="50" y="104"/>
                  </a:lnTo>
                  <a:lnTo>
                    <a:pt x="75" y="75"/>
                  </a:lnTo>
                  <a:lnTo>
                    <a:pt x="104" y="50"/>
                  </a:lnTo>
                  <a:lnTo>
                    <a:pt x="138" y="29"/>
                  </a:lnTo>
                  <a:lnTo>
                    <a:pt x="175" y="12"/>
                  </a:lnTo>
                  <a:lnTo>
                    <a:pt x="215" y="4"/>
                  </a:lnTo>
                  <a:lnTo>
                    <a:pt x="2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60" name="Freeform 7"/>
            <p:cNvSpPr>
              <a:spLocks noEditPoints="1"/>
            </p:cNvSpPr>
            <p:nvPr/>
          </p:nvSpPr>
          <p:spPr bwMode="auto">
            <a:xfrm>
              <a:off x="2145" y="111"/>
              <a:ext cx="3389" cy="4098"/>
            </a:xfrm>
            <a:custGeom>
              <a:avLst/>
              <a:gdLst>
                <a:gd name="T0" fmla="*/ 246 w 3389"/>
                <a:gd name="T1" fmla="*/ 3898 h 4098"/>
                <a:gd name="T2" fmla="*/ 2227 w 3389"/>
                <a:gd name="T3" fmla="*/ 3898 h 4098"/>
                <a:gd name="T4" fmla="*/ 1977 w 3389"/>
                <a:gd name="T5" fmla="*/ 3742 h 4098"/>
                <a:gd name="T6" fmla="*/ 3024 w 3389"/>
                <a:gd name="T7" fmla="*/ 2712 h 4098"/>
                <a:gd name="T8" fmla="*/ 710 w 3389"/>
                <a:gd name="T9" fmla="*/ 2556 h 4098"/>
                <a:gd name="T10" fmla="*/ 511 w 3389"/>
                <a:gd name="T11" fmla="*/ 1452 h 4098"/>
                <a:gd name="T12" fmla="*/ 778 w 3389"/>
                <a:gd name="T13" fmla="*/ 724 h 4098"/>
                <a:gd name="T14" fmla="*/ 706 w 3389"/>
                <a:gd name="T15" fmla="*/ 847 h 4098"/>
                <a:gd name="T16" fmla="*/ 895 w 3389"/>
                <a:gd name="T17" fmla="*/ 2198 h 4098"/>
                <a:gd name="T18" fmla="*/ 785 w 3389"/>
                <a:gd name="T19" fmla="*/ 2346 h 4098"/>
                <a:gd name="T20" fmla="*/ 1880 w 3389"/>
                <a:gd name="T21" fmla="*/ 3037 h 4098"/>
                <a:gd name="T22" fmla="*/ 2744 w 3389"/>
                <a:gd name="T23" fmla="*/ 1823 h 4098"/>
                <a:gd name="T24" fmla="*/ 2585 w 3389"/>
                <a:gd name="T25" fmla="*/ 1319 h 4098"/>
                <a:gd name="T26" fmla="*/ 2507 w 3389"/>
                <a:gd name="T27" fmla="*/ 1142 h 4098"/>
                <a:gd name="T28" fmla="*/ 2432 w 3389"/>
                <a:gd name="T29" fmla="*/ 1068 h 4098"/>
                <a:gd name="T30" fmla="*/ 2294 w 3389"/>
                <a:gd name="T31" fmla="*/ 1145 h 4098"/>
                <a:gd name="T32" fmla="*/ 2330 w 3389"/>
                <a:gd name="T33" fmla="*/ 1339 h 4098"/>
                <a:gd name="T34" fmla="*/ 2266 w 3389"/>
                <a:gd name="T35" fmla="*/ 1458 h 4098"/>
                <a:gd name="T36" fmla="*/ 2174 w 3389"/>
                <a:gd name="T37" fmla="*/ 1407 h 4098"/>
                <a:gd name="T38" fmla="*/ 2001 w 3389"/>
                <a:gd name="T39" fmla="*/ 1159 h 4098"/>
                <a:gd name="T40" fmla="*/ 1856 w 3389"/>
                <a:gd name="T41" fmla="*/ 1236 h 4098"/>
                <a:gd name="T42" fmla="*/ 1937 w 3389"/>
                <a:gd name="T43" fmla="*/ 1515 h 4098"/>
                <a:gd name="T44" fmla="*/ 1871 w 3389"/>
                <a:gd name="T45" fmla="*/ 1634 h 4098"/>
                <a:gd name="T46" fmla="*/ 1781 w 3389"/>
                <a:gd name="T47" fmla="*/ 1583 h 4098"/>
                <a:gd name="T48" fmla="*/ 1527 w 3389"/>
                <a:gd name="T49" fmla="*/ 1203 h 4098"/>
                <a:gd name="T50" fmla="*/ 1406 w 3389"/>
                <a:gd name="T51" fmla="*/ 1267 h 4098"/>
                <a:gd name="T52" fmla="*/ 1534 w 3389"/>
                <a:gd name="T53" fmla="*/ 1694 h 4098"/>
                <a:gd name="T54" fmla="*/ 1510 w 3389"/>
                <a:gd name="T55" fmla="*/ 1796 h 4098"/>
                <a:gd name="T56" fmla="*/ 1379 w 3389"/>
                <a:gd name="T57" fmla="*/ 1766 h 4098"/>
                <a:gd name="T58" fmla="*/ 890 w 3389"/>
                <a:gd name="T59" fmla="*/ 728 h 4098"/>
                <a:gd name="T60" fmla="*/ 1855 w 3389"/>
                <a:gd name="T61" fmla="*/ 1013 h 4098"/>
                <a:gd name="T62" fmla="*/ 511 w 3389"/>
                <a:gd name="T63" fmla="*/ 1025 h 4098"/>
                <a:gd name="T64" fmla="*/ 558 w 3389"/>
                <a:gd name="T65" fmla="*/ 723 h 4098"/>
                <a:gd name="T66" fmla="*/ 788 w 3389"/>
                <a:gd name="T67" fmla="*/ 546 h 4098"/>
                <a:gd name="T68" fmla="*/ 1024 w 3389"/>
                <a:gd name="T69" fmla="*/ 512 h 4098"/>
                <a:gd name="T70" fmla="*/ 200 w 3389"/>
                <a:gd name="T71" fmla="*/ 246 h 4098"/>
                <a:gd name="T72" fmla="*/ 1712 w 3389"/>
                <a:gd name="T73" fmla="*/ 3112 h 4098"/>
                <a:gd name="T74" fmla="*/ 1282 w 3389"/>
                <a:gd name="T75" fmla="*/ 3010 h 4098"/>
                <a:gd name="T76" fmla="*/ 1169 w 3389"/>
                <a:gd name="T77" fmla="*/ 3049 h 4098"/>
                <a:gd name="T78" fmla="*/ 366 w 3389"/>
                <a:gd name="T79" fmla="*/ 3049 h 4098"/>
                <a:gd name="T80" fmla="*/ 366 w 3389"/>
                <a:gd name="T81" fmla="*/ 2245 h 4098"/>
                <a:gd name="T82" fmla="*/ 687 w 3389"/>
                <a:gd name="T83" fmla="*/ 2135 h 4098"/>
                <a:gd name="T84" fmla="*/ 341 w 3389"/>
                <a:gd name="T85" fmla="*/ 2049 h 4098"/>
                <a:gd name="T86" fmla="*/ 426 w 3389"/>
                <a:gd name="T87" fmla="*/ 1280 h 4098"/>
                <a:gd name="T88" fmla="*/ 352 w 3389"/>
                <a:gd name="T89" fmla="*/ 1152 h 4098"/>
                <a:gd name="T90" fmla="*/ 383 w 3389"/>
                <a:gd name="T91" fmla="*/ 353 h 4098"/>
                <a:gd name="T92" fmla="*/ 1183 w 3389"/>
                <a:gd name="T93" fmla="*/ 384 h 4098"/>
                <a:gd name="T94" fmla="*/ 1282 w 3389"/>
                <a:gd name="T95" fmla="*/ 404 h 4098"/>
                <a:gd name="T96" fmla="*/ 2070 w 3389"/>
                <a:gd name="T97" fmla="*/ 344 h 4098"/>
                <a:gd name="T98" fmla="*/ 2158 w 3389"/>
                <a:gd name="T99" fmla="*/ 1042 h 4098"/>
                <a:gd name="T100" fmla="*/ 2299 w 3389"/>
                <a:gd name="T101" fmla="*/ 307 h 4098"/>
                <a:gd name="T102" fmla="*/ 2132 w 3389"/>
                <a:gd name="T103" fmla="*/ 170 h 4098"/>
                <a:gd name="T104" fmla="*/ 2318 w 3389"/>
                <a:gd name="T105" fmla="*/ 55 h 4098"/>
                <a:gd name="T106" fmla="*/ 2473 w 3389"/>
                <a:gd name="T107" fmla="*/ 342 h 4098"/>
                <a:gd name="T108" fmla="*/ 2655 w 3389"/>
                <a:gd name="T109" fmla="*/ 1058 h 4098"/>
                <a:gd name="T110" fmla="*/ 2737 w 3389"/>
                <a:gd name="T111" fmla="*/ 1242 h 4098"/>
                <a:gd name="T112" fmla="*/ 2900 w 3389"/>
                <a:gd name="T113" fmla="*/ 1750 h 4098"/>
                <a:gd name="T114" fmla="*/ 3110 w 3389"/>
                <a:gd name="T115" fmla="*/ 2486 h 4098"/>
                <a:gd name="T116" fmla="*/ 2418 w 3389"/>
                <a:gd name="T117" fmla="*/ 3943 h 4098"/>
                <a:gd name="T118" fmla="*/ 2132 w 3389"/>
                <a:gd name="T119" fmla="*/ 4098 h 4098"/>
                <a:gd name="T120" fmla="*/ 83 w 3389"/>
                <a:gd name="T121" fmla="*/ 3980 h 4098"/>
                <a:gd name="T122" fmla="*/ 4 w 3389"/>
                <a:gd name="T123" fmla="*/ 291 h 4098"/>
                <a:gd name="T124" fmla="*/ 197 w 3389"/>
                <a:gd name="T125" fmla="*/ 32 h 4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89" h="4098">
                  <a:moveTo>
                    <a:pt x="170" y="3415"/>
                  </a:moveTo>
                  <a:lnTo>
                    <a:pt x="170" y="3757"/>
                  </a:lnTo>
                  <a:lnTo>
                    <a:pt x="174" y="3791"/>
                  </a:lnTo>
                  <a:lnTo>
                    <a:pt x="184" y="3822"/>
                  </a:lnTo>
                  <a:lnTo>
                    <a:pt x="200" y="3852"/>
                  </a:lnTo>
                  <a:lnTo>
                    <a:pt x="220" y="3877"/>
                  </a:lnTo>
                  <a:lnTo>
                    <a:pt x="246" y="3898"/>
                  </a:lnTo>
                  <a:lnTo>
                    <a:pt x="274" y="3914"/>
                  </a:lnTo>
                  <a:lnTo>
                    <a:pt x="306" y="3924"/>
                  </a:lnTo>
                  <a:lnTo>
                    <a:pt x="341" y="3927"/>
                  </a:lnTo>
                  <a:lnTo>
                    <a:pt x="2132" y="3927"/>
                  </a:lnTo>
                  <a:lnTo>
                    <a:pt x="2167" y="3924"/>
                  </a:lnTo>
                  <a:lnTo>
                    <a:pt x="2199" y="3914"/>
                  </a:lnTo>
                  <a:lnTo>
                    <a:pt x="2227" y="3898"/>
                  </a:lnTo>
                  <a:lnTo>
                    <a:pt x="2253" y="3877"/>
                  </a:lnTo>
                  <a:lnTo>
                    <a:pt x="2273" y="3852"/>
                  </a:lnTo>
                  <a:lnTo>
                    <a:pt x="2289" y="3822"/>
                  </a:lnTo>
                  <a:lnTo>
                    <a:pt x="2299" y="3791"/>
                  </a:lnTo>
                  <a:lnTo>
                    <a:pt x="2303" y="3757"/>
                  </a:lnTo>
                  <a:lnTo>
                    <a:pt x="2303" y="3596"/>
                  </a:lnTo>
                  <a:lnTo>
                    <a:pt x="1977" y="3742"/>
                  </a:lnTo>
                  <a:lnTo>
                    <a:pt x="1830" y="3415"/>
                  </a:lnTo>
                  <a:lnTo>
                    <a:pt x="170" y="3415"/>
                  </a:lnTo>
                  <a:close/>
                  <a:moveTo>
                    <a:pt x="3024" y="2712"/>
                  </a:moveTo>
                  <a:lnTo>
                    <a:pt x="1923" y="3204"/>
                  </a:lnTo>
                  <a:lnTo>
                    <a:pt x="2062" y="3517"/>
                  </a:lnTo>
                  <a:lnTo>
                    <a:pt x="3163" y="3024"/>
                  </a:lnTo>
                  <a:lnTo>
                    <a:pt x="3024" y="2712"/>
                  </a:lnTo>
                  <a:close/>
                  <a:moveTo>
                    <a:pt x="511" y="2391"/>
                  </a:moveTo>
                  <a:lnTo>
                    <a:pt x="511" y="2902"/>
                  </a:lnTo>
                  <a:lnTo>
                    <a:pt x="1024" y="2902"/>
                  </a:lnTo>
                  <a:lnTo>
                    <a:pt x="1024" y="2738"/>
                  </a:lnTo>
                  <a:lnTo>
                    <a:pt x="774" y="2603"/>
                  </a:lnTo>
                  <a:lnTo>
                    <a:pt x="741" y="2582"/>
                  </a:lnTo>
                  <a:lnTo>
                    <a:pt x="710" y="2556"/>
                  </a:lnTo>
                  <a:lnTo>
                    <a:pt x="682" y="2527"/>
                  </a:lnTo>
                  <a:lnTo>
                    <a:pt x="659" y="2494"/>
                  </a:lnTo>
                  <a:lnTo>
                    <a:pt x="640" y="2459"/>
                  </a:lnTo>
                  <a:lnTo>
                    <a:pt x="627" y="2420"/>
                  </a:lnTo>
                  <a:lnTo>
                    <a:pt x="619" y="2391"/>
                  </a:lnTo>
                  <a:lnTo>
                    <a:pt x="511" y="2391"/>
                  </a:lnTo>
                  <a:close/>
                  <a:moveTo>
                    <a:pt x="511" y="1452"/>
                  </a:moveTo>
                  <a:lnTo>
                    <a:pt x="511" y="1963"/>
                  </a:lnTo>
                  <a:lnTo>
                    <a:pt x="1015" y="1963"/>
                  </a:lnTo>
                  <a:lnTo>
                    <a:pt x="785" y="1452"/>
                  </a:lnTo>
                  <a:lnTo>
                    <a:pt x="511" y="1452"/>
                  </a:lnTo>
                  <a:close/>
                  <a:moveTo>
                    <a:pt x="830" y="714"/>
                  </a:moveTo>
                  <a:lnTo>
                    <a:pt x="803" y="717"/>
                  </a:lnTo>
                  <a:lnTo>
                    <a:pt x="778" y="724"/>
                  </a:lnTo>
                  <a:lnTo>
                    <a:pt x="758" y="735"/>
                  </a:lnTo>
                  <a:lnTo>
                    <a:pt x="741" y="751"/>
                  </a:lnTo>
                  <a:lnTo>
                    <a:pt x="726" y="769"/>
                  </a:lnTo>
                  <a:lnTo>
                    <a:pt x="715" y="790"/>
                  </a:lnTo>
                  <a:lnTo>
                    <a:pt x="710" y="805"/>
                  </a:lnTo>
                  <a:lnTo>
                    <a:pt x="706" y="825"/>
                  </a:lnTo>
                  <a:lnTo>
                    <a:pt x="706" y="847"/>
                  </a:lnTo>
                  <a:lnTo>
                    <a:pt x="713" y="871"/>
                  </a:lnTo>
                  <a:lnTo>
                    <a:pt x="1416" y="2443"/>
                  </a:lnTo>
                  <a:lnTo>
                    <a:pt x="990" y="2212"/>
                  </a:lnTo>
                  <a:lnTo>
                    <a:pt x="969" y="2203"/>
                  </a:lnTo>
                  <a:lnTo>
                    <a:pt x="947" y="2197"/>
                  </a:lnTo>
                  <a:lnTo>
                    <a:pt x="924" y="2196"/>
                  </a:lnTo>
                  <a:lnTo>
                    <a:pt x="895" y="2198"/>
                  </a:lnTo>
                  <a:lnTo>
                    <a:pt x="866" y="2208"/>
                  </a:lnTo>
                  <a:lnTo>
                    <a:pt x="841" y="2223"/>
                  </a:lnTo>
                  <a:lnTo>
                    <a:pt x="819" y="2243"/>
                  </a:lnTo>
                  <a:lnTo>
                    <a:pt x="802" y="2268"/>
                  </a:lnTo>
                  <a:lnTo>
                    <a:pt x="790" y="2292"/>
                  </a:lnTo>
                  <a:lnTo>
                    <a:pt x="785" y="2318"/>
                  </a:lnTo>
                  <a:lnTo>
                    <a:pt x="785" y="2346"/>
                  </a:lnTo>
                  <a:lnTo>
                    <a:pt x="790" y="2372"/>
                  </a:lnTo>
                  <a:lnTo>
                    <a:pt x="800" y="2397"/>
                  </a:lnTo>
                  <a:lnTo>
                    <a:pt x="815" y="2419"/>
                  </a:lnTo>
                  <a:lnTo>
                    <a:pt x="834" y="2438"/>
                  </a:lnTo>
                  <a:lnTo>
                    <a:pt x="856" y="2453"/>
                  </a:lnTo>
                  <a:lnTo>
                    <a:pt x="1828" y="2980"/>
                  </a:lnTo>
                  <a:lnTo>
                    <a:pt x="1880" y="3037"/>
                  </a:lnTo>
                  <a:lnTo>
                    <a:pt x="2911" y="2576"/>
                  </a:lnTo>
                  <a:lnTo>
                    <a:pt x="2882" y="2428"/>
                  </a:lnTo>
                  <a:lnTo>
                    <a:pt x="2854" y="2289"/>
                  </a:lnTo>
                  <a:lnTo>
                    <a:pt x="2825" y="2160"/>
                  </a:lnTo>
                  <a:lnTo>
                    <a:pt x="2798" y="2039"/>
                  </a:lnTo>
                  <a:lnTo>
                    <a:pt x="2771" y="1927"/>
                  </a:lnTo>
                  <a:lnTo>
                    <a:pt x="2744" y="1823"/>
                  </a:lnTo>
                  <a:lnTo>
                    <a:pt x="2717" y="1729"/>
                  </a:lnTo>
                  <a:lnTo>
                    <a:pt x="2693" y="1642"/>
                  </a:lnTo>
                  <a:lnTo>
                    <a:pt x="2668" y="1562"/>
                  </a:lnTo>
                  <a:lnTo>
                    <a:pt x="2645" y="1490"/>
                  </a:lnTo>
                  <a:lnTo>
                    <a:pt x="2623" y="1427"/>
                  </a:lnTo>
                  <a:lnTo>
                    <a:pt x="2603" y="1370"/>
                  </a:lnTo>
                  <a:lnTo>
                    <a:pt x="2585" y="1319"/>
                  </a:lnTo>
                  <a:lnTo>
                    <a:pt x="2567" y="1275"/>
                  </a:lnTo>
                  <a:lnTo>
                    <a:pt x="2551" y="1238"/>
                  </a:lnTo>
                  <a:lnTo>
                    <a:pt x="2539" y="1208"/>
                  </a:lnTo>
                  <a:lnTo>
                    <a:pt x="2528" y="1183"/>
                  </a:lnTo>
                  <a:lnTo>
                    <a:pt x="2518" y="1164"/>
                  </a:lnTo>
                  <a:lnTo>
                    <a:pt x="2511" y="1150"/>
                  </a:lnTo>
                  <a:lnTo>
                    <a:pt x="2507" y="1142"/>
                  </a:lnTo>
                  <a:lnTo>
                    <a:pt x="2505" y="1140"/>
                  </a:lnTo>
                  <a:lnTo>
                    <a:pt x="2503" y="1136"/>
                  </a:lnTo>
                  <a:lnTo>
                    <a:pt x="2502" y="1131"/>
                  </a:lnTo>
                  <a:lnTo>
                    <a:pt x="2488" y="1109"/>
                  </a:lnTo>
                  <a:lnTo>
                    <a:pt x="2472" y="1090"/>
                  </a:lnTo>
                  <a:lnTo>
                    <a:pt x="2453" y="1077"/>
                  </a:lnTo>
                  <a:lnTo>
                    <a:pt x="2432" y="1068"/>
                  </a:lnTo>
                  <a:lnTo>
                    <a:pt x="2408" y="1065"/>
                  </a:lnTo>
                  <a:lnTo>
                    <a:pt x="2389" y="1067"/>
                  </a:lnTo>
                  <a:lnTo>
                    <a:pt x="2369" y="1074"/>
                  </a:lnTo>
                  <a:lnTo>
                    <a:pt x="2346" y="1087"/>
                  </a:lnTo>
                  <a:lnTo>
                    <a:pt x="2327" y="1104"/>
                  </a:lnTo>
                  <a:lnTo>
                    <a:pt x="2308" y="1123"/>
                  </a:lnTo>
                  <a:lnTo>
                    <a:pt x="2294" y="1145"/>
                  </a:lnTo>
                  <a:lnTo>
                    <a:pt x="2283" y="1167"/>
                  </a:lnTo>
                  <a:lnTo>
                    <a:pt x="2278" y="1190"/>
                  </a:lnTo>
                  <a:lnTo>
                    <a:pt x="2277" y="1211"/>
                  </a:lnTo>
                  <a:lnTo>
                    <a:pt x="2282" y="1231"/>
                  </a:lnTo>
                  <a:lnTo>
                    <a:pt x="2329" y="1337"/>
                  </a:lnTo>
                  <a:lnTo>
                    <a:pt x="2329" y="1337"/>
                  </a:lnTo>
                  <a:lnTo>
                    <a:pt x="2330" y="1339"/>
                  </a:lnTo>
                  <a:lnTo>
                    <a:pt x="2337" y="1361"/>
                  </a:lnTo>
                  <a:lnTo>
                    <a:pt x="2338" y="1383"/>
                  </a:lnTo>
                  <a:lnTo>
                    <a:pt x="2332" y="1404"/>
                  </a:lnTo>
                  <a:lnTo>
                    <a:pt x="2322" y="1423"/>
                  </a:lnTo>
                  <a:lnTo>
                    <a:pt x="2307" y="1439"/>
                  </a:lnTo>
                  <a:lnTo>
                    <a:pt x="2287" y="1452"/>
                  </a:lnTo>
                  <a:lnTo>
                    <a:pt x="2266" y="1458"/>
                  </a:lnTo>
                  <a:lnTo>
                    <a:pt x="2243" y="1459"/>
                  </a:lnTo>
                  <a:lnTo>
                    <a:pt x="2222" y="1454"/>
                  </a:lnTo>
                  <a:lnTo>
                    <a:pt x="2203" y="1443"/>
                  </a:lnTo>
                  <a:lnTo>
                    <a:pt x="2186" y="1428"/>
                  </a:lnTo>
                  <a:lnTo>
                    <a:pt x="2175" y="1408"/>
                  </a:lnTo>
                  <a:lnTo>
                    <a:pt x="2174" y="1407"/>
                  </a:lnTo>
                  <a:lnTo>
                    <a:pt x="2174" y="1407"/>
                  </a:lnTo>
                  <a:lnTo>
                    <a:pt x="2126" y="1300"/>
                  </a:lnTo>
                  <a:lnTo>
                    <a:pt x="2087" y="1213"/>
                  </a:lnTo>
                  <a:lnTo>
                    <a:pt x="2076" y="1196"/>
                  </a:lnTo>
                  <a:lnTo>
                    <a:pt x="2061" y="1182"/>
                  </a:lnTo>
                  <a:lnTo>
                    <a:pt x="2042" y="1171"/>
                  </a:lnTo>
                  <a:lnTo>
                    <a:pt x="2023" y="1164"/>
                  </a:lnTo>
                  <a:lnTo>
                    <a:pt x="2001" y="1159"/>
                  </a:lnTo>
                  <a:lnTo>
                    <a:pt x="1980" y="1157"/>
                  </a:lnTo>
                  <a:lnTo>
                    <a:pt x="1952" y="1161"/>
                  </a:lnTo>
                  <a:lnTo>
                    <a:pt x="1925" y="1169"/>
                  </a:lnTo>
                  <a:lnTo>
                    <a:pt x="1903" y="1181"/>
                  </a:lnTo>
                  <a:lnTo>
                    <a:pt x="1885" y="1197"/>
                  </a:lnTo>
                  <a:lnTo>
                    <a:pt x="1869" y="1216"/>
                  </a:lnTo>
                  <a:lnTo>
                    <a:pt x="1856" y="1236"/>
                  </a:lnTo>
                  <a:lnTo>
                    <a:pt x="1848" y="1258"/>
                  </a:lnTo>
                  <a:lnTo>
                    <a:pt x="1844" y="1279"/>
                  </a:lnTo>
                  <a:lnTo>
                    <a:pt x="1844" y="1300"/>
                  </a:lnTo>
                  <a:lnTo>
                    <a:pt x="1849" y="1320"/>
                  </a:lnTo>
                  <a:lnTo>
                    <a:pt x="1936" y="1514"/>
                  </a:lnTo>
                  <a:lnTo>
                    <a:pt x="1936" y="1514"/>
                  </a:lnTo>
                  <a:lnTo>
                    <a:pt x="1937" y="1515"/>
                  </a:lnTo>
                  <a:lnTo>
                    <a:pt x="1943" y="1537"/>
                  </a:lnTo>
                  <a:lnTo>
                    <a:pt x="1943" y="1560"/>
                  </a:lnTo>
                  <a:lnTo>
                    <a:pt x="1938" y="1581"/>
                  </a:lnTo>
                  <a:lnTo>
                    <a:pt x="1928" y="1599"/>
                  </a:lnTo>
                  <a:lnTo>
                    <a:pt x="1913" y="1616"/>
                  </a:lnTo>
                  <a:lnTo>
                    <a:pt x="1894" y="1628"/>
                  </a:lnTo>
                  <a:lnTo>
                    <a:pt x="1871" y="1634"/>
                  </a:lnTo>
                  <a:lnTo>
                    <a:pt x="1850" y="1635"/>
                  </a:lnTo>
                  <a:lnTo>
                    <a:pt x="1829" y="1629"/>
                  </a:lnTo>
                  <a:lnTo>
                    <a:pt x="1809" y="1619"/>
                  </a:lnTo>
                  <a:lnTo>
                    <a:pt x="1793" y="1604"/>
                  </a:lnTo>
                  <a:lnTo>
                    <a:pt x="1781" y="1585"/>
                  </a:lnTo>
                  <a:lnTo>
                    <a:pt x="1781" y="1583"/>
                  </a:lnTo>
                  <a:lnTo>
                    <a:pt x="1781" y="1583"/>
                  </a:lnTo>
                  <a:lnTo>
                    <a:pt x="1635" y="1259"/>
                  </a:lnTo>
                  <a:lnTo>
                    <a:pt x="1624" y="1242"/>
                  </a:lnTo>
                  <a:lnTo>
                    <a:pt x="1609" y="1227"/>
                  </a:lnTo>
                  <a:lnTo>
                    <a:pt x="1591" y="1217"/>
                  </a:lnTo>
                  <a:lnTo>
                    <a:pt x="1570" y="1210"/>
                  </a:lnTo>
                  <a:lnTo>
                    <a:pt x="1549" y="1205"/>
                  </a:lnTo>
                  <a:lnTo>
                    <a:pt x="1527" y="1203"/>
                  </a:lnTo>
                  <a:lnTo>
                    <a:pt x="1499" y="1206"/>
                  </a:lnTo>
                  <a:lnTo>
                    <a:pt x="1474" y="1213"/>
                  </a:lnTo>
                  <a:lnTo>
                    <a:pt x="1469" y="1216"/>
                  </a:lnTo>
                  <a:lnTo>
                    <a:pt x="1462" y="1218"/>
                  </a:lnTo>
                  <a:lnTo>
                    <a:pt x="1441" y="1231"/>
                  </a:lnTo>
                  <a:lnTo>
                    <a:pt x="1422" y="1247"/>
                  </a:lnTo>
                  <a:lnTo>
                    <a:pt x="1406" y="1267"/>
                  </a:lnTo>
                  <a:lnTo>
                    <a:pt x="1393" y="1288"/>
                  </a:lnTo>
                  <a:lnTo>
                    <a:pt x="1389" y="1300"/>
                  </a:lnTo>
                  <a:lnTo>
                    <a:pt x="1384" y="1315"/>
                  </a:lnTo>
                  <a:lnTo>
                    <a:pt x="1381" y="1332"/>
                  </a:lnTo>
                  <a:lnTo>
                    <a:pt x="1382" y="1350"/>
                  </a:lnTo>
                  <a:lnTo>
                    <a:pt x="1387" y="1368"/>
                  </a:lnTo>
                  <a:lnTo>
                    <a:pt x="1534" y="1694"/>
                  </a:lnTo>
                  <a:lnTo>
                    <a:pt x="1532" y="1694"/>
                  </a:lnTo>
                  <a:lnTo>
                    <a:pt x="1534" y="1695"/>
                  </a:lnTo>
                  <a:lnTo>
                    <a:pt x="1540" y="1717"/>
                  </a:lnTo>
                  <a:lnTo>
                    <a:pt x="1541" y="1740"/>
                  </a:lnTo>
                  <a:lnTo>
                    <a:pt x="1536" y="1761"/>
                  </a:lnTo>
                  <a:lnTo>
                    <a:pt x="1525" y="1780"/>
                  </a:lnTo>
                  <a:lnTo>
                    <a:pt x="1510" y="1796"/>
                  </a:lnTo>
                  <a:lnTo>
                    <a:pt x="1490" y="1808"/>
                  </a:lnTo>
                  <a:lnTo>
                    <a:pt x="1469" y="1814"/>
                  </a:lnTo>
                  <a:lnTo>
                    <a:pt x="1447" y="1816"/>
                  </a:lnTo>
                  <a:lnTo>
                    <a:pt x="1426" y="1811"/>
                  </a:lnTo>
                  <a:lnTo>
                    <a:pt x="1406" y="1799"/>
                  </a:lnTo>
                  <a:lnTo>
                    <a:pt x="1390" y="1784"/>
                  </a:lnTo>
                  <a:lnTo>
                    <a:pt x="1379" y="1766"/>
                  </a:lnTo>
                  <a:lnTo>
                    <a:pt x="1377" y="1763"/>
                  </a:lnTo>
                  <a:lnTo>
                    <a:pt x="1377" y="1763"/>
                  </a:lnTo>
                  <a:lnTo>
                    <a:pt x="1233" y="1443"/>
                  </a:lnTo>
                  <a:lnTo>
                    <a:pt x="934" y="772"/>
                  </a:lnTo>
                  <a:lnTo>
                    <a:pt x="923" y="754"/>
                  </a:lnTo>
                  <a:lnTo>
                    <a:pt x="907" y="739"/>
                  </a:lnTo>
                  <a:lnTo>
                    <a:pt x="890" y="728"/>
                  </a:lnTo>
                  <a:lnTo>
                    <a:pt x="870" y="720"/>
                  </a:lnTo>
                  <a:lnTo>
                    <a:pt x="850" y="715"/>
                  </a:lnTo>
                  <a:lnTo>
                    <a:pt x="830" y="714"/>
                  </a:lnTo>
                  <a:close/>
                  <a:moveTo>
                    <a:pt x="1449" y="512"/>
                  </a:moveTo>
                  <a:lnTo>
                    <a:pt x="1449" y="1025"/>
                  </a:lnTo>
                  <a:lnTo>
                    <a:pt x="1833" y="1025"/>
                  </a:lnTo>
                  <a:lnTo>
                    <a:pt x="1855" y="1013"/>
                  </a:lnTo>
                  <a:lnTo>
                    <a:pt x="1889" y="1001"/>
                  </a:lnTo>
                  <a:lnTo>
                    <a:pt x="1925" y="992"/>
                  </a:lnTo>
                  <a:lnTo>
                    <a:pt x="1962" y="987"/>
                  </a:lnTo>
                  <a:lnTo>
                    <a:pt x="1962" y="512"/>
                  </a:lnTo>
                  <a:lnTo>
                    <a:pt x="1449" y="512"/>
                  </a:lnTo>
                  <a:close/>
                  <a:moveTo>
                    <a:pt x="511" y="512"/>
                  </a:moveTo>
                  <a:lnTo>
                    <a:pt x="511" y="1025"/>
                  </a:lnTo>
                  <a:lnTo>
                    <a:pt x="594" y="1025"/>
                  </a:lnTo>
                  <a:lnTo>
                    <a:pt x="557" y="940"/>
                  </a:lnTo>
                  <a:lnTo>
                    <a:pt x="542" y="899"/>
                  </a:lnTo>
                  <a:lnTo>
                    <a:pt x="536" y="856"/>
                  </a:lnTo>
                  <a:lnTo>
                    <a:pt x="536" y="811"/>
                  </a:lnTo>
                  <a:lnTo>
                    <a:pt x="543" y="766"/>
                  </a:lnTo>
                  <a:lnTo>
                    <a:pt x="558" y="723"/>
                  </a:lnTo>
                  <a:lnTo>
                    <a:pt x="578" y="683"/>
                  </a:lnTo>
                  <a:lnTo>
                    <a:pt x="604" y="647"/>
                  </a:lnTo>
                  <a:lnTo>
                    <a:pt x="635" y="616"/>
                  </a:lnTo>
                  <a:lnTo>
                    <a:pt x="670" y="590"/>
                  </a:lnTo>
                  <a:lnTo>
                    <a:pt x="709" y="569"/>
                  </a:lnTo>
                  <a:lnTo>
                    <a:pt x="747" y="554"/>
                  </a:lnTo>
                  <a:lnTo>
                    <a:pt x="788" y="546"/>
                  </a:lnTo>
                  <a:lnTo>
                    <a:pt x="830" y="543"/>
                  </a:lnTo>
                  <a:lnTo>
                    <a:pt x="874" y="546"/>
                  </a:lnTo>
                  <a:lnTo>
                    <a:pt x="916" y="555"/>
                  </a:lnTo>
                  <a:lnTo>
                    <a:pt x="954" y="569"/>
                  </a:lnTo>
                  <a:lnTo>
                    <a:pt x="990" y="589"/>
                  </a:lnTo>
                  <a:lnTo>
                    <a:pt x="1024" y="613"/>
                  </a:lnTo>
                  <a:lnTo>
                    <a:pt x="1024" y="512"/>
                  </a:lnTo>
                  <a:lnTo>
                    <a:pt x="511" y="512"/>
                  </a:lnTo>
                  <a:close/>
                  <a:moveTo>
                    <a:pt x="341" y="170"/>
                  </a:moveTo>
                  <a:lnTo>
                    <a:pt x="306" y="174"/>
                  </a:lnTo>
                  <a:lnTo>
                    <a:pt x="274" y="184"/>
                  </a:lnTo>
                  <a:lnTo>
                    <a:pt x="246" y="200"/>
                  </a:lnTo>
                  <a:lnTo>
                    <a:pt x="220" y="221"/>
                  </a:lnTo>
                  <a:lnTo>
                    <a:pt x="200" y="246"/>
                  </a:lnTo>
                  <a:lnTo>
                    <a:pt x="184" y="276"/>
                  </a:lnTo>
                  <a:lnTo>
                    <a:pt x="174" y="307"/>
                  </a:lnTo>
                  <a:lnTo>
                    <a:pt x="170" y="342"/>
                  </a:lnTo>
                  <a:lnTo>
                    <a:pt x="170" y="3244"/>
                  </a:lnTo>
                  <a:lnTo>
                    <a:pt x="1755" y="3244"/>
                  </a:lnTo>
                  <a:lnTo>
                    <a:pt x="1699" y="3118"/>
                  </a:lnTo>
                  <a:lnTo>
                    <a:pt x="1712" y="3112"/>
                  </a:lnTo>
                  <a:lnTo>
                    <a:pt x="1642" y="3074"/>
                  </a:lnTo>
                  <a:lnTo>
                    <a:pt x="1365" y="3074"/>
                  </a:lnTo>
                  <a:lnTo>
                    <a:pt x="1341" y="3071"/>
                  </a:lnTo>
                  <a:lnTo>
                    <a:pt x="1322" y="3062"/>
                  </a:lnTo>
                  <a:lnTo>
                    <a:pt x="1304" y="3049"/>
                  </a:lnTo>
                  <a:lnTo>
                    <a:pt x="1290" y="3031"/>
                  </a:lnTo>
                  <a:lnTo>
                    <a:pt x="1282" y="3010"/>
                  </a:lnTo>
                  <a:lnTo>
                    <a:pt x="1279" y="2988"/>
                  </a:lnTo>
                  <a:lnTo>
                    <a:pt x="1279" y="2876"/>
                  </a:lnTo>
                  <a:lnTo>
                    <a:pt x="1194" y="2830"/>
                  </a:lnTo>
                  <a:lnTo>
                    <a:pt x="1194" y="2988"/>
                  </a:lnTo>
                  <a:lnTo>
                    <a:pt x="1191" y="3010"/>
                  </a:lnTo>
                  <a:lnTo>
                    <a:pt x="1183" y="3031"/>
                  </a:lnTo>
                  <a:lnTo>
                    <a:pt x="1169" y="3049"/>
                  </a:lnTo>
                  <a:lnTo>
                    <a:pt x="1152" y="3062"/>
                  </a:lnTo>
                  <a:lnTo>
                    <a:pt x="1132" y="3071"/>
                  </a:lnTo>
                  <a:lnTo>
                    <a:pt x="1108" y="3074"/>
                  </a:lnTo>
                  <a:lnTo>
                    <a:pt x="426" y="3074"/>
                  </a:lnTo>
                  <a:lnTo>
                    <a:pt x="403" y="3071"/>
                  </a:lnTo>
                  <a:lnTo>
                    <a:pt x="383" y="3062"/>
                  </a:lnTo>
                  <a:lnTo>
                    <a:pt x="366" y="3049"/>
                  </a:lnTo>
                  <a:lnTo>
                    <a:pt x="352" y="3031"/>
                  </a:lnTo>
                  <a:lnTo>
                    <a:pt x="344" y="3010"/>
                  </a:lnTo>
                  <a:lnTo>
                    <a:pt x="341" y="2988"/>
                  </a:lnTo>
                  <a:lnTo>
                    <a:pt x="341" y="2305"/>
                  </a:lnTo>
                  <a:lnTo>
                    <a:pt x="344" y="2282"/>
                  </a:lnTo>
                  <a:lnTo>
                    <a:pt x="352" y="2263"/>
                  </a:lnTo>
                  <a:lnTo>
                    <a:pt x="366" y="2245"/>
                  </a:lnTo>
                  <a:lnTo>
                    <a:pt x="383" y="2232"/>
                  </a:lnTo>
                  <a:lnTo>
                    <a:pt x="403" y="2223"/>
                  </a:lnTo>
                  <a:lnTo>
                    <a:pt x="426" y="2219"/>
                  </a:lnTo>
                  <a:lnTo>
                    <a:pt x="637" y="2219"/>
                  </a:lnTo>
                  <a:lnTo>
                    <a:pt x="653" y="2186"/>
                  </a:lnTo>
                  <a:lnTo>
                    <a:pt x="669" y="2158"/>
                  </a:lnTo>
                  <a:lnTo>
                    <a:pt x="687" y="2135"/>
                  </a:lnTo>
                  <a:lnTo>
                    <a:pt x="426" y="2135"/>
                  </a:lnTo>
                  <a:lnTo>
                    <a:pt x="403" y="2131"/>
                  </a:lnTo>
                  <a:lnTo>
                    <a:pt x="383" y="2122"/>
                  </a:lnTo>
                  <a:lnTo>
                    <a:pt x="366" y="2110"/>
                  </a:lnTo>
                  <a:lnTo>
                    <a:pt x="352" y="2092"/>
                  </a:lnTo>
                  <a:lnTo>
                    <a:pt x="344" y="2071"/>
                  </a:lnTo>
                  <a:lnTo>
                    <a:pt x="341" y="2049"/>
                  </a:lnTo>
                  <a:lnTo>
                    <a:pt x="341" y="1366"/>
                  </a:lnTo>
                  <a:lnTo>
                    <a:pt x="344" y="1344"/>
                  </a:lnTo>
                  <a:lnTo>
                    <a:pt x="352" y="1323"/>
                  </a:lnTo>
                  <a:lnTo>
                    <a:pt x="366" y="1305"/>
                  </a:lnTo>
                  <a:lnTo>
                    <a:pt x="383" y="1293"/>
                  </a:lnTo>
                  <a:lnTo>
                    <a:pt x="403" y="1284"/>
                  </a:lnTo>
                  <a:lnTo>
                    <a:pt x="426" y="1280"/>
                  </a:lnTo>
                  <a:lnTo>
                    <a:pt x="710" y="1280"/>
                  </a:lnTo>
                  <a:lnTo>
                    <a:pt x="671" y="1195"/>
                  </a:lnTo>
                  <a:lnTo>
                    <a:pt x="426" y="1195"/>
                  </a:lnTo>
                  <a:lnTo>
                    <a:pt x="403" y="1192"/>
                  </a:lnTo>
                  <a:lnTo>
                    <a:pt x="383" y="1183"/>
                  </a:lnTo>
                  <a:lnTo>
                    <a:pt x="366" y="1170"/>
                  </a:lnTo>
                  <a:lnTo>
                    <a:pt x="352" y="1152"/>
                  </a:lnTo>
                  <a:lnTo>
                    <a:pt x="344" y="1133"/>
                  </a:lnTo>
                  <a:lnTo>
                    <a:pt x="341" y="1110"/>
                  </a:lnTo>
                  <a:lnTo>
                    <a:pt x="341" y="427"/>
                  </a:lnTo>
                  <a:lnTo>
                    <a:pt x="344" y="404"/>
                  </a:lnTo>
                  <a:lnTo>
                    <a:pt x="352" y="384"/>
                  </a:lnTo>
                  <a:lnTo>
                    <a:pt x="366" y="366"/>
                  </a:lnTo>
                  <a:lnTo>
                    <a:pt x="383" y="353"/>
                  </a:lnTo>
                  <a:lnTo>
                    <a:pt x="403" y="344"/>
                  </a:lnTo>
                  <a:lnTo>
                    <a:pt x="426" y="342"/>
                  </a:lnTo>
                  <a:lnTo>
                    <a:pt x="1108" y="342"/>
                  </a:lnTo>
                  <a:lnTo>
                    <a:pt x="1132" y="344"/>
                  </a:lnTo>
                  <a:lnTo>
                    <a:pt x="1152" y="353"/>
                  </a:lnTo>
                  <a:lnTo>
                    <a:pt x="1169" y="366"/>
                  </a:lnTo>
                  <a:lnTo>
                    <a:pt x="1183" y="384"/>
                  </a:lnTo>
                  <a:lnTo>
                    <a:pt x="1191" y="404"/>
                  </a:lnTo>
                  <a:lnTo>
                    <a:pt x="1194" y="427"/>
                  </a:lnTo>
                  <a:lnTo>
                    <a:pt x="1194" y="935"/>
                  </a:lnTo>
                  <a:lnTo>
                    <a:pt x="1283" y="1134"/>
                  </a:lnTo>
                  <a:lnTo>
                    <a:pt x="1279" y="1110"/>
                  </a:lnTo>
                  <a:lnTo>
                    <a:pt x="1279" y="427"/>
                  </a:lnTo>
                  <a:lnTo>
                    <a:pt x="1282" y="404"/>
                  </a:lnTo>
                  <a:lnTo>
                    <a:pt x="1290" y="384"/>
                  </a:lnTo>
                  <a:lnTo>
                    <a:pt x="1304" y="366"/>
                  </a:lnTo>
                  <a:lnTo>
                    <a:pt x="1322" y="353"/>
                  </a:lnTo>
                  <a:lnTo>
                    <a:pt x="1341" y="344"/>
                  </a:lnTo>
                  <a:lnTo>
                    <a:pt x="1365" y="342"/>
                  </a:lnTo>
                  <a:lnTo>
                    <a:pt x="2047" y="342"/>
                  </a:lnTo>
                  <a:lnTo>
                    <a:pt x="2070" y="344"/>
                  </a:lnTo>
                  <a:lnTo>
                    <a:pt x="2090" y="353"/>
                  </a:lnTo>
                  <a:lnTo>
                    <a:pt x="2107" y="366"/>
                  </a:lnTo>
                  <a:lnTo>
                    <a:pt x="2121" y="384"/>
                  </a:lnTo>
                  <a:lnTo>
                    <a:pt x="2129" y="404"/>
                  </a:lnTo>
                  <a:lnTo>
                    <a:pt x="2132" y="427"/>
                  </a:lnTo>
                  <a:lnTo>
                    <a:pt x="2132" y="1026"/>
                  </a:lnTo>
                  <a:lnTo>
                    <a:pt x="2158" y="1042"/>
                  </a:lnTo>
                  <a:lnTo>
                    <a:pt x="2186" y="1003"/>
                  </a:lnTo>
                  <a:lnTo>
                    <a:pt x="2221" y="969"/>
                  </a:lnTo>
                  <a:lnTo>
                    <a:pt x="2258" y="940"/>
                  </a:lnTo>
                  <a:lnTo>
                    <a:pt x="2299" y="918"/>
                  </a:lnTo>
                  <a:lnTo>
                    <a:pt x="2303" y="916"/>
                  </a:lnTo>
                  <a:lnTo>
                    <a:pt x="2303" y="342"/>
                  </a:lnTo>
                  <a:lnTo>
                    <a:pt x="2299" y="307"/>
                  </a:lnTo>
                  <a:lnTo>
                    <a:pt x="2289" y="276"/>
                  </a:lnTo>
                  <a:lnTo>
                    <a:pt x="2273" y="246"/>
                  </a:lnTo>
                  <a:lnTo>
                    <a:pt x="2253" y="221"/>
                  </a:lnTo>
                  <a:lnTo>
                    <a:pt x="2227" y="200"/>
                  </a:lnTo>
                  <a:lnTo>
                    <a:pt x="2199" y="184"/>
                  </a:lnTo>
                  <a:lnTo>
                    <a:pt x="2167" y="174"/>
                  </a:lnTo>
                  <a:lnTo>
                    <a:pt x="2132" y="170"/>
                  </a:lnTo>
                  <a:lnTo>
                    <a:pt x="341" y="170"/>
                  </a:lnTo>
                  <a:close/>
                  <a:moveTo>
                    <a:pt x="341" y="0"/>
                  </a:moveTo>
                  <a:lnTo>
                    <a:pt x="2132" y="0"/>
                  </a:lnTo>
                  <a:lnTo>
                    <a:pt x="2183" y="4"/>
                  </a:lnTo>
                  <a:lnTo>
                    <a:pt x="2231" y="15"/>
                  </a:lnTo>
                  <a:lnTo>
                    <a:pt x="2276" y="32"/>
                  </a:lnTo>
                  <a:lnTo>
                    <a:pt x="2318" y="55"/>
                  </a:lnTo>
                  <a:lnTo>
                    <a:pt x="2356" y="83"/>
                  </a:lnTo>
                  <a:lnTo>
                    <a:pt x="2390" y="118"/>
                  </a:lnTo>
                  <a:lnTo>
                    <a:pt x="2418" y="155"/>
                  </a:lnTo>
                  <a:lnTo>
                    <a:pt x="2442" y="197"/>
                  </a:lnTo>
                  <a:lnTo>
                    <a:pt x="2459" y="243"/>
                  </a:lnTo>
                  <a:lnTo>
                    <a:pt x="2469" y="291"/>
                  </a:lnTo>
                  <a:lnTo>
                    <a:pt x="2473" y="342"/>
                  </a:lnTo>
                  <a:lnTo>
                    <a:pt x="2473" y="903"/>
                  </a:lnTo>
                  <a:lnTo>
                    <a:pt x="2511" y="915"/>
                  </a:lnTo>
                  <a:lnTo>
                    <a:pt x="2547" y="935"/>
                  </a:lnTo>
                  <a:lnTo>
                    <a:pt x="2580" y="959"/>
                  </a:lnTo>
                  <a:lnTo>
                    <a:pt x="2610" y="987"/>
                  </a:lnTo>
                  <a:lnTo>
                    <a:pt x="2634" y="1021"/>
                  </a:lnTo>
                  <a:lnTo>
                    <a:pt x="2655" y="1058"/>
                  </a:lnTo>
                  <a:lnTo>
                    <a:pt x="2660" y="1068"/>
                  </a:lnTo>
                  <a:lnTo>
                    <a:pt x="2668" y="1082"/>
                  </a:lnTo>
                  <a:lnTo>
                    <a:pt x="2678" y="1101"/>
                  </a:lnTo>
                  <a:lnTo>
                    <a:pt x="2689" y="1128"/>
                  </a:lnTo>
                  <a:lnTo>
                    <a:pt x="2704" y="1160"/>
                  </a:lnTo>
                  <a:lnTo>
                    <a:pt x="2719" y="1197"/>
                  </a:lnTo>
                  <a:lnTo>
                    <a:pt x="2737" y="1242"/>
                  </a:lnTo>
                  <a:lnTo>
                    <a:pt x="2756" y="1293"/>
                  </a:lnTo>
                  <a:lnTo>
                    <a:pt x="2777" y="1350"/>
                  </a:lnTo>
                  <a:lnTo>
                    <a:pt x="2799" y="1414"/>
                  </a:lnTo>
                  <a:lnTo>
                    <a:pt x="2823" y="1486"/>
                  </a:lnTo>
                  <a:lnTo>
                    <a:pt x="2848" y="1566"/>
                  </a:lnTo>
                  <a:lnTo>
                    <a:pt x="2874" y="1654"/>
                  </a:lnTo>
                  <a:lnTo>
                    <a:pt x="2900" y="1750"/>
                  </a:lnTo>
                  <a:lnTo>
                    <a:pt x="2927" y="1853"/>
                  </a:lnTo>
                  <a:lnTo>
                    <a:pt x="2956" y="1966"/>
                  </a:lnTo>
                  <a:lnTo>
                    <a:pt x="2984" y="2086"/>
                  </a:lnTo>
                  <a:lnTo>
                    <a:pt x="3013" y="2217"/>
                  </a:lnTo>
                  <a:lnTo>
                    <a:pt x="3043" y="2354"/>
                  </a:lnTo>
                  <a:lnTo>
                    <a:pt x="3071" y="2504"/>
                  </a:lnTo>
                  <a:lnTo>
                    <a:pt x="3110" y="2486"/>
                  </a:lnTo>
                  <a:lnTo>
                    <a:pt x="3389" y="3110"/>
                  </a:lnTo>
                  <a:lnTo>
                    <a:pt x="2473" y="3519"/>
                  </a:lnTo>
                  <a:lnTo>
                    <a:pt x="2473" y="3757"/>
                  </a:lnTo>
                  <a:lnTo>
                    <a:pt x="2469" y="3807"/>
                  </a:lnTo>
                  <a:lnTo>
                    <a:pt x="2459" y="3855"/>
                  </a:lnTo>
                  <a:lnTo>
                    <a:pt x="2442" y="3901"/>
                  </a:lnTo>
                  <a:lnTo>
                    <a:pt x="2418" y="3943"/>
                  </a:lnTo>
                  <a:lnTo>
                    <a:pt x="2390" y="3980"/>
                  </a:lnTo>
                  <a:lnTo>
                    <a:pt x="2356" y="4015"/>
                  </a:lnTo>
                  <a:lnTo>
                    <a:pt x="2318" y="4043"/>
                  </a:lnTo>
                  <a:lnTo>
                    <a:pt x="2276" y="4066"/>
                  </a:lnTo>
                  <a:lnTo>
                    <a:pt x="2231" y="4083"/>
                  </a:lnTo>
                  <a:lnTo>
                    <a:pt x="2183" y="4094"/>
                  </a:lnTo>
                  <a:lnTo>
                    <a:pt x="2132" y="4098"/>
                  </a:lnTo>
                  <a:lnTo>
                    <a:pt x="341" y="4098"/>
                  </a:lnTo>
                  <a:lnTo>
                    <a:pt x="290" y="4094"/>
                  </a:lnTo>
                  <a:lnTo>
                    <a:pt x="242" y="4083"/>
                  </a:lnTo>
                  <a:lnTo>
                    <a:pt x="197" y="4066"/>
                  </a:lnTo>
                  <a:lnTo>
                    <a:pt x="155" y="4043"/>
                  </a:lnTo>
                  <a:lnTo>
                    <a:pt x="117" y="4015"/>
                  </a:lnTo>
                  <a:lnTo>
                    <a:pt x="83" y="3980"/>
                  </a:lnTo>
                  <a:lnTo>
                    <a:pt x="55" y="3943"/>
                  </a:lnTo>
                  <a:lnTo>
                    <a:pt x="31" y="3901"/>
                  </a:lnTo>
                  <a:lnTo>
                    <a:pt x="14" y="3855"/>
                  </a:lnTo>
                  <a:lnTo>
                    <a:pt x="4" y="3807"/>
                  </a:lnTo>
                  <a:lnTo>
                    <a:pt x="0" y="3757"/>
                  </a:lnTo>
                  <a:lnTo>
                    <a:pt x="0" y="342"/>
                  </a:lnTo>
                  <a:lnTo>
                    <a:pt x="4" y="291"/>
                  </a:lnTo>
                  <a:lnTo>
                    <a:pt x="14" y="243"/>
                  </a:lnTo>
                  <a:lnTo>
                    <a:pt x="31" y="197"/>
                  </a:lnTo>
                  <a:lnTo>
                    <a:pt x="55" y="155"/>
                  </a:lnTo>
                  <a:lnTo>
                    <a:pt x="83" y="118"/>
                  </a:lnTo>
                  <a:lnTo>
                    <a:pt x="117" y="83"/>
                  </a:lnTo>
                  <a:lnTo>
                    <a:pt x="155" y="55"/>
                  </a:lnTo>
                  <a:lnTo>
                    <a:pt x="197" y="32"/>
                  </a:lnTo>
                  <a:lnTo>
                    <a:pt x="242" y="15"/>
                  </a:lnTo>
                  <a:lnTo>
                    <a:pt x="290" y="4"/>
                  </a:lnTo>
                  <a:lnTo>
                    <a:pt x="3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sp>
        <p:nvSpPr>
          <p:cNvPr id="61" name="Freeform 60"/>
          <p:cNvSpPr/>
          <p:nvPr/>
        </p:nvSpPr>
        <p:spPr>
          <a:xfrm>
            <a:off x="7805552" y="1817077"/>
            <a:ext cx="4386448" cy="3465156"/>
          </a:xfrm>
          <a:custGeom>
            <a:avLst/>
            <a:gdLst>
              <a:gd name="connsiteX0" fmla="*/ 6096000 w 6096000"/>
              <a:gd name="connsiteY0" fmla="*/ 6858000 h 6858000"/>
              <a:gd name="connsiteX1" fmla="*/ 3977640 w 6096000"/>
              <a:gd name="connsiteY1" fmla="*/ 6858000 h 6858000"/>
              <a:gd name="connsiteX2" fmla="*/ 0 w 6096000"/>
              <a:gd name="connsiteY2" fmla="*/ 6858000 h 6858000"/>
              <a:gd name="connsiteX3" fmla="*/ 3977640 w 6096000"/>
              <a:gd name="connsiteY3" fmla="*/ 2 h 6858000"/>
              <a:gd name="connsiteX4" fmla="*/ 3977640 w 6096000"/>
              <a:gd name="connsiteY4" fmla="*/ 0 h 6858000"/>
              <a:gd name="connsiteX5" fmla="*/ 3977641 w 6096000"/>
              <a:gd name="connsiteY5" fmla="*/ 0 h 6858000"/>
              <a:gd name="connsiteX6" fmla="*/ 6096000 w 6096000"/>
              <a:gd name="connsiteY6" fmla="*/ 0 h 6858000"/>
              <a:gd name="connsiteX7" fmla="*/ 609600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6096000" y="6858000"/>
                </a:moveTo>
                <a:lnTo>
                  <a:pt x="3977640" y="6858000"/>
                </a:lnTo>
                <a:lnTo>
                  <a:pt x="0" y="6858000"/>
                </a:lnTo>
                <a:lnTo>
                  <a:pt x="3977640" y="2"/>
                </a:lnTo>
                <a:lnTo>
                  <a:pt x="3977640" y="0"/>
                </a:lnTo>
                <a:lnTo>
                  <a:pt x="3977641" y="0"/>
                </a:lnTo>
                <a:lnTo>
                  <a:pt x="6096000" y="0"/>
                </a:lnTo>
                <a:lnTo>
                  <a:pt x="6096000" y="6858000"/>
                </a:lnTo>
                <a:close/>
              </a:path>
            </a:pathLst>
          </a:custGeom>
          <a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aleway" panose="020B0003030101060003" pitchFamily="34" charset="0"/>
            </a:endParaRPr>
          </a:p>
        </p:txBody>
      </p:sp>
      <p:sp>
        <p:nvSpPr>
          <p:cNvPr id="62" name="Freeform 61"/>
          <p:cNvSpPr/>
          <p:nvPr/>
        </p:nvSpPr>
        <p:spPr>
          <a:xfrm rot="10800000">
            <a:off x="0" y="1817077"/>
            <a:ext cx="4386448" cy="3465156"/>
          </a:xfrm>
          <a:custGeom>
            <a:avLst/>
            <a:gdLst>
              <a:gd name="connsiteX0" fmla="*/ 6096000 w 6096000"/>
              <a:gd name="connsiteY0" fmla="*/ 6858000 h 6858000"/>
              <a:gd name="connsiteX1" fmla="*/ 3977640 w 6096000"/>
              <a:gd name="connsiteY1" fmla="*/ 6858000 h 6858000"/>
              <a:gd name="connsiteX2" fmla="*/ 0 w 6096000"/>
              <a:gd name="connsiteY2" fmla="*/ 6858000 h 6858000"/>
              <a:gd name="connsiteX3" fmla="*/ 3977640 w 6096000"/>
              <a:gd name="connsiteY3" fmla="*/ 2 h 6858000"/>
              <a:gd name="connsiteX4" fmla="*/ 3977640 w 6096000"/>
              <a:gd name="connsiteY4" fmla="*/ 0 h 6858000"/>
              <a:gd name="connsiteX5" fmla="*/ 3977641 w 6096000"/>
              <a:gd name="connsiteY5" fmla="*/ 0 h 6858000"/>
              <a:gd name="connsiteX6" fmla="*/ 6096000 w 6096000"/>
              <a:gd name="connsiteY6" fmla="*/ 0 h 6858000"/>
              <a:gd name="connsiteX7" fmla="*/ 609600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6096000" y="6858000"/>
                </a:moveTo>
                <a:lnTo>
                  <a:pt x="3977640" y="6858000"/>
                </a:lnTo>
                <a:lnTo>
                  <a:pt x="0" y="6858000"/>
                </a:lnTo>
                <a:lnTo>
                  <a:pt x="3977640" y="2"/>
                </a:lnTo>
                <a:lnTo>
                  <a:pt x="3977640" y="0"/>
                </a:lnTo>
                <a:lnTo>
                  <a:pt x="3977641" y="0"/>
                </a:lnTo>
                <a:lnTo>
                  <a:pt x="6096000" y="0"/>
                </a:lnTo>
                <a:lnTo>
                  <a:pt x="6096000" y="6858000"/>
                </a:lnTo>
                <a:close/>
              </a:path>
            </a:pathLst>
          </a:cu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aleway" panose="020B0003030101060003" pitchFamily="34" charset="0"/>
            </a:endParaRPr>
          </a:p>
        </p:txBody>
      </p:sp>
      <p:sp>
        <p:nvSpPr>
          <p:cNvPr id="63" name="Parallelogram 11"/>
          <p:cNvSpPr/>
          <p:nvPr/>
        </p:nvSpPr>
        <p:spPr>
          <a:xfrm>
            <a:off x="108625" y="4340124"/>
            <a:ext cx="2181184" cy="942109"/>
          </a:xfrm>
          <a:custGeom>
            <a:avLst/>
            <a:gdLst>
              <a:gd name="connsiteX0" fmla="*/ 0 w 2147958"/>
              <a:gd name="connsiteY0" fmla="*/ 942109 h 942109"/>
              <a:gd name="connsiteX1" fmla="*/ 734289 w 2147958"/>
              <a:gd name="connsiteY1" fmla="*/ 0 h 942109"/>
              <a:gd name="connsiteX2" fmla="*/ 2147958 w 2147958"/>
              <a:gd name="connsiteY2" fmla="*/ 0 h 942109"/>
              <a:gd name="connsiteX3" fmla="*/ 1413669 w 2147958"/>
              <a:gd name="connsiteY3" fmla="*/ 942109 h 942109"/>
              <a:gd name="connsiteX4" fmla="*/ 0 w 2147958"/>
              <a:gd name="connsiteY4" fmla="*/ 942109 h 942109"/>
              <a:gd name="connsiteX0" fmla="*/ 0 w 2171709"/>
              <a:gd name="connsiteY0" fmla="*/ 942109 h 942109"/>
              <a:gd name="connsiteX1" fmla="*/ 734289 w 2171709"/>
              <a:gd name="connsiteY1" fmla="*/ 0 h 942109"/>
              <a:gd name="connsiteX2" fmla="*/ 2171709 w 2171709"/>
              <a:gd name="connsiteY2" fmla="*/ 0 h 942109"/>
              <a:gd name="connsiteX3" fmla="*/ 1413669 w 2171709"/>
              <a:gd name="connsiteY3" fmla="*/ 942109 h 942109"/>
              <a:gd name="connsiteX4" fmla="*/ 0 w 2171709"/>
              <a:gd name="connsiteY4" fmla="*/ 942109 h 942109"/>
              <a:gd name="connsiteX0" fmla="*/ 0 w 2181184"/>
              <a:gd name="connsiteY0" fmla="*/ 942109 h 942109"/>
              <a:gd name="connsiteX1" fmla="*/ 734289 w 2181184"/>
              <a:gd name="connsiteY1" fmla="*/ 0 h 942109"/>
              <a:gd name="connsiteX2" fmla="*/ 2181184 w 2181184"/>
              <a:gd name="connsiteY2" fmla="*/ 9475 h 942109"/>
              <a:gd name="connsiteX3" fmla="*/ 1413669 w 2181184"/>
              <a:gd name="connsiteY3" fmla="*/ 942109 h 942109"/>
              <a:gd name="connsiteX4" fmla="*/ 0 w 2181184"/>
              <a:gd name="connsiteY4" fmla="*/ 942109 h 942109"/>
              <a:gd name="connsiteX0" fmla="*/ 0 w 2181184"/>
              <a:gd name="connsiteY0" fmla="*/ 942109 h 942109"/>
              <a:gd name="connsiteX1" fmla="*/ 734289 w 2181184"/>
              <a:gd name="connsiteY1" fmla="*/ 0 h 942109"/>
              <a:gd name="connsiteX2" fmla="*/ 2181184 w 2181184"/>
              <a:gd name="connsiteY2" fmla="*/ 9475 h 942109"/>
              <a:gd name="connsiteX3" fmla="*/ 1413669 w 2181184"/>
              <a:gd name="connsiteY3" fmla="*/ 942109 h 942109"/>
              <a:gd name="connsiteX4" fmla="*/ 0 w 2181184"/>
              <a:gd name="connsiteY4" fmla="*/ 942109 h 942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1184" h="942109">
                <a:moveTo>
                  <a:pt x="0" y="942109"/>
                </a:moveTo>
                <a:lnTo>
                  <a:pt x="734289" y="0"/>
                </a:lnTo>
                <a:lnTo>
                  <a:pt x="2181184" y="9475"/>
                </a:lnTo>
                <a:lnTo>
                  <a:pt x="1413669" y="942109"/>
                </a:lnTo>
                <a:lnTo>
                  <a:pt x="0" y="942109"/>
                </a:lnTo>
                <a:close/>
              </a:path>
            </a:pathLst>
          </a:custGeom>
          <a:solidFill>
            <a:srgbClr val="0084CB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4" name="Group 10"/>
          <p:cNvGrpSpPr>
            <a:grpSpLocks noChangeAspect="1"/>
          </p:cNvGrpSpPr>
          <p:nvPr/>
        </p:nvGrpSpPr>
        <p:grpSpPr bwMode="auto">
          <a:xfrm>
            <a:off x="931022" y="4441067"/>
            <a:ext cx="457638" cy="457200"/>
            <a:chOff x="2270" y="593"/>
            <a:chExt cx="3134" cy="3131"/>
          </a:xfrm>
          <a:solidFill>
            <a:schemeClr val="bg1"/>
          </a:solidFill>
        </p:grpSpPr>
        <p:sp>
          <p:nvSpPr>
            <p:cNvPr id="65" name="Freeform 12"/>
            <p:cNvSpPr>
              <a:spLocks/>
            </p:cNvSpPr>
            <p:nvPr/>
          </p:nvSpPr>
          <p:spPr bwMode="auto">
            <a:xfrm>
              <a:off x="4006" y="1680"/>
              <a:ext cx="1398" cy="958"/>
            </a:xfrm>
            <a:custGeom>
              <a:avLst/>
              <a:gdLst>
                <a:gd name="T0" fmla="*/ 942 w 2795"/>
                <a:gd name="T1" fmla="*/ 0 h 1917"/>
                <a:gd name="T2" fmla="*/ 976 w 2795"/>
                <a:gd name="T3" fmla="*/ 0 h 1917"/>
                <a:gd name="T4" fmla="*/ 1010 w 2795"/>
                <a:gd name="T5" fmla="*/ 7 h 1917"/>
                <a:gd name="T6" fmla="*/ 1041 w 2795"/>
                <a:gd name="T7" fmla="*/ 23 h 1917"/>
                <a:gd name="T8" fmla="*/ 1070 w 2795"/>
                <a:gd name="T9" fmla="*/ 45 h 1917"/>
                <a:gd name="T10" fmla="*/ 1092 w 2795"/>
                <a:gd name="T11" fmla="*/ 72 h 1917"/>
                <a:gd name="T12" fmla="*/ 1108 w 2795"/>
                <a:gd name="T13" fmla="*/ 104 h 1917"/>
                <a:gd name="T14" fmla="*/ 1115 w 2795"/>
                <a:gd name="T15" fmla="*/ 139 h 1917"/>
                <a:gd name="T16" fmla="*/ 1115 w 2795"/>
                <a:gd name="T17" fmla="*/ 173 h 1917"/>
                <a:gd name="T18" fmla="*/ 1108 w 2795"/>
                <a:gd name="T19" fmla="*/ 207 h 1917"/>
                <a:gd name="T20" fmla="*/ 1092 w 2795"/>
                <a:gd name="T21" fmla="*/ 238 h 1917"/>
                <a:gd name="T22" fmla="*/ 1070 w 2795"/>
                <a:gd name="T23" fmla="*/ 266 h 1917"/>
                <a:gd name="T24" fmla="*/ 538 w 2795"/>
                <a:gd name="T25" fmla="*/ 800 h 1917"/>
                <a:gd name="T26" fmla="*/ 2637 w 2795"/>
                <a:gd name="T27" fmla="*/ 800 h 1917"/>
                <a:gd name="T28" fmla="*/ 2679 w 2795"/>
                <a:gd name="T29" fmla="*/ 806 h 1917"/>
                <a:gd name="T30" fmla="*/ 2717 w 2795"/>
                <a:gd name="T31" fmla="*/ 821 h 1917"/>
                <a:gd name="T32" fmla="*/ 2750 w 2795"/>
                <a:gd name="T33" fmla="*/ 846 h 1917"/>
                <a:gd name="T34" fmla="*/ 2774 w 2795"/>
                <a:gd name="T35" fmla="*/ 878 h 1917"/>
                <a:gd name="T36" fmla="*/ 2790 w 2795"/>
                <a:gd name="T37" fmla="*/ 916 h 1917"/>
                <a:gd name="T38" fmla="*/ 2795 w 2795"/>
                <a:gd name="T39" fmla="*/ 956 h 1917"/>
                <a:gd name="T40" fmla="*/ 2790 w 2795"/>
                <a:gd name="T41" fmla="*/ 998 h 1917"/>
                <a:gd name="T42" fmla="*/ 2774 w 2795"/>
                <a:gd name="T43" fmla="*/ 1036 h 1917"/>
                <a:gd name="T44" fmla="*/ 2750 w 2795"/>
                <a:gd name="T45" fmla="*/ 1069 h 1917"/>
                <a:gd name="T46" fmla="*/ 2717 w 2795"/>
                <a:gd name="T47" fmla="*/ 1093 h 1917"/>
                <a:gd name="T48" fmla="*/ 2679 w 2795"/>
                <a:gd name="T49" fmla="*/ 1109 h 1917"/>
                <a:gd name="T50" fmla="*/ 2637 w 2795"/>
                <a:gd name="T51" fmla="*/ 1114 h 1917"/>
                <a:gd name="T52" fmla="*/ 538 w 2795"/>
                <a:gd name="T53" fmla="*/ 1114 h 1917"/>
                <a:gd name="T54" fmla="*/ 1072 w 2795"/>
                <a:gd name="T55" fmla="*/ 1648 h 1917"/>
                <a:gd name="T56" fmla="*/ 1094 w 2795"/>
                <a:gd name="T57" fmla="*/ 1676 h 1917"/>
                <a:gd name="T58" fmla="*/ 1110 w 2795"/>
                <a:gd name="T59" fmla="*/ 1709 h 1917"/>
                <a:gd name="T60" fmla="*/ 1117 w 2795"/>
                <a:gd name="T61" fmla="*/ 1741 h 1917"/>
                <a:gd name="T62" fmla="*/ 1117 w 2795"/>
                <a:gd name="T63" fmla="*/ 1776 h 1917"/>
                <a:gd name="T64" fmla="*/ 1110 w 2795"/>
                <a:gd name="T65" fmla="*/ 1810 h 1917"/>
                <a:gd name="T66" fmla="*/ 1094 w 2795"/>
                <a:gd name="T67" fmla="*/ 1842 h 1917"/>
                <a:gd name="T68" fmla="*/ 1072 w 2795"/>
                <a:gd name="T69" fmla="*/ 1869 h 1917"/>
                <a:gd name="T70" fmla="*/ 1047 w 2795"/>
                <a:gd name="T71" fmla="*/ 1890 h 1917"/>
                <a:gd name="T72" fmla="*/ 1020 w 2795"/>
                <a:gd name="T73" fmla="*/ 1905 h 1917"/>
                <a:gd name="T74" fmla="*/ 990 w 2795"/>
                <a:gd name="T75" fmla="*/ 1913 h 1917"/>
                <a:gd name="T76" fmla="*/ 959 w 2795"/>
                <a:gd name="T77" fmla="*/ 1917 h 1917"/>
                <a:gd name="T78" fmla="*/ 930 w 2795"/>
                <a:gd name="T79" fmla="*/ 1913 h 1917"/>
                <a:gd name="T80" fmla="*/ 900 w 2795"/>
                <a:gd name="T81" fmla="*/ 1905 h 1917"/>
                <a:gd name="T82" fmla="*/ 873 w 2795"/>
                <a:gd name="T83" fmla="*/ 1890 h 1917"/>
                <a:gd name="T84" fmla="*/ 848 w 2795"/>
                <a:gd name="T85" fmla="*/ 1869 h 1917"/>
                <a:gd name="T86" fmla="*/ 47 w 2795"/>
                <a:gd name="T87" fmla="*/ 1069 h 1917"/>
                <a:gd name="T88" fmla="*/ 26 w 2795"/>
                <a:gd name="T89" fmla="*/ 1044 h 1917"/>
                <a:gd name="T90" fmla="*/ 13 w 2795"/>
                <a:gd name="T91" fmla="*/ 1017 h 1917"/>
                <a:gd name="T92" fmla="*/ 4 w 2795"/>
                <a:gd name="T93" fmla="*/ 989 h 1917"/>
                <a:gd name="T94" fmla="*/ 0 w 2795"/>
                <a:gd name="T95" fmla="*/ 956 h 1917"/>
                <a:gd name="T96" fmla="*/ 4 w 2795"/>
                <a:gd name="T97" fmla="*/ 926 h 1917"/>
                <a:gd name="T98" fmla="*/ 13 w 2795"/>
                <a:gd name="T99" fmla="*/ 897 h 1917"/>
                <a:gd name="T100" fmla="*/ 26 w 2795"/>
                <a:gd name="T101" fmla="*/ 870 h 1917"/>
                <a:gd name="T102" fmla="*/ 47 w 2795"/>
                <a:gd name="T103" fmla="*/ 846 h 1917"/>
                <a:gd name="T104" fmla="*/ 848 w 2795"/>
                <a:gd name="T105" fmla="*/ 45 h 1917"/>
                <a:gd name="T106" fmla="*/ 877 w 2795"/>
                <a:gd name="T107" fmla="*/ 23 h 1917"/>
                <a:gd name="T108" fmla="*/ 909 w 2795"/>
                <a:gd name="T109" fmla="*/ 7 h 1917"/>
                <a:gd name="T110" fmla="*/ 942 w 2795"/>
                <a:gd name="T111" fmla="*/ 0 h 1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95" h="1917">
                  <a:moveTo>
                    <a:pt x="942" y="0"/>
                  </a:moveTo>
                  <a:lnTo>
                    <a:pt x="976" y="0"/>
                  </a:lnTo>
                  <a:lnTo>
                    <a:pt x="1010" y="7"/>
                  </a:lnTo>
                  <a:lnTo>
                    <a:pt x="1041" y="23"/>
                  </a:lnTo>
                  <a:lnTo>
                    <a:pt x="1070" y="45"/>
                  </a:lnTo>
                  <a:lnTo>
                    <a:pt x="1092" y="72"/>
                  </a:lnTo>
                  <a:lnTo>
                    <a:pt x="1108" y="104"/>
                  </a:lnTo>
                  <a:lnTo>
                    <a:pt x="1115" y="139"/>
                  </a:lnTo>
                  <a:lnTo>
                    <a:pt x="1115" y="173"/>
                  </a:lnTo>
                  <a:lnTo>
                    <a:pt x="1108" y="207"/>
                  </a:lnTo>
                  <a:lnTo>
                    <a:pt x="1092" y="238"/>
                  </a:lnTo>
                  <a:lnTo>
                    <a:pt x="1070" y="266"/>
                  </a:lnTo>
                  <a:lnTo>
                    <a:pt x="538" y="800"/>
                  </a:lnTo>
                  <a:lnTo>
                    <a:pt x="2637" y="800"/>
                  </a:lnTo>
                  <a:lnTo>
                    <a:pt x="2679" y="806"/>
                  </a:lnTo>
                  <a:lnTo>
                    <a:pt x="2717" y="821"/>
                  </a:lnTo>
                  <a:lnTo>
                    <a:pt x="2750" y="846"/>
                  </a:lnTo>
                  <a:lnTo>
                    <a:pt x="2774" y="878"/>
                  </a:lnTo>
                  <a:lnTo>
                    <a:pt x="2790" y="916"/>
                  </a:lnTo>
                  <a:lnTo>
                    <a:pt x="2795" y="956"/>
                  </a:lnTo>
                  <a:lnTo>
                    <a:pt x="2790" y="998"/>
                  </a:lnTo>
                  <a:lnTo>
                    <a:pt x="2774" y="1036"/>
                  </a:lnTo>
                  <a:lnTo>
                    <a:pt x="2750" y="1069"/>
                  </a:lnTo>
                  <a:lnTo>
                    <a:pt x="2717" y="1093"/>
                  </a:lnTo>
                  <a:lnTo>
                    <a:pt x="2679" y="1109"/>
                  </a:lnTo>
                  <a:lnTo>
                    <a:pt x="2637" y="1114"/>
                  </a:lnTo>
                  <a:lnTo>
                    <a:pt x="538" y="1114"/>
                  </a:lnTo>
                  <a:lnTo>
                    <a:pt x="1072" y="1648"/>
                  </a:lnTo>
                  <a:lnTo>
                    <a:pt x="1094" y="1676"/>
                  </a:lnTo>
                  <a:lnTo>
                    <a:pt x="1110" y="1709"/>
                  </a:lnTo>
                  <a:lnTo>
                    <a:pt x="1117" y="1741"/>
                  </a:lnTo>
                  <a:lnTo>
                    <a:pt x="1117" y="1776"/>
                  </a:lnTo>
                  <a:lnTo>
                    <a:pt x="1110" y="1810"/>
                  </a:lnTo>
                  <a:lnTo>
                    <a:pt x="1094" y="1842"/>
                  </a:lnTo>
                  <a:lnTo>
                    <a:pt x="1072" y="1869"/>
                  </a:lnTo>
                  <a:lnTo>
                    <a:pt x="1047" y="1890"/>
                  </a:lnTo>
                  <a:lnTo>
                    <a:pt x="1020" y="1905"/>
                  </a:lnTo>
                  <a:lnTo>
                    <a:pt x="990" y="1913"/>
                  </a:lnTo>
                  <a:lnTo>
                    <a:pt x="959" y="1917"/>
                  </a:lnTo>
                  <a:lnTo>
                    <a:pt x="930" y="1913"/>
                  </a:lnTo>
                  <a:lnTo>
                    <a:pt x="900" y="1905"/>
                  </a:lnTo>
                  <a:lnTo>
                    <a:pt x="873" y="1890"/>
                  </a:lnTo>
                  <a:lnTo>
                    <a:pt x="848" y="1869"/>
                  </a:lnTo>
                  <a:lnTo>
                    <a:pt x="47" y="1069"/>
                  </a:lnTo>
                  <a:lnTo>
                    <a:pt x="26" y="1044"/>
                  </a:lnTo>
                  <a:lnTo>
                    <a:pt x="13" y="1017"/>
                  </a:lnTo>
                  <a:lnTo>
                    <a:pt x="4" y="989"/>
                  </a:lnTo>
                  <a:lnTo>
                    <a:pt x="0" y="956"/>
                  </a:lnTo>
                  <a:lnTo>
                    <a:pt x="4" y="926"/>
                  </a:lnTo>
                  <a:lnTo>
                    <a:pt x="13" y="897"/>
                  </a:lnTo>
                  <a:lnTo>
                    <a:pt x="26" y="870"/>
                  </a:lnTo>
                  <a:lnTo>
                    <a:pt x="47" y="846"/>
                  </a:lnTo>
                  <a:lnTo>
                    <a:pt x="848" y="45"/>
                  </a:lnTo>
                  <a:lnTo>
                    <a:pt x="877" y="23"/>
                  </a:lnTo>
                  <a:lnTo>
                    <a:pt x="909" y="7"/>
                  </a:lnTo>
                  <a:lnTo>
                    <a:pt x="9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3"/>
            <p:cNvSpPr>
              <a:spLocks/>
            </p:cNvSpPr>
            <p:nvPr/>
          </p:nvSpPr>
          <p:spPr bwMode="auto">
            <a:xfrm>
              <a:off x="2270" y="1680"/>
              <a:ext cx="1398" cy="958"/>
            </a:xfrm>
            <a:custGeom>
              <a:avLst/>
              <a:gdLst>
                <a:gd name="T0" fmla="*/ 1819 w 2796"/>
                <a:gd name="T1" fmla="*/ 0 h 1917"/>
                <a:gd name="T2" fmla="*/ 1854 w 2796"/>
                <a:gd name="T3" fmla="*/ 0 h 1917"/>
                <a:gd name="T4" fmla="*/ 1888 w 2796"/>
                <a:gd name="T5" fmla="*/ 7 h 1917"/>
                <a:gd name="T6" fmla="*/ 1919 w 2796"/>
                <a:gd name="T7" fmla="*/ 23 h 1917"/>
                <a:gd name="T8" fmla="*/ 1947 w 2796"/>
                <a:gd name="T9" fmla="*/ 45 h 1917"/>
                <a:gd name="T10" fmla="*/ 2750 w 2796"/>
                <a:gd name="T11" fmla="*/ 846 h 1917"/>
                <a:gd name="T12" fmla="*/ 2769 w 2796"/>
                <a:gd name="T13" fmla="*/ 870 h 1917"/>
                <a:gd name="T14" fmla="*/ 2784 w 2796"/>
                <a:gd name="T15" fmla="*/ 897 h 1917"/>
                <a:gd name="T16" fmla="*/ 2792 w 2796"/>
                <a:gd name="T17" fmla="*/ 926 h 1917"/>
                <a:gd name="T18" fmla="*/ 2796 w 2796"/>
                <a:gd name="T19" fmla="*/ 956 h 1917"/>
                <a:gd name="T20" fmla="*/ 2792 w 2796"/>
                <a:gd name="T21" fmla="*/ 989 h 1917"/>
                <a:gd name="T22" fmla="*/ 2784 w 2796"/>
                <a:gd name="T23" fmla="*/ 1017 h 1917"/>
                <a:gd name="T24" fmla="*/ 2769 w 2796"/>
                <a:gd name="T25" fmla="*/ 1044 h 1917"/>
                <a:gd name="T26" fmla="*/ 2750 w 2796"/>
                <a:gd name="T27" fmla="*/ 1069 h 1917"/>
                <a:gd name="T28" fmla="*/ 1947 w 2796"/>
                <a:gd name="T29" fmla="*/ 1869 h 1917"/>
                <a:gd name="T30" fmla="*/ 1922 w 2796"/>
                <a:gd name="T31" fmla="*/ 1890 h 1917"/>
                <a:gd name="T32" fmla="*/ 1896 w 2796"/>
                <a:gd name="T33" fmla="*/ 1905 h 1917"/>
                <a:gd name="T34" fmla="*/ 1867 w 2796"/>
                <a:gd name="T35" fmla="*/ 1913 h 1917"/>
                <a:gd name="T36" fmla="*/ 1837 w 2796"/>
                <a:gd name="T37" fmla="*/ 1917 h 1917"/>
                <a:gd name="T38" fmla="*/ 1806 w 2796"/>
                <a:gd name="T39" fmla="*/ 1913 h 1917"/>
                <a:gd name="T40" fmla="*/ 1777 w 2796"/>
                <a:gd name="T41" fmla="*/ 1905 h 1917"/>
                <a:gd name="T42" fmla="*/ 1749 w 2796"/>
                <a:gd name="T43" fmla="*/ 1890 h 1917"/>
                <a:gd name="T44" fmla="*/ 1724 w 2796"/>
                <a:gd name="T45" fmla="*/ 1869 h 1917"/>
                <a:gd name="T46" fmla="*/ 1703 w 2796"/>
                <a:gd name="T47" fmla="*/ 1842 h 1917"/>
                <a:gd name="T48" fmla="*/ 1688 w 2796"/>
                <a:gd name="T49" fmla="*/ 1810 h 1917"/>
                <a:gd name="T50" fmla="*/ 1680 w 2796"/>
                <a:gd name="T51" fmla="*/ 1776 h 1917"/>
                <a:gd name="T52" fmla="*/ 1680 w 2796"/>
                <a:gd name="T53" fmla="*/ 1741 h 1917"/>
                <a:gd name="T54" fmla="*/ 1688 w 2796"/>
                <a:gd name="T55" fmla="*/ 1709 h 1917"/>
                <a:gd name="T56" fmla="*/ 1703 w 2796"/>
                <a:gd name="T57" fmla="*/ 1676 h 1917"/>
                <a:gd name="T58" fmla="*/ 1724 w 2796"/>
                <a:gd name="T59" fmla="*/ 1648 h 1917"/>
                <a:gd name="T60" fmla="*/ 2258 w 2796"/>
                <a:gd name="T61" fmla="*/ 1114 h 1917"/>
                <a:gd name="T62" fmla="*/ 156 w 2796"/>
                <a:gd name="T63" fmla="*/ 1114 h 1917"/>
                <a:gd name="T64" fmla="*/ 115 w 2796"/>
                <a:gd name="T65" fmla="*/ 1109 h 1917"/>
                <a:gd name="T66" fmla="*/ 78 w 2796"/>
                <a:gd name="T67" fmla="*/ 1093 h 1917"/>
                <a:gd name="T68" fmla="*/ 46 w 2796"/>
                <a:gd name="T69" fmla="*/ 1069 h 1917"/>
                <a:gd name="T70" fmla="*/ 21 w 2796"/>
                <a:gd name="T71" fmla="*/ 1036 h 1917"/>
                <a:gd name="T72" fmla="*/ 6 w 2796"/>
                <a:gd name="T73" fmla="*/ 998 h 1917"/>
                <a:gd name="T74" fmla="*/ 0 w 2796"/>
                <a:gd name="T75" fmla="*/ 956 h 1917"/>
                <a:gd name="T76" fmla="*/ 6 w 2796"/>
                <a:gd name="T77" fmla="*/ 916 h 1917"/>
                <a:gd name="T78" fmla="*/ 21 w 2796"/>
                <a:gd name="T79" fmla="*/ 878 h 1917"/>
                <a:gd name="T80" fmla="*/ 46 w 2796"/>
                <a:gd name="T81" fmla="*/ 846 h 1917"/>
                <a:gd name="T82" fmla="*/ 78 w 2796"/>
                <a:gd name="T83" fmla="*/ 821 h 1917"/>
                <a:gd name="T84" fmla="*/ 116 w 2796"/>
                <a:gd name="T85" fmla="*/ 806 h 1917"/>
                <a:gd name="T86" fmla="*/ 160 w 2796"/>
                <a:gd name="T87" fmla="*/ 800 h 1917"/>
                <a:gd name="T88" fmla="*/ 2260 w 2796"/>
                <a:gd name="T89" fmla="*/ 800 h 1917"/>
                <a:gd name="T90" fmla="*/ 1726 w 2796"/>
                <a:gd name="T91" fmla="*/ 266 h 1917"/>
                <a:gd name="T92" fmla="*/ 1703 w 2796"/>
                <a:gd name="T93" fmla="*/ 238 h 1917"/>
                <a:gd name="T94" fmla="*/ 1688 w 2796"/>
                <a:gd name="T95" fmla="*/ 205 h 1917"/>
                <a:gd name="T96" fmla="*/ 1680 w 2796"/>
                <a:gd name="T97" fmla="*/ 173 h 1917"/>
                <a:gd name="T98" fmla="*/ 1680 w 2796"/>
                <a:gd name="T99" fmla="*/ 139 h 1917"/>
                <a:gd name="T100" fmla="*/ 1688 w 2796"/>
                <a:gd name="T101" fmla="*/ 104 h 1917"/>
                <a:gd name="T102" fmla="*/ 1703 w 2796"/>
                <a:gd name="T103" fmla="*/ 72 h 1917"/>
                <a:gd name="T104" fmla="*/ 1726 w 2796"/>
                <a:gd name="T105" fmla="*/ 45 h 1917"/>
                <a:gd name="T106" fmla="*/ 1755 w 2796"/>
                <a:gd name="T107" fmla="*/ 23 h 1917"/>
                <a:gd name="T108" fmla="*/ 1787 w 2796"/>
                <a:gd name="T109" fmla="*/ 7 h 1917"/>
                <a:gd name="T110" fmla="*/ 1819 w 2796"/>
                <a:gd name="T111" fmla="*/ 0 h 1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96" h="1917">
                  <a:moveTo>
                    <a:pt x="1819" y="0"/>
                  </a:moveTo>
                  <a:lnTo>
                    <a:pt x="1854" y="0"/>
                  </a:lnTo>
                  <a:lnTo>
                    <a:pt x="1888" y="7"/>
                  </a:lnTo>
                  <a:lnTo>
                    <a:pt x="1919" y="23"/>
                  </a:lnTo>
                  <a:lnTo>
                    <a:pt x="1947" y="45"/>
                  </a:lnTo>
                  <a:lnTo>
                    <a:pt x="2750" y="846"/>
                  </a:lnTo>
                  <a:lnTo>
                    <a:pt x="2769" y="870"/>
                  </a:lnTo>
                  <a:lnTo>
                    <a:pt x="2784" y="897"/>
                  </a:lnTo>
                  <a:lnTo>
                    <a:pt x="2792" y="926"/>
                  </a:lnTo>
                  <a:lnTo>
                    <a:pt x="2796" y="956"/>
                  </a:lnTo>
                  <a:lnTo>
                    <a:pt x="2792" y="989"/>
                  </a:lnTo>
                  <a:lnTo>
                    <a:pt x="2784" y="1017"/>
                  </a:lnTo>
                  <a:lnTo>
                    <a:pt x="2769" y="1044"/>
                  </a:lnTo>
                  <a:lnTo>
                    <a:pt x="2750" y="1069"/>
                  </a:lnTo>
                  <a:lnTo>
                    <a:pt x="1947" y="1869"/>
                  </a:lnTo>
                  <a:lnTo>
                    <a:pt x="1922" y="1890"/>
                  </a:lnTo>
                  <a:lnTo>
                    <a:pt x="1896" y="1905"/>
                  </a:lnTo>
                  <a:lnTo>
                    <a:pt x="1867" y="1913"/>
                  </a:lnTo>
                  <a:lnTo>
                    <a:pt x="1837" y="1917"/>
                  </a:lnTo>
                  <a:lnTo>
                    <a:pt x="1806" y="1913"/>
                  </a:lnTo>
                  <a:lnTo>
                    <a:pt x="1777" y="1905"/>
                  </a:lnTo>
                  <a:lnTo>
                    <a:pt x="1749" y="1890"/>
                  </a:lnTo>
                  <a:lnTo>
                    <a:pt x="1724" y="1869"/>
                  </a:lnTo>
                  <a:lnTo>
                    <a:pt x="1703" y="1842"/>
                  </a:lnTo>
                  <a:lnTo>
                    <a:pt x="1688" y="1810"/>
                  </a:lnTo>
                  <a:lnTo>
                    <a:pt x="1680" y="1776"/>
                  </a:lnTo>
                  <a:lnTo>
                    <a:pt x="1680" y="1741"/>
                  </a:lnTo>
                  <a:lnTo>
                    <a:pt x="1688" y="1709"/>
                  </a:lnTo>
                  <a:lnTo>
                    <a:pt x="1703" y="1676"/>
                  </a:lnTo>
                  <a:lnTo>
                    <a:pt x="1724" y="1648"/>
                  </a:lnTo>
                  <a:lnTo>
                    <a:pt x="2258" y="1114"/>
                  </a:lnTo>
                  <a:lnTo>
                    <a:pt x="156" y="1114"/>
                  </a:lnTo>
                  <a:lnTo>
                    <a:pt x="115" y="1109"/>
                  </a:lnTo>
                  <a:lnTo>
                    <a:pt x="78" y="1093"/>
                  </a:lnTo>
                  <a:lnTo>
                    <a:pt x="46" y="1069"/>
                  </a:lnTo>
                  <a:lnTo>
                    <a:pt x="21" y="1036"/>
                  </a:lnTo>
                  <a:lnTo>
                    <a:pt x="6" y="998"/>
                  </a:lnTo>
                  <a:lnTo>
                    <a:pt x="0" y="956"/>
                  </a:lnTo>
                  <a:lnTo>
                    <a:pt x="6" y="916"/>
                  </a:lnTo>
                  <a:lnTo>
                    <a:pt x="21" y="878"/>
                  </a:lnTo>
                  <a:lnTo>
                    <a:pt x="46" y="846"/>
                  </a:lnTo>
                  <a:lnTo>
                    <a:pt x="78" y="821"/>
                  </a:lnTo>
                  <a:lnTo>
                    <a:pt x="116" y="806"/>
                  </a:lnTo>
                  <a:lnTo>
                    <a:pt x="160" y="800"/>
                  </a:lnTo>
                  <a:lnTo>
                    <a:pt x="2260" y="800"/>
                  </a:lnTo>
                  <a:lnTo>
                    <a:pt x="1726" y="266"/>
                  </a:lnTo>
                  <a:lnTo>
                    <a:pt x="1703" y="238"/>
                  </a:lnTo>
                  <a:lnTo>
                    <a:pt x="1688" y="205"/>
                  </a:lnTo>
                  <a:lnTo>
                    <a:pt x="1680" y="173"/>
                  </a:lnTo>
                  <a:lnTo>
                    <a:pt x="1680" y="139"/>
                  </a:lnTo>
                  <a:lnTo>
                    <a:pt x="1688" y="104"/>
                  </a:lnTo>
                  <a:lnTo>
                    <a:pt x="1703" y="72"/>
                  </a:lnTo>
                  <a:lnTo>
                    <a:pt x="1726" y="45"/>
                  </a:lnTo>
                  <a:lnTo>
                    <a:pt x="1755" y="23"/>
                  </a:lnTo>
                  <a:lnTo>
                    <a:pt x="1787" y="7"/>
                  </a:lnTo>
                  <a:lnTo>
                    <a:pt x="18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4"/>
            <p:cNvSpPr>
              <a:spLocks/>
            </p:cNvSpPr>
            <p:nvPr/>
          </p:nvSpPr>
          <p:spPr bwMode="auto">
            <a:xfrm>
              <a:off x="3358" y="593"/>
              <a:ext cx="958" cy="1396"/>
            </a:xfrm>
            <a:custGeom>
              <a:avLst/>
              <a:gdLst>
                <a:gd name="T0" fmla="*/ 957 w 1917"/>
                <a:gd name="T1" fmla="*/ 0 h 2791"/>
                <a:gd name="T2" fmla="*/ 999 w 1917"/>
                <a:gd name="T3" fmla="*/ 5 h 2791"/>
                <a:gd name="T4" fmla="*/ 1037 w 1917"/>
                <a:gd name="T5" fmla="*/ 22 h 2791"/>
                <a:gd name="T6" fmla="*/ 1070 w 1917"/>
                <a:gd name="T7" fmla="*/ 47 h 2791"/>
                <a:gd name="T8" fmla="*/ 1095 w 1917"/>
                <a:gd name="T9" fmla="*/ 78 h 2791"/>
                <a:gd name="T10" fmla="*/ 1110 w 1917"/>
                <a:gd name="T11" fmla="*/ 116 h 2791"/>
                <a:gd name="T12" fmla="*/ 1116 w 1917"/>
                <a:gd name="T13" fmla="*/ 158 h 2791"/>
                <a:gd name="T14" fmla="*/ 1116 w 1917"/>
                <a:gd name="T15" fmla="*/ 2257 h 2791"/>
                <a:gd name="T16" fmla="*/ 1650 w 1917"/>
                <a:gd name="T17" fmla="*/ 1724 h 2791"/>
                <a:gd name="T18" fmla="*/ 1678 w 1917"/>
                <a:gd name="T19" fmla="*/ 1701 h 2791"/>
                <a:gd name="T20" fmla="*/ 1711 w 1917"/>
                <a:gd name="T21" fmla="*/ 1686 h 2791"/>
                <a:gd name="T22" fmla="*/ 1743 w 1917"/>
                <a:gd name="T23" fmla="*/ 1678 h 2791"/>
                <a:gd name="T24" fmla="*/ 1777 w 1917"/>
                <a:gd name="T25" fmla="*/ 1678 h 2791"/>
                <a:gd name="T26" fmla="*/ 1812 w 1917"/>
                <a:gd name="T27" fmla="*/ 1686 h 2791"/>
                <a:gd name="T28" fmla="*/ 1842 w 1917"/>
                <a:gd name="T29" fmla="*/ 1701 h 2791"/>
                <a:gd name="T30" fmla="*/ 1871 w 1917"/>
                <a:gd name="T31" fmla="*/ 1724 h 2791"/>
                <a:gd name="T32" fmla="*/ 1894 w 1917"/>
                <a:gd name="T33" fmla="*/ 1751 h 2791"/>
                <a:gd name="T34" fmla="*/ 1909 w 1917"/>
                <a:gd name="T35" fmla="*/ 1783 h 2791"/>
                <a:gd name="T36" fmla="*/ 1917 w 1917"/>
                <a:gd name="T37" fmla="*/ 1817 h 2791"/>
                <a:gd name="T38" fmla="*/ 1917 w 1917"/>
                <a:gd name="T39" fmla="*/ 1852 h 2791"/>
                <a:gd name="T40" fmla="*/ 1909 w 1917"/>
                <a:gd name="T41" fmla="*/ 1884 h 2791"/>
                <a:gd name="T42" fmla="*/ 1894 w 1917"/>
                <a:gd name="T43" fmla="*/ 1916 h 2791"/>
                <a:gd name="T44" fmla="*/ 1871 w 1917"/>
                <a:gd name="T45" fmla="*/ 1945 h 2791"/>
                <a:gd name="T46" fmla="*/ 1070 w 1917"/>
                <a:gd name="T47" fmla="*/ 2745 h 2791"/>
                <a:gd name="T48" fmla="*/ 1045 w 1917"/>
                <a:gd name="T49" fmla="*/ 2766 h 2791"/>
                <a:gd name="T50" fmla="*/ 1016 w 1917"/>
                <a:gd name="T51" fmla="*/ 2780 h 2791"/>
                <a:gd name="T52" fmla="*/ 988 w 1917"/>
                <a:gd name="T53" fmla="*/ 2789 h 2791"/>
                <a:gd name="T54" fmla="*/ 957 w 1917"/>
                <a:gd name="T55" fmla="*/ 2791 h 2791"/>
                <a:gd name="T56" fmla="*/ 927 w 1917"/>
                <a:gd name="T57" fmla="*/ 2789 h 2791"/>
                <a:gd name="T58" fmla="*/ 898 w 1917"/>
                <a:gd name="T59" fmla="*/ 2780 h 2791"/>
                <a:gd name="T60" fmla="*/ 872 w 1917"/>
                <a:gd name="T61" fmla="*/ 2766 h 2791"/>
                <a:gd name="T62" fmla="*/ 847 w 1917"/>
                <a:gd name="T63" fmla="*/ 2745 h 2791"/>
                <a:gd name="T64" fmla="*/ 44 w 1917"/>
                <a:gd name="T65" fmla="*/ 1945 h 2791"/>
                <a:gd name="T66" fmla="*/ 23 w 1917"/>
                <a:gd name="T67" fmla="*/ 1916 h 2791"/>
                <a:gd name="T68" fmla="*/ 8 w 1917"/>
                <a:gd name="T69" fmla="*/ 1884 h 2791"/>
                <a:gd name="T70" fmla="*/ 0 w 1917"/>
                <a:gd name="T71" fmla="*/ 1852 h 2791"/>
                <a:gd name="T72" fmla="*/ 0 w 1917"/>
                <a:gd name="T73" fmla="*/ 1817 h 2791"/>
                <a:gd name="T74" fmla="*/ 8 w 1917"/>
                <a:gd name="T75" fmla="*/ 1783 h 2791"/>
                <a:gd name="T76" fmla="*/ 23 w 1917"/>
                <a:gd name="T77" fmla="*/ 1751 h 2791"/>
                <a:gd name="T78" fmla="*/ 44 w 1917"/>
                <a:gd name="T79" fmla="*/ 1724 h 2791"/>
                <a:gd name="T80" fmla="*/ 72 w 1917"/>
                <a:gd name="T81" fmla="*/ 1701 h 2791"/>
                <a:gd name="T82" fmla="*/ 105 w 1917"/>
                <a:gd name="T83" fmla="*/ 1686 h 2791"/>
                <a:gd name="T84" fmla="*/ 137 w 1917"/>
                <a:gd name="T85" fmla="*/ 1678 h 2791"/>
                <a:gd name="T86" fmla="*/ 172 w 1917"/>
                <a:gd name="T87" fmla="*/ 1678 h 2791"/>
                <a:gd name="T88" fmla="*/ 206 w 1917"/>
                <a:gd name="T89" fmla="*/ 1686 h 2791"/>
                <a:gd name="T90" fmla="*/ 238 w 1917"/>
                <a:gd name="T91" fmla="*/ 1701 h 2791"/>
                <a:gd name="T92" fmla="*/ 267 w 1917"/>
                <a:gd name="T93" fmla="*/ 1724 h 2791"/>
                <a:gd name="T94" fmla="*/ 801 w 1917"/>
                <a:gd name="T95" fmla="*/ 2257 h 2791"/>
                <a:gd name="T96" fmla="*/ 801 w 1917"/>
                <a:gd name="T97" fmla="*/ 158 h 2791"/>
                <a:gd name="T98" fmla="*/ 807 w 1917"/>
                <a:gd name="T99" fmla="*/ 116 h 2791"/>
                <a:gd name="T100" fmla="*/ 822 w 1917"/>
                <a:gd name="T101" fmla="*/ 78 h 2791"/>
                <a:gd name="T102" fmla="*/ 847 w 1917"/>
                <a:gd name="T103" fmla="*/ 47 h 2791"/>
                <a:gd name="T104" fmla="*/ 879 w 1917"/>
                <a:gd name="T105" fmla="*/ 22 h 2791"/>
                <a:gd name="T106" fmla="*/ 915 w 1917"/>
                <a:gd name="T107" fmla="*/ 5 h 2791"/>
                <a:gd name="T108" fmla="*/ 957 w 1917"/>
                <a:gd name="T109" fmla="*/ 0 h 27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17" h="2791">
                  <a:moveTo>
                    <a:pt x="957" y="0"/>
                  </a:moveTo>
                  <a:lnTo>
                    <a:pt x="999" y="5"/>
                  </a:lnTo>
                  <a:lnTo>
                    <a:pt x="1037" y="22"/>
                  </a:lnTo>
                  <a:lnTo>
                    <a:pt x="1070" y="47"/>
                  </a:lnTo>
                  <a:lnTo>
                    <a:pt x="1095" y="78"/>
                  </a:lnTo>
                  <a:lnTo>
                    <a:pt x="1110" y="116"/>
                  </a:lnTo>
                  <a:lnTo>
                    <a:pt x="1116" y="158"/>
                  </a:lnTo>
                  <a:lnTo>
                    <a:pt x="1116" y="2257"/>
                  </a:lnTo>
                  <a:lnTo>
                    <a:pt x="1650" y="1724"/>
                  </a:lnTo>
                  <a:lnTo>
                    <a:pt x="1678" y="1701"/>
                  </a:lnTo>
                  <a:lnTo>
                    <a:pt x="1711" y="1686"/>
                  </a:lnTo>
                  <a:lnTo>
                    <a:pt x="1743" y="1678"/>
                  </a:lnTo>
                  <a:lnTo>
                    <a:pt x="1777" y="1678"/>
                  </a:lnTo>
                  <a:lnTo>
                    <a:pt x="1812" y="1686"/>
                  </a:lnTo>
                  <a:lnTo>
                    <a:pt x="1842" y="1701"/>
                  </a:lnTo>
                  <a:lnTo>
                    <a:pt x="1871" y="1724"/>
                  </a:lnTo>
                  <a:lnTo>
                    <a:pt x="1894" y="1751"/>
                  </a:lnTo>
                  <a:lnTo>
                    <a:pt x="1909" y="1783"/>
                  </a:lnTo>
                  <a:lnTo>
                    <a:pt x="1917" y="1817"/>
                  </a:lnTo>
                  <a:lnTo>
                    <a:pt x="1917" y="1852"/>
                  </a:lnTo>
                  <a:lnTo>
                    <a:pt x="1909" y="1884"/>
                  </a:lnTo>
                  <a:lnTo>
                    <a:pt x="1894" y="1916"/>
                  </a:lnTo>
                  <a:lnTo>
                    <a:pt x="1871" y="1945"/>
                  </a:lnTo>
                  <a:lnTo>
                    <a:pt x="1070" y="2745"/>
                  </a:lnTo>
                  <a:lnTo>
                    <a:pt x="1045" y="2766"/>
                  </a:lnTo>
                  <a:lnTo>
                    <a:pt x="1016" y="2780"/>
                  </a:lnTo>
                  <a:lnTo>
                    <a:pt x="988" y="2789"/>
                  </a:lnTo>
                  <a:lnTo>
                    <a:pt x="957" y="2791"/>
                  </a:lnTo>
                  <a:lnTo>
                    <a:pt x="927" y="2789"/>
                  </a:lnTo>
                  <a:lnTo>
                    <a:pt x="898" y="2780"/>
                  </a:lnTo>
                  <a:lnTo>
                    <a:pt x="872" y="2766"/>
                  </a:lnTo>
                  <a:lnTo>
                    <a:pt x="847" y="2745"/>
                  </a:lnTo>
                  <a:lnTo>
                    <a:pt x="44" y="1945"/>
                  </a:lnTo>
                  <a:lnTo>
                    <a:pt x="23" y="1916"/>
                  </a:lnTo>
                  <a:lnTo>
                    <a:pt x="8" y="1884"/>
                  </a:lnTo>
                  <a:lnTo>
                    <a:pt x="0" y="1852"/>
                  </a:lnTo>
                  <a:lnTo>
                    <a:pt x="0" y="1817"/>
                  </a:lnTo>
                  <a:lnTo>
                    <a:pt x="8" y="1783"/>
                  </a:lnTo>
                  <a:lnTo>
                    <a:pt x="23" y="1751"/>
                  </a:lnTo>
                  <a:lnTo>
                    <a:pt x="44" y="1724"/>
                  </a:lnTo>
                  <a:lnTo>
                    <a:pt x="72" y="1701"/>
                  </a:lnTo>
                  <a:lnTo>
                    <a:pt x="105" y="1686"/>
                  </a:lnTo>
                  <a:lnTo>
                    <a:pt x="137" y="1678"/>
                  </a:lnTo>
                  <a:lnTo>
                    <a:pt x="172" y="1678"/>
                  </a:lnTo>
                  <a:lnTo>
                    <a:pt x="206" y="1686"/>
                  </a:lnTo>
                  <a:lnTo>
                    <a:pt x="238" y="1701"/>
                  </a:lnTo>
                  <a:lnTo>
                    <a:pt x="267" y="1724"/>
                  </a:lnTo>
                  <a:lnTo>
                    <a:pt x="801" y="2257"/>
                  </a:lnTo>
                  <a:lnTo>
                    <a:pt x="801" y="158"/>
                  </a:lnTo>
                  <a:lnTo>
                    <a:pt x="807" y="116"/>
                  </a:lnTo>
                  <a:lnTo>
                    <a:pt x="822" y="78"/>
                  </a:lnTo>
                  <a:lnTo>
                    <a:pt x="847" y="47"/>
                  </a:lnTo>
                  <a:lnTo>
                    <a:pt x="879" y="22"/>
                  </a:lnTo>
                  <a:lnTo>
                    <a:pt x="915" y="5"/>
                  </a:lnTo>
                  <a:lnTo>
                    <a:pt x="9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5"/>
            <p:cNvSpPr>
              <a:spLocks/>
            </p:cNvSpPr>
            <p:nvPr/>
          </p:nvSpPr>
          <p:spPr bwMode="auto">
            <a:xfrm>
              <a:off x="3358" y="2329"/>
              <a:ext cx="959" cy="1395"/>
            </a:xfrm>
            <a:custGeom>
              <a:avLst/>
              <a:gdLst>
                <a:gd name="T0" fmla="*/ 940 w 1918"/>
                <a:gd name="T1" fmla="*/ 0 h 2792"/>
                <a:gd name="T2" fmla="*/ 974 w 1918"/>
                <a:gd name="T3" fmla="*/ 0 h 2792"/>
                <a:gd name="T4" fmla="*/ 1009 w 1918"/>
                <a:gd name="T5" fmla="*/ 8 h 2792"/>
                <a:gd name="T6" fmla="*/ 1041 w 1918"/>
                <a:gd name="T7" fmla="*/ 23 h 2792"/>
                <a:gd name="T8" fmla="*/ 1070 w 1918"/>
                <a:gd name="T9" fmla="*/ 46 h 2792"/>
                <a:gd name="T10" fmla="*/ 1873 w 1918"/>
                <a:gd name="T11" fmla="*/ 846 h 2792"/>
                <a:gd name="T12" fmla="*/ 1896 w 1918"/>
                <a:gd name="T13" fmla="*/ 875 h 2792"/>
                <a:gd name="T14" fmla="*/ 1911 w 1918"/>
                <a:gd name="T15" fmla="*/ 907 h 2792"/>
                <a:gd name="T16" fmla="*/ 1918 w 1918"/>
                <a:gd name="T17" fmla="*/ 940 h 2792"/>
                <a:gd name="T18" fmla="*/ 1918 w 1918"/>
                <a:gd name="T19" fmla="*/ 974 h 2792"/>
                <a:gd name="T20" fmla="*/ 1911 w 1918"/>
                <a:gd name="T21" fmla="*/ 1008 h 2792"/>
                <a:gd name="T22" fmla="*/ 1896 w 1918"/>
                <a:gd name="T23" fmla="*/ 1041 h 2792"/>
                <a:gd name="T24" fmla="*/ 1873 w 1918"/>
                <a:gd name="T25" fmla="*/ 1067 h 2792"/>
                <a:gd name="T26" fmla="*/ 1848 w 1918"/>
                <a:gd name="T27" fmla="*/ 1088 h 2792"/>
                <a:gd name="T28" fmla="*/ 1821 w 1918"/>
                <a:gd name="T29" fmla="*/ 1104 h 2792"/>
                <a:gd name="T30" fmla="*/ 1791 w 1918"/>
                <a:gd name="T31" fmla="*/ 1111 h 2792"/>
                <a:gd name="T32" fmla="*/ 1762 w 1918"/>
                <a:gd name="T33" fmla="*/ 1115 h 2792"/>
                <a:gd name="T34" fmla="*/ 1732 w 1918"/>
                <a:gd name="T35" fmla="*/ 1111 h 2792"/>
                <a:gd name="T36" fmla="*/ 1701 w 1918"/>
                <a:gd name="T37" fmla="*/ 1104 h 2792"/>
                <a:gd name="T38" fmla="*/ 1674 w 1918"/>
                <a:gd name="T39" fmla="*/ 1088 h 2792"/>
                <a:gd name="T40" fmla="*/ 1650 w 1918"/>
                <a:gd name="T41" fmla="*/ 1067 h 2792"/>
                <a:gd name="T42" fmla="*/ 1114 w 1918"/>
                <a:gd name="T43" fmla="*/ 534 h 2792"/>
                <a:gd name="T44" fmla="*/ 1114 w 1918"/>
                <a:gd name="T45" fmla="*/ 2634 h 2792"/>
                <a:gd name="T46" fmla="*/ 1108 w 1918"/>
                <a:gd name="T47" fmla="*/ 2676 h 2792"/>
                <a:gd name="T48" fmla="*/ 1093 w 1918"/>
                <a:gd name="T49" fmla="*/ 2714 h 2792"/>
                <a:gd name="T50" fmla="*/ 1068 w 1918"/>
                <a:gd name="T51" fmla="*/ 2744 h 2792"/>
                <a:gd name="T52" fmla="*/ 1036 w 1918"/>
                <a:gd name="T53" fmla="*/ 2769 h 2792"/>
                <a:gd name="T54" fmla="*/ 997 w 1918"/>
                <a:gd name="T55" fmla="*/ 2786 h 2792"/>
                <a:gd name="T56" fmla="*/ 957 w 1918"/>
                <a:gd name="T57" fmla="*/ 2792 h 2792"/>
                <a:gd name="T58" fmla="*/ 915 w 1918"/>
                <a:gd name="T59" fmla="*/ 2786 h 2792"/>
                <a:gd name="T60" fmla="*/ 877 w 1918"/>
                <a:gd name="T61" fmla="*/ 2769 h 2792"/>
                <a:gd name="T62" fmla="*/ 847 w 1918"/>
                <a:gd name="T63" fmla="*/ 2744 h 2792"/>
                <a:gd name="T64" fmla="*/ 822 w 1918"/>
                <a:gd name="T65" fmla="*/ 2714 h 2792"/>
                <a:gd name="T66" fmla="*/ 807 w 1918"/>
                <a:gd name="T67" fmla="*/ 2676 h 2792"/>
                <a:gd name="T68" fmla="*/ 801 w 1918"/>
                <a:gd name="T69" fmla="*/ 2634 h 2792"/>
                <a:gd name="T70" fmla="*/ 801 w 1918"/>
                <a:gd name="T71" fmla="*/ 534 h 2792"/>
                <a:gd name="T72" fmla="*/ 267 w 1918"/>
                <a:gd name="T73" fmla="*/ 1067 h 2792"/>
                <a:gd name="T74" fmla="*/ 238 w 1918"/>
                <a:gd name="T75" fmla="*/ 1090 h 2792"/>
                <a:gd name="T76" fmla="*/ 206 w 1918"/>
                <a:gd name="T77" fmla="*/ 1105 h 2792"/>
                <a:gd name="T78" fmla="*/ 172 w 1918"/>
                <a:gd name="T79" fmla="*/ 1113 h 2792"/>
                <a:gd name="T80" fmla="*/ 137 w 1918"/>
                <a:gd name="T81" fmla="*/ 1113 h 2792"/>
                <a:gd name="T82" fmla="*/ 105 w 1918"/>
                <a:gd name="T83" fmla="*/ 1105 h 2792"/>
                <a:gd name="T84" fmla="*/ 72 w 1918"/>
                <a:gd name="T85" fmla="*/ 1090 h 2792"/>
                <a:gd name="T86" fmla="*/ 44 w 1918"/>
                <a:gd name="T87" fmla="*/ 1067 h 2792"/>
                <a:gd name="T88" fmla="*/ 23 w 1918"/>
                <a:gd name="T89" fmla="*/ 1041 h 2792"/>
                <a:gd name="T90" fmla="*/ 8 w 1918"/>
                <a:gd name="T91" fmla="*/ 1008 h 2792"/>
                <a:gd name="T92" fmla="*/ 0 w 1918"/>
                <a:gd name="T93" fmla="*/ 974 h 2792"/>
                <a:gd name="T94" fmla="*/ 0 w 1918"/>
                <a:gd name="T95" fmla="*/ 940 h 2792"/>
                <a:gd name="T96" fmla="*/ 8 w 1918"/>
                <a:gd name="T97" fmla="*/ 907 h 2792"/>
                <a:gd name="T98" fmla="*/ 23 w 1918"/>
                <a:gd name="T99" fmla="*/ 875 h 2792"/>
                <a:gd name="T100" fmla="*/ 44 w 1918"/>
                <a:gd name="T101" fmla="*/ 846 h 2792"/>
                <a:gd name="T102" fmla="*/ 847 w 1918"/>
                <a:gd name="T103" fmla="*/ 46 h 2792"/>
                <a:gd name="T104" fmla="*/ 875 w 1918"/>
                <a:gd name="T105" fmla="*/ 23 h 2792"/>
                <a:gd name="T106" fmla="*/ 908 w 1918"/>
                <a:gd name="T107" fmla="*/ 8 h 2792"/>
                <a:gd name="T108" fmla="*/ 940 w 1918"/>
                <a:gd name="T109" fmla="*/ 0 h 2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18" h="2792">
                  <a:moveTo>
                    <a:pt x="940" y="0"/>
                  </a:moveTo>
                  <a:lnTo>
                    <a:pt x="974" y="0"/>
                  </a:lnTo>
                  <a:lnTo>
                    <a:pt x="1009" y="8"/>
                  </a:lnTo>
                  <a:lnTo>
                    <a:pt x="1041" y="23"/>
                  </a:lnTo>
                  <a:lnTo>
                    <a:pt x="1070" y="46"/>
                  </a:lnTo>
                  <a:lnTo>
                    <a:pt x="1873" y="846"/>
                  </a:lnTo>
                  <a:lnTo>
                    <a:pt x="1896" y="875"/>
                  </a:lnTo>
                  <a:lnTo>
                    <a:pt x="1911" y="907"/>
                  </a:lnTo>
                  <a:lnTo>
                    <a:pt x="1918" y="940"/>
                  </a:lnTo>
                  <a:lnTo>
                    <a:pt x="1918" y="974"/>
                  </a:lnTo>
                  <a:lnTo>
                    <a:pt x="1911" y="1008"/>
                  </a:lnTo>
                  <a:lnTo>
                    <a:pt x="1896" y="1041"/>
                  </a:lnTo>
                  <a:lnTo>
                    <a:pt x="1873" y="1067"/>
                  </a:lnTo>
                  <a:lnTo>
                    <a:pt x="1848" y="1088"/>
                  </a:lnTo>
                  <a:lnTo>
                    <a:pt x="1821" y="1104"/>
                  </a:lnTo>
                  <a:lnTo>
                    <a:pt x="1791" y="1111"/>
                  </a:lnTo>
                  <a:lnTo>
                    <a:pt x="1762" y="1115"/>
                  </a:lnTo>
                  <a:lnTo>
                    <a:pt x="1732" y="1111"/>
                  </a:lnTo>
                  <a:lnTo>
                    <a:pt x="1701" y="1104"/>
                  </a:lnTo>
                  <a:lnTo>
                    <a:pt x="1674" y="1088"/>
                  </a:lnTo>
                  <a:lnTo>
                    <a:pt x="1650" y="1067"/>
                  </a:lnTo>
                  <a:lnTo>
                    <a:pt x="1114" y="534"/>
                  </a:lnTo>
                  <a:lnTo>
                    <a:pt x="1114" y="2634"/>
                  </a:lnTo>
                  <a:lnTo>
                    <a:pt x="1108" y="2676"/>
                  </a:lnTo>
                  <a:lnTo>
                    <a:pt x="1093" y="2714"/>
                  </a:lnTo>
                  <a:lnTo>
                    <a:pt x="1068" y="2744"/>
                  </a:lnTo>
                  <a:lnTo>
                    <a:pt x="1036" y="2769"/>
                  </a:lnTo>
                  <a:lnTo>
                    <a:pt x="997" y="2786"/>
                  </a:lnTo>
                  <a:lnTo>
                    <a:pt x="957" y="2792"/>
                  </a:lnTo>
                  <a:lnTo>
                    <a:pt x="915" y="2786"/>
                  </a:lnTo>
                  <a:lnTo>
                    <a:pt x="877" y="2769"/>
                  </a:lnTo>
                  <a:lnTo>
                    <a:pt x="847" y="2744"/>
                  </a:lnTo>
                  <a:lnTo>
                    <a:pt x="822" y="2714"/>
                  </a:lnTo>
                  <a:lnTo>
                    <a:pt x="807" y="2676"/>
                  </a:lnTo>
                  <a:lnTo>
                    <a:pt x="801" y="2634"/>
                  </a:lnTo>
                  <a:lnTo>
                    <a:pt x="801" y="534"/>
                  </a:lnTo>
                  <a:lnTo>
                    <a:pt x="267" y="1067"/>
                  </a:lnTo>
                  <a:lnTo>
                    <a:pt x="238" y="1090"/>
                  </a:lnTo>
                  <a:lnTo>
                    <a:pt x="206" y="1105"/>
                  </a:lnTo>
                  <a:lnTo>
                    <a:pt x="172" y="1113"/>
                  </a:lnTo>
                  <a:lnTo>
                    <a:pt x="137" y="1113"/>
                  </a:lnTo>
                  <a:lnTo>
                    <a:pt x="105" y="1105"/>
                  </a:lnTo>
                  <a:lnTo>
                    <a:pt x="72" y="1090"/>
                  </a:lnTo>
                  <a:lnTo>
                    <a:pt x="44" y="1067"/>
                  </a:lnTo>
                  <a:lnTo>
                    <a:pt x="23" y="1041"/>
                  </a:lnTo>
                  <a:lnTo>
                    <a:pt x="8" y="1008"/>
                  </a:lnTo>
                  <a:lnTo>
                    <a:pt x="0" y="974"/>
                  </a:lnTo>
                  <a:lnTo>
                    <a:pt x="0" y="940"/>
                  </a:lnTo>
                  <a:lnTo>
                    <a:pt x="8" y="907"/>
                  </a:lnTo>
                  <a:lnTo>
                    <a:pt x="23" y="875"/>
                  </a:lnTo>
                  <a:lnTo>
                    <a:pt x="44" y="846"/>
                  </a:lnTo>
                  <a:lnTo>
                    <a:pt x="847" y="46"/>
                  </a:lnTo>
                  <a:lnTo>
                    <a:pt x="875" y="23"/>
                  </a:lnTo>
                  <a:lnTo>
                    <a:pt x="908" y="8"/>
                  </a:lnTo>
                  <a:lnTo>
                    <a:pt x="94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9" name="Rectangle 68"/>
          <p:cNvSpPr/>
          <p:nvPr/>
        </p:nvSpPr>
        <p:spPr>
          <a:xfrm>
            <a:off x="388513" y="4883275"/>
            <a:ext cx="1588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1800"/>
              </a:spcBef>
              <a:defRPr/>
            </a:pPr>
            <a:r>
              <a:rPr lang="en-US" sz="1400" kern="0" dirty="0">
                <a:solidFill>
                  <a:schemeClr val="bg1"/>
                </a:solidFill>
                <a:latin typeface="Raleway" panose="020B0003030101060003" pitchFamily="34" charset="0"/>
              </a:rPr>
              <a:t>Low Friction</a:t>
            </a:r>
          </a:p>
        </p:txBody>
      </p:sp>
      <p:sp>
        <p:nvSpPr>
          <p:cNvPr id="70" name="Parallelogram 15"/>
          <p:cNvSpPr/>
          <p:nvPr/>
        </p:nvSpPr>
        <p:spPr>
          <a:xfrm>
            <a:off x="7844197" y="4340124"/>
            <a:ext cx="2122102" cy="942109"/>
          </a:xfrm>
          <a:custGeom>
            <a:avLst/>
            <a:gdLst>
              <a:gd name="connsiteX0" fmla="*/ 0 w 2073976"/>
              <a:gd name="connsiteY0" fmla="*/ 942109 h 942109"/>
              <a:gd name="connsiteX1" fmla="*/ 734289 w 2073976"/>
              <a:gd name="connsiteY1" fmla="*/ 0 h 942109"/>
              <a:gd name="connsiteX2" fmla="*/ 2073976 w 2073976"/>
              <a:gd name="connsiteY2" fmla="*/ 0 h 942109"/>
              <a:gd name="connsiteX3" fmla="*/ 1339687 w 2073976"/>
              <a:gd name="connsiteY3" fmla="*/ 942109 h 942109"/>
              <a:gd name="connsiteX4" fmla="*/ 0 w 2073976"/>
              <a:gd name="connsiteY4" fmla="*/ 942109 h 942109"/>
              <a:gd name="connsiteX0" fmla="*/ 0 w 2122102"/>
              <a:gd name="connsiteY0" fmla="*/ 942109 h 942109"/>
              <a:gd name="connsiteX1" fmla="*/ 782415 w 2122102"/>
              <a:gd name="connsiteY1" fmla="*/ 0 h 942109"/>
              <a:gd name="connsiteX2" fmla="*/ 2122102 w 2122102"/>
              <a:gd name="connsiteY2" fmla="*/ 0 h 942109"/>
              <a:gd name="connsiteX3" fmla="*/ 1387813 w 2122102"/>
              <a:gd name="connsiteY3" fmla="*/ 942109 h 942109"/>
              <a:gd name="connsiteX4" fmla="*/ 0 w 2122102"/>
              <a:gd name="connsiteY4" fmla="*/ 942109 h 942109"/>
              <a:gd name="connsiteX0" fmla="*/ 0 w 2122102"/>
              <a:gd name="connsiteY0" fmla="*/ 942109 h 942109"/>
              <a:gd name="connsiteX1" fmla="*/ 772940 w 2122102"/>
              <a:gd name="connsiteY1" fmla="*/ 0 h 942109"/>
              <a:gd name="connsiteX2" fmla="*/ 2122102 w 2122102"/>
              <a:gd name="connsiteY2" fmla="*/ 0 h 942109"/>
              <a:gd name="connsiteX3" fmla="*/ 1387813 w 2122102"/>
              <a:gd name="connsiteY3" fmla="*/ 942109 h 942109"/>
              <a:gd name="connsiteX4" fmla="*/ 0 w 2122102"/>
              <a:gd name="connsiteY4" fmla="*/ 942109 h 942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2102" h="942109">
                <a:moveTo>
                  <a:pt x="0" y="942109"/>
                </a:moveTo>
                <a:lnTo>
                  <a:pt x="772940" y="0"/>
                </a:lnTo>
                <a:lnTo>
                  <a:pt x="2122102" y="0"/>
                </a:lnTo>
                <a:lnTo>
                  <a:pt x="1387813" y="942109"/>
                </a:lnTo>
                <a:lnTo>
                  <a:pt x="0" y="942109"/>
                </a:lnTo>
                <a:close/>
              </a:path>
            </a:pathLst>
          </a:custGeom>
          <a:solidFill>
            <a:srgbClr val="212A2C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/>
          <p:cNvSpPr/>
          <p:nvPr/>
        </p:nvSpPr>
        <p:spPr>
          <a:xfrm>
            <a:off x="8097723" y="4884362"/>
            <a:ext cx="1588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ts val="1800"/>
              </a:spcBef>
              <a:defRPr/>
            </a:pPr>
            <a:r>
              <a:rPr lang="en-US" sz="1400" kern="0" dirty="0">
                <a:solidFill>
                  <a:schemeClr val="bg1"/>
                </a:solidFill>
                <a:latin typeface="Raleway" panose="020B0003030101060003" pitchFamily="34" charset="0"/>
              </a:rPr>
              <a:t>Intuitive</a:t>
            </a:r>
          </a:p>
        </p:txBody>
      </p:sp>
      <p:grpSp>
        <p:nvGrpSpPr>
          <p:cNvPr id="72" name="Group 4"/>
          <p:cNvGrpSpPr>
            <a:grpSpLocks noChangeAspect="1"/>
          </p:cNvGrpSpPr>
          <p:nvPr/>
        </p:nvGrpSpPr>
        <p:grpSpPr bwMode="auto">
          <a:xfrm>
            <a:off x="8826980" y="4483281"/>
            <a:ext cx="365760" cy="365760"/>
            <a:chOff x="1857" y="177"/>
            <a:chExt cx="3966" cy="3966"/>
          </a:xfrm>
          <a:solidFill>
            <a:schemeClr val="bg1"/>
          </a:solidFill>
        </p:grpSpPr>
        <p:sp>
          <p:nvSpPr>
            <p:cNvPr id="73" name="Freeform 6"/>
            <p:cNvSpPr>
              <a:spLocks noEditPoints="1"/>
            </p:cNvSpPr>
            <p:nvPr/>
          </p:nvSpPr>
          <p:spPr bwMode="auto">
            <a:xfrm>
              <a:off x="1921" y="2863"/>
              <a:ext cx="639" cy="1280"/>
            </a:xfrm>
            <a:custGeom>
              <a:avLst/>
              <a:gdLst>
                <a:gd name="T0" fmla="*/ 192 w 639"/>
                <a:gd name="T1" fmla="*/ 1024 h 1280"/>
                <a:gd name="T2" fmla="*/ 172 w 639"/>
                <a:gd name="T3" fmla="*/ 1028 h 1280"/>
                <a:gd name="T4" fmla="*/ 154 w 639"/>
                <a:gd name="T5" fmla="*/ 1036 h 1280"/>
                <a:gd name="T6" fmla="*/ 140 w 639"/>
                <a:gd name="T7" fmla="*/ 1050 h 1280"/>
                <a:gd name="T8" fmla="*/ 131 w 639"/>
                <a:gd name="T9" fmla="*/ 1068 h 1280"/>
                <a:gd name="T10" fmla="*/ 128 w 639"/>
                <a:gd name="T11" fmla="*/ 1088 h 1280"/>
                <a:gd name="T12" fmla="*/ 131 w 639"/>
                <a:gd name="T13" fmla="*/ 1108 h 1280"/>
                <a:gd name="T14" fmla="*/ 140 w 639"/>
                <a:gd name="T15" fmla="*/ 1126 h 1280"/>
                <a:gd name="T16" fmla="*/ 154 w 639"/>
                <a:gd name="T17" fmla="*/ 1139 h 1280"/>
                <a:gd name="T18" fmla="*/ 172 w 639"/>
                <a:gd name="T19" fmla="*/ 1149 h 1280"/>
                <a:gd name="T20" fmla="*/ 192 w 639"/>
                <a:gd name="T21" fmla="*/ 1153 h 1280"/>
                <a:gd name="T22" fmla="*/ 212 w 639"/>
                <a:gd name="T23" fmla="*/ 1149 h 1280"/>
                <a:gd name="T24" fmla="*/ 229 w 639"/>
                <a:gd name="T25" fmla="*/ 1139 h 1280"/>
                <a:gd name="T26" fmla="*/ 244 w 639"/>
                <a:gd name="T27" fmla="*/ 1126 h 1280"/>
                <a:gd name="T28" fmla="*/ 252 w 639"/>
                <a:gd name="T29" fmla="*/ 1108 h 1280"/>
                <a:gd name="T30" fmla="*/ 256 w 639"/>
                <a:gd name="T31" fmla="*/ 1088 h 1280"/>
                <a:gd name="T32" fmla="*/ 252 w 639"/>
                <a:gd name="T33" fmla="*/ 1068 h 1280"/>
                <a:gd name="T34" fmla="*/ 244 w 639"/>
                <a:gd name="T35" fmla="*/ 1050 h 1280"/>
                <a:gd name="T36" fmla="*/ 229 w 639"/>
                <a:gd name="T37" fmla="*/ 1036 h 1280"/>
                <a:gd name="T38" fmla="*/ 212 w 639"/>
                <a:gd name="T39" fmla="*/ 1028 h 1280"/>
                <a:gd name="T40" fmla="*/ 192 w 639"/>
                <a:gd name="T41" fmla="*/ 1024 h 1280"/>
                <a:gd name="T42" fmla="*/ 364 w 639"/>
                <a:gd name="T43" fmla="*/ 0 h 1280"/>
                <a:gd name="T44" fmla="*/ 639 w 639"/>
                <a:gd name="T45" fmla="*/ 0 h 1280"/>
                <a:gd name="T46" fmla="*/ 639 w 639"/>
                <a:gd name="T47" fmla="*/ 129 h 1280"/>
                <a:gd name="T48" fmla="*/ 404 w 639"/>
                <a:gd name="T49" fmla="*/ 129 h 1280"/>
                <a:gd name="T50" fmla="*/ 256 w 639"/>
                <a:gd name="T51" fmla="*/ 227 h 1280"/>
                <a:gd name="T52" fmla="*/ 256 w 639"/>
                <a:gd name="T53" fmla="*/ 907 h 1280"/>
                <a:gd name="T54" fmla="*/ 286 w 639"/>
                <a:gd name="T55" fmla="*/ 922 h 1280"/>
                <a:gd name="T56" fmla="*/ 313 w 639"/>
                <a:gd name="T57" fmla="*/ 941 h 1280"/>
                <a:gd name="T58" fmla="*/ 337 w 639"/>
                <a:gd name="T59" fmla="*/ 964 h 1280"/>
                <a:gd name="T60" fmla="*/ 357 w 639"/>
                <a:gd name="T61" fmla="*/ 990 h 1280"/>
                <a:gd name="T62" fmla="*/ 371 w 639"/>
                <a:gd name="T63" fmla="*/ 1020 h 1280"/>
                <a:gd name="T64" fmla="*/ 381 w 639"/>
                <a:gd name="T65" fmla="*/ 1053 h 1280"/>
                <a:gd name="T66" fmla="*/ 384 w 639"/>
                <a:gd name="T67" fmla="*/ 1088 h 1280"/>
                <a:gd name="T68" fmla="*/ 381 w 639"/>
                <a:gd name="T69" fmla="*/ 1123 h 1280"/>
                <a:gd name="T70" fmla="*/ 372 w 639"/>
                <a:gd name="T71" fmla="*/ 1155 h 1280"/>
                <a:gd name="T72" fmla="*/ 358 w 639"/>
                <a:gd name="T73" fmla="*/ 1185 h 1280"/>
                <a:gd name="T74" fmla="*/ 339 w 639"/>
                <a:gd name="T75" fmla="*/ 1211 h 1280"/>
                <a:gd name="T76" fmla="*/ 316 w 639"/>
                <a:gd name="T77" fmla="*/ 1234 h 1280"/>
                <a:gd name="T78" fmla="*/ 288 w 639"/>
                <a:gd name="T79" fmla="*/ 1254 h 1280"/>
                <a:gd name="T80" fmla="*/ 259 w 639"/>
                <a:gd name="T81" fmla="*/ 1268 h 1280"/>
                <a:gd name="T82" fmla="*/ 227 w 639"/>
                <a:gd name="T83" fmla="*/ 1276 h 1280"/>
                <a:gd name="T84" fmla="*/ 192 w 639"/>
                <a:gd name="T85" fmla="*/ 1280 h 1280"/>
                <a:gd name="T86" fmla="*/ 157 w 639"/>
                <a:gd name="T87" fmla="*/ 1276 h 1280"/>
                <a:gd name="T88" fmla="*/ 125 w 639"/>
                <a:gd name="T89" fmla="*/ 1268 h 1280"/>
                <a:gd name="T90" fmla="*/ 95 w 639"/>
                <a:gd name="T91" fmla="*/ 1254 h 1280"/>
                <a:gd name="T92" fmla="*/ 68 w 639"/>
                <a:gd name="T93" fmla="*/ 1234 h 1280"/>
                <a:gd name="T94" fmla="*/ 45 w 639"/>
                <a:gd name="T95" fmla="*/ 1211 h 1280"/>
                <a:gd name="T96" fmla="*/ 26 w 639"/>
                <a:gd name="T97" fmla="*/ 1185 h 1280"/>
                <a:gd name="T98" fmla="*/ 12 w 639"/>
                <a:gd name="T99" fmla="*/ 1155 h 1280"/>
                <a:gd name="T100" fmla="*/ 3 w 639"/>
                <a:gd name="T101" fmla="*/ 1123 h 1280"/>
                <a:gd name="T102" fmla="*/ 0 w 639"/>
                <a:gd name="T103" fmla="*/ 1088 h 1280"/>
                <a:gd name="T104" fmla="*/ 3 w 639"/>
                <a:gd name="T105" fmla="*/ 1053 h 1280"/>
                <a:gd name="T106" fmla="*/ 13 w 639"/>
                <a:gd name="T107" fmla="*/ 1020 h 1280"/>
                <a:gd name="T108" fmla="*/ 27 w 639"/>
                <a:gd name="T109" fmla="*/ 990 h 1280"/>
                <a:gd name="T110" fmla="*/ 47 w 639"/>
                <a:gd name="T111" fmla="*/ 964 h 1280"/>
                <a:gd name="T112" fmla="*/ 71 w 639"/>
                <a:gd name="T113" fmla="*/ 941 h 1280"/>
                <a:gd name="T114" fmla="*/ 97 w 639"/>
                <a:gd name="T115" fmla="*/ 922 h 1280"/>
                <a:gd name="T116" fmla="*/ 128 w 639"/>
                <a:gd name="T117" fmla="*/ 907 h 1280"/>
                <a:gd name="T118" fmla="*/ 128 w 639"/>
                <a:gd name="T119" fmla="*/ 159 h 1280"/>
                <a:gd name="T120" fmla="*/ 364 w 639"/>
                <a:gd name="T121" fmla="*/ 0 h 1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39" h="1280">
                  <a:moveTo>
                    <a:pt x="192" y="1024"/>
                  </a:moveTo>
                  <a:lnTo>
                    <a:pt x="172" y="1028"/>
                  </a:lnTo>
                  <a:lnTo>
                    <a:pt x="154" y="1036"/>
                  </a:lnTo>
                  <a:lnTo>
                    <a:pt x="140" y="1050"/>
                  </a:lnTo>
                  <a:lnTo>
                    <a:pt x="131" y="1068"/>
                  </a:lnTo>
                  <a:lnTo>
                    <a:pt x="128" y="1088"/>
                  </a:lnTo>
                  <a:lnTo>
                    <a:pt x="131" y="1108"/>
                  </a:lnTo>
                  <a:lnTo>
                    <a:pt x="140" y="1126"/>
                  </a:lnTo>
                  <a:lnTo>
                    <a:pt x="154" y="1139"/>
                  </a:lnTo>
                  <a:lnTo>
                    <a:pt x="172" y="1149"/>
                  </a:lnTo>
                  <a:lnTo>
                    <a:pt x="192" y="1153"/>
                  </a:lnTo>
                  <a:lnTo>
                    <a:pt x="212" y="1149"/>
                  </a:lnTo>
                  <a:lnTo>
                    <a:pt x="229" y="1139"/>
                  </a:lnTo>
                  <a:lnTo>
                    <a:pt x="244" y="1126"/>
                  </a:lnTo>
                  <a:lnTo>
                    <a:pt x="252" y="1108"/>
                  </a:lnTo>
                  <a:lnTo>
                    <a:pt x="256" y="1088"/>
                  </a:lnTo>
                  <a:lnTo>
                    <a:pt x="252" y="1068"/>
                  </a:lnTo>
                  <a:lnTo>
                    <a:pt x="244" y="1050"/>
                  </a:lnTo>
                  <a:lnTo>
                    <a:pt x="229" y="1036"/>
                  </a:lnTo>
                  <a:lnTo>
                    <a:pt x="212" y="1028"/>
                  </a:lnTo>
                  <a:lnTo>
                    <a:pt x="192" y="1024"/>
                  </a:lnTo>
                  <a:close/>
                  <a:moveTo>
                    <a:pt x="364" y="0"/>
                  </a:moveTo>
                  <a:lnTo>
                    <a:pt x="639" y="0"/>
                  </a:lnTo>
                  <a:lnTo>
                    <a:pt x="639" y="129"/>
                  </a:lnTo>
                  <a:lnTo>
                    <a:pt x="404" y="129"/>
                  </a:lnTo>
                  <a:lnTo>
                    <a:pt x="256" y="227"/>
                  </a:lnTo>
                  <a:lnTo>
                    <a:pt x="256" y="907"/>
                  </a:lnTo>
                  <a:lnTo>
                    <a:pt x="286" y="922"/>
                  </a:lnTo>
                  <a:lnTo>
                    <a:pt x="313" y="941"/>
                  </a:lnTo>
                  <a:lnTo>
                    <a:pt x="337" y="964"/>
                  </a:lnTo>
                  <a:lnTo>
                    <a:pt x="357" y="990"/>
                  </a:lnTo>
                  <a:lnTo>
                    <a:pt x="371" y="1020"/>
                  </a:lnTo>
                  <a:lnTo>
                    <a:pt x="381" y="1053"/>
                  </a:lnTo>
                  <a:lnTo>
                    <a:pt x="384" y="1088"/>
                  </a:lnTo>
                  <a:lnTo>
                    <a:pt x="381" y="1123"/>
                  </a:lnTo>
                  <a:lnTo>
                    <a:pt x="372" y="1155"/>
                  </a:lnTo>
                  <a:lnTo>
                    <a:pt x="358" y="1185"/>
                  </a:lnTo>
                  <a:lnTo>
                    <a:pt x="339" y="1211"/>
                  </a:lnTo>
                  <a:lnTo>
                    <a:pt x="316" y="1234"/>
                  </a:lnTo>
                  <a:lnTo>
                    <a:pt x="288" y="1254"/>
                  </a:lnTo>
                  <a:lnTo>
                    <a:pt x="259" y="1268"/>
                  </a:lnTo>
                  <a:lnTo>
                    <a:pt x="227" y="1276"/>
                  </a:lnTo>
                  <a:lnTo>
                    <a:pt x="192" y="1280"/>
                  </a:lnTo>
                  <a:lnTo>
                    <a:pt x="157" y="1276"/>
                  </a:lnTo>
                  <a:lnTo>
                    <a:pt x="125" y="1268"/>
                  </a:lnTo>
                  <a:lnTo>
                    <a:pt x="95" y="1254"/>
                  </a:lnTo>
                  <a:lnTo>
                    <a:pt x="68" y="1234"/>
                  </a:lnTo>
                  <a:lnTo>
                    <a:pt x="45" y="1211"/>
                  </a:lnTo>
                  <a:lnTo>
                    <a:pt x="26" y="1185"/>
                  </a:lnTo>
                  <a:lnTo>
                    <a:pt x="12" y="1155"/>
                  </a:lnTo>
                  <a:lnTo>
                    <a:pt x="3" y="1123"/>
                  </a:lnTo>
                  <a:lnTo>
                    <a:pt x="0" y="1088"/>
                  </a:lnTo>
                  <a:lnTo>
                    <a:pt x="3" y="1053"/>
                  </a:lnTo>
                  <a:lnTo>
                    <a:pt x="13" y="1020"/>
                  </a:lnTo>
                  <a:lnTo>
                    <a:pt x="27" y="990"/>
                  </a:lnTo>
                  <a:lnTo>
                    <a:pt x="47" y="964"/>
                  </a:lnTo>
                  <a:lnTo>
                    <a:pt x="71" y="941"/>
                  </a:lnTo>
                  <a:lnTo>
                    <a:pt x="97" y="922"/>
                  </a:lnTo>
                  <a:lnTo>
                    <a:pt x="128" y="907"/>
                  </a:lnTo>
                  <a:lnTo>
                    <a:pt x="128" y="159"/>
                  </a:lnTo>
                  <a:lnTo>
                    <a:pt x="3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7"/>
            <p:cNvSpPr>
              <a:spLocks noEditPoints="1"/>
            </p:cNvSpPr>
            <p:nvPr/>
          </p:nvSpPr>
          <p:spPr bwMode="auto">
            <a:xfrm>
              <a:off x="1857" y="2480"/>
              <a:ext cx="703" cy="383"/>
            </a:xfrm>
            <a:custGeom>
              <a:avLst/>
              <a:gdLst>
                <a:gd name="T0" fmla="*/ 192 w 703"/>
                <a:gd name="T1" fmla="*/ 128 h 383"/>
                <a:gd name="T2" fmla="*/ 172 w 703"/>
                <a:gd name="T3" fmla="*/ 131 h 383"/>
                <a:gd name="T4" fmla="*/ 154 w 703"/>
                <a:gd name="T5" fmla="*/ 140 h 383"/>
                <a:gd name="T6" fmla="*/ 141 w 703"/>
                <a:gd name="T7" fmla="*/ 154 h 383"/>
                <a:gd name="T8" fmla="*/ 131 w 703"/>
                <a:gd name="T9" fmla="*/ 172 h 383"/>
                <a:gd name="T10" fmla="*/ 127 w 703"/>
                <a:gd name="T11" fmla="*/ 192 h 383"/>
                <a:gd name="T12" fmla="*/ 131 w 703"/>
                <a:gd name="T13" fmla="*/ 212 h 383"/>
                <a:gd name="T14" fmla="*/ 141 w 703"/>
                <a:gd name="T15" fmla="*/ 229 h 383"/>
                <a:gd name="T16" fmla="*/ 154 w 703"/>
                <a:gd name="T17" fmla="*/ 244 h 383"/>
                <a:gd name="T18" fmla="*/ 172 w 703"/>
                <a:gd name="T19" fmla="*/ 252 h 383"/>
                <a:gd name="T20" fmla="*/ 192 w 703"/>
                <a:gd name="T21" fmla="*/ 256 h 383"/>
                <a:gd name="T22" fmla="*/ 212 w 703"/>
                <a:gd name="T23" fmla="*/ 252 h 383"/>
                <a:gd name="T24" fmla="*/ 230 w 703"/>
                <a:gd name="T25" fmla="*/ 244 h 383"/>
                <a:gd name="T26" fmla="*/ 244 w 703"/>
                <a:gd name="T27" fmla="*/ 229 h 383"/>
                <a:gd name="T28" fmla="*/ 252 w 703"/>
                <a:gd name="T29" fmla="*/ 212 h 383"/>
                <a:gd name="T30" fmla="*/ 256 w 703"/>
                <a:gd name="T31" fmla="*/ 192 h 383"/>
                <a:gd name="T32" fmla="*/ 252 w 703"/>
                <a:gd name="T33" fmla="*/ 172 h 383"/>
                <a:gd name="T34" fmla="*/ 244 w 703"/>
                <a:gd name="T35" fmla="*/ 154 h 383"/>
                <a:gd name="T36" fmla="*/ 230 w 703"/>
                <a:gd name="T37" fmla="*/ 140 h 383"/>
                <a:gd name="T38" fmla="*/ 212 w 703"/>
                <a:gd name="T39" fmla="*/ 131 h 383"/>
                <a:gd name="T40" fmla="*/ 192 w 703"/>
                <a:gd name="T41" fmla="*/ 128 h 383"/>
                <a:gd name="T42" fmla="*/ 192 w 703"/>
                <a:gd name="T43" fmla="*/ 0 h 383"/>
                <a:gd name="T44" fmla="*/ 227 w 703"/>
                <a:gd name="T45" fmla="*/ 3 h 383"/>
                <a:gd name="T46" fmla="*/ 260 w 703"/>
                <a:gd name="T47" fmla="*/ 12 h 383"/>
                <a:gd name="T48" fmla="*/ 290 w 703"/>
                <a:gd name="T49" fmla="*/ 27 h 383"/>
                <a:gd name="T50" fmla="*/ 316 w 703"/>
                <a:gd name="T51" fmla="*/ 47 h 383"/>
                <a:gd name="T52" fmla="*/ 339 w 703"/>
                <a:gd name="T53" fmla="*/ 69 h 383"/>
                <a:gd name="T54" fmla="*/ 358 w 703"/>
                <a:gd name="T55" fmla="*/ 97 h 383"/>
                <a:gd name="T56" fmla="*/ 373 w 703"/>
                <a:gd name="T57" fmla="*/ 128 h 383"/>
                <a:gd name="T58" fmla="*/ 703 w 703"/>
                <a:gd name="T59" fmla="*/ 128 h 383"/>
                <a:gd name="T60" fmla="*/ 703 w 703"/>
                <a:gd name="T61" fmla="*/ 256 h 383"/>
                <a:gd name="T62" fmla="*/ 373 w 703"/>
                <a:gd name="T63" fmla="*/ 256 h 383"/>
                <a:gd name="T64" fmla="*/ 358 w 703"/>
                <a:gd name="T65" fmla="*/ 286 h 383"/>
                <a:gd name="T66" fmla="*/ 339 w 703"/>
                <a:gd name="T67" fmla="*/ 313 h 383"/>
                <a:gd name="T68" fmla="*/ 316 w 703"/>
                <a:gd name="T69" fmla="*/ 337 h 383"/>
                <a:gd name="T70" fmla="*/ 290 w 703"/>
                <a:gd name="T71" fmla="*/ 357 h 383"/>
                <a:gd name="T72" fmla="*/ 260 w 703"/>
                <a:gd name="T73" fmla="*/ 371 h 383"/>
                <a:gd name="T74" fmla="*/ 227 w 703"/>
                <a:gd name="T75" fmla="*/ 381 h 383"/>
                <a:gd name="T76" fmla="*/ 192 w 703"/>
                <a:gd name="T77" fmla="*/ 383 h 383"/>
                <a:gd name="T78" fmla="*/ 157 w 703"/>
                <a:gd name="T79" fmla="*/ 381 h 383"/>
                <a:gd name="T80" fmla="*/ 125 w 703"/>
                <a:gd name="T81" fmla="*/ 371 h 383"/>
                <a:gd name="T82" fmla="*/ 95 w 703"/>
                <a:gd name="T83" fmla="*/ 358 h 383"/>
                <a:gd name="T84" fmla="*/ 69 w 703"/>
                <a:gd name="T85" fmla="*/ 339 h 383"/>
                <a:gd name="T86" fmla="*/ 46 w 703"/>
                <a:gd name="T87" fmla="*/ 316 h 383"/>
                <a:gd name="T88" fmla="*/ 26 w 703"/>
                <a:gd name="T89" fmla="*/ 288 h 383"/>
                <a:gd name="T90" fmla="*/ 12 w 703"/>
                <a:gd name="T91" fmla="*/ 258 h 383"/>
                <a:gd name="T92" fmla="*/ 4 w 703"/>
                <a:gd name="T93" fmla="*/ 226 h 383"/>
                <a:gd name="T94" fmla="*/ 0 w 703"/>
                <a:gd name="T95" fmla="*/ 192 h 383"/>
                <a:gd name="T96" fmla="*/ 4 w 703"/>
                <a:gd name="T97" fmla="*/ 157 h 383"/>
                <a:gd name="T98" fmla="*/ 12 w 703"/>
                <a:gd name="T99" fmla="*/ 125 h 383"/>
                <a:gd name="T100" fmla="*/ 26 w 703"/>
                <a:gd name="T101" fmla="*/ 95 h 383"/>
                <a:gd name="T102" fmla="*/ 46 w 703"/>
                <a:gd name="T103" fmla="*/ 68 h 383"/>
                <a:gd name="T104" fmla="*/ 69 w 703"/>
                <a:gd name="T105" fmla="*/ 45 h 383"/>
                <a:gd name="T106" fmla="*/ 95 w 703"/>
                <a:gd name="T107" fmla="*/ 26 h 383"/>
                <a:gd name="T108" fmla="*/ 125 w 703"/>
                <a:gd name="T109" fmla="*/ 12 h 383"/>
                <a:gd name="T110" fmla="*/ 157 w 703"/>
                <a:gd name="T111" fmla="*/ 3 h 383"/>
                <a:gd name="T112" fmla="*/ 192 w 703"/>
                <a:gd name="T1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3" h="383">
                  <a:moveTo>
                    <a:pt x="192" y="128"/>
                  </a:moveTo>
                  <a:lnTo>
                    <a:pt x="172" y="131"/>
                  </a:lnTo>
                  <a:lnTo>
                    <a:pt x="154" y="140"/>
                  </a:lnTo>
                  <a:lnTo>
                    <a:pt x="141" y="154"/>
                  </a:lnTo>
                  <a:lnTo>
                    <a:pt x="131" y="172"/>
                  </a:lnTo>
                  <a:lnTo>
                    <a:pt x="127" y="192"/>
                  </a:lnTo>
                  <a:lnTo>
                    <a:pt x="131" y="212"/>
                  </a:lnTo>
                  <a:lnTo>
                    <a:pt x="141" y="229"/>
                  </a:lnTo>
                  <a:lnTo>
                    <a:pt x="154" y="244"/>
                  </a:lnTo>
                  <a:lnTo>
                    <a:pt x="172" y="252"/>
                  </a:lnTo>
                  <a:lnTo>
                    <a:pt x="192" y="256"/>
                  </a:lnTo>
                  <a:lnTo>
                    <a:pt x="212" y="252"/>
                  </a:lnTo>
                  <a:lnTo>
                    <a:pt x="230" y="244"/>
                  </a:lnTo>
                  <a:lnTo>
                    <a:pt x="244" y="229"/>
                  </a:lnTo>
                  <a:lnTo>
                    <a:pt x="252" y="212"/>
                  </a:lnTo>
                  <a:lnTo>
                    <a:pt x="256" y="192"/>
                  </a:lnTo>
                  <a:lnTo>
                    <a:pt x="252" y="172"/>
                  </a:lnTo>
                  <a:lnTo>
                    <a:pt x="244" y="154"/>
                  </a:lnTo>
                  <a:lnTo>
                    <a:pt x="230" y="140"/>
                  </a:lnTo>
                  <a:lnTo>
                    <a:pt x="212" y="131"/>
                  </a:lnTo>
                  <a:lnTo>
                    <a:pt x="192" y="128"/>
                  </a:lnTo>
                  <a:close/>
                  <a:moveTo>
                    <a:pt x="192" y="0"/>
                  </a:moveTo>
                  <a:lnTo>
                    <a:pt x="227" y="3"/>
                  </a:lnTo>
                  <a:lnTo>
                    <a:pt x="260" y="12"/>
                  </a:lnTo>
                  <a:lnTo>
                    <a:pt x="290" y="27"/>
                  </a:lnTo>
                  <a:lnTo>
                    <a:pt x="316" y="47"/>
                  </a:lnTo>
                  <a:lnTo>
                    <a:pt x="339" y="69"/>
                  </a:lnTo>
                  <a:lnTo>
                    <a:pt x="358" y="97"/>
                  </a:lnTo>
                  <a:lnTo>
                    <a:pt x="373" y="128"/>
                  </a:lnTo>
                  <a:lnTo>
                    <a:pt x="703" y="128"/>
                  </a:lnTo>
                  <a:lnTo>
                    <a:pt x="703" y="256"/>
                  </a:lnTo>
                  <a:lnTo>
                    <a:pt x="373" y="256"/>
                  </a:lnTo>
                  <a:lnTo>
                    <a:pt x="358" y="286"/>
                  </a:lnTo>
                  <a:lnTo>
                    <a:pt x="339" y="313"/>
                  </a:lnTo>
                  <a:lnTo>
                    <a:pt x="316" y="337"/>
                  </a:lnTo>
                  <a:lnTo>
                    <a:pt x="290" y="357"/>
                  </a:lnTo>
                  <a:lnTo>
                    <a:pt x="260" y="371"/>
                  </a:lnTo>
                  <a:lnTo>
                    <a:pt x="227" y="381"/>
                  </a:lnTo>
                  <a:lnTo>
                    <a:pt x="192" y="383"/>
                  </a:lnTo>
                  <a:lnTo>
                    <a:pt x="157" y="381"/>
                  </a:lnTo>
                  <a:lnTo>
                    <a:pt x="125" y="371"/>
                  </a:lnTo>
                  <a:lnTo>
                    <a:pt x="95" y="358"/>
                  </a:lnTo>
                  <a:lnTo>
                    <a:pt x="69" y="339"/>
                  </a:lnTo>
                  <a:lnTo>
                    <a:pt x="46" y="316"/>
                  </a:lnTo>
                  <a:lnTo>
                    <a:pt x="26" y="288"/>
                  </a:lnTo>
                  <a:lnTo>
                    <a:pt x="12" y="258"/>
                  </a:lnTo>
                  <a:lnTo>
                    <a:pt x="4" y="226"/>
                  </a:lnTo>
                  <a:lnTo>
                    <a:pt x="0" y="192"/>
                  </a:lnTo>
                  <a:lnTo>
                    <a:pt x="4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6" y="68"/>
                  </a:lnTo>
                  <a:lnTo>
                    <a:pt x="69" y="45"/>
                  </a:lnTo>
                  <a:lnTo>
                    <a:pt x="95" y="26"/>
                  </a:lnTo>
                  <a:lnTo>
                    <a:pt x="125" y="12"/>
                  </a:lnTo>
                  <a:lnTo>
                    <a:pt x="157" y="3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8"/>
            <p:cNvSpPr>
              <a:spLocks noEditPoints="1"/>
            </p:cNvSpPr>
            <p:nvPr/>
          </p:nvSpPr>
          <p:spPr bwMode="auto">
            <a:xfrm>
              <a:off x="1857" y="1968"/>
              <a:ext cx="703" cy="384"/>
            </a:xfrm>
            <a:custGeom>
              <a:avLst/>
              <a:gdLst>
                <a:gd name="T0" fmla="*/ 192 w 703"/>
                <a:gd name="T1" fmla="*/ 128 h 384"/>
                <a:gd name="T2" fmla="*/ 172 w 703"/>
                <a:gd name="T3" fmla="*/ 131 h 384"/>
                <a:gd name="T4" fmla="*/ 154 w 703"/>
                <a:gd name="T5" fmla="*/ 140 h 384"/>
                <a:gd name="T6" fmla="*/ 141 w 703"/>
                <a:gd name="T7" fmla="*/ 155 h 384"/>
                <a:gd name="T8" fmla="*/ 131 w 703"/>
                <a:gd name="T9" fmla="*/ 172 h 384"/>
                <a:gd name="T10" fmla="*/ 127 w 703"/>
                <a:gd name="T11" fmla="*/ 192 h 384"/>
                <a:gd name="T12" fmla="*/ 131 w 703"/>
                <a:gd name="T13" fmla="*/ 212 h 384"/>
                <a:gd name="T14" fmla="*/ 141 w 703"/>
                <a:gd name="T15" fmla="*/ 229 h 384"/>
                <a:gd name="T16" fmla="*/ 154 w 703"/>
                <a:gd name="T17" fmla="*/ 244 h 384"/>
                <a:gd name="T18" fmla="*/ 172 w 703"/>
                <a:gd name="T19" fmla="*/ 253 h 384"/>
                <a:gd name="T20" fmla="*/ 192 w 703"/>
                <a:gd name="T21" fmla="*/ 256 h 384"/>
                <a:gd name="T22" fmla="*/ 212 w 703"/>
                <a:gd name="T23" fmla="*/ 253 h 384"/>
                <a:gd name="T24" fmla="*/ 230 w 703"/>
                <a:gd name="T25" fmla="*/ 244 h 384"/>
                <a:gd name="T26" fmla="*/ 244 w 703"/>
                <a:gd name="T27" fmla="*/ 229 h 384"/>
                <a:gd name="T28" fmla="*/ 252 w 703"/>
                <a:gd name="T29" fmla="*/ 212 h 384"/>
                <a:gd name="T30" fmla="*/ 256 w 703"/>
                <a:gd name="T31" fmla="*/ 192 h 384"/>
                <a:gd name="T32" fmla="*/ 252 w 703"/>
                <a:gd name="T33" fmla="*/ 172 h 384"/>
                <a:gd name="T34" fmla="*/ 244 w 703"/>
                <a:gd name="T35" fmla="*/ 155 h 384"/>
                <a:gd name="T36" fmla="*/ 230 w 703"/>
                <a:gd name="T37" fmla="*/ 140 h 384"/>
                <a:gd name="T38" fmla="*/ 212 w 703"/>
                <a:gd name="T39" fmla="*/ 131 h 384"/>
                <a:gd name="T40" fmla="*/ 192 w 703"/>
                <a:gd name="T41" fmla="*/ 128 h 384"/>
                <a:gd name="T42" fmla="*/ 192 w 703"/>
                <a:gd name="T43" fmla="*/ 0 h 384"/>
                <a:gd name="T44" fmla="*/ 227 w 703"/>
                <a:gd name="T45" fmla="*/ 3 h 384"/>
                <a:gd name="T46" fmla="*/ 260 w 703"/>
                <a:gd name="T47" fmla="*/ 13 h 384"/>
                <a:gd name="T48" fmla="*/ 290 w 703"/>
                <a:gd name="T49" fmla="*/ 27 h 384"/>
                <a:gd name="T50" fmla="*/ 316 w 703"/>
                <a:gd name="T51" fmla="*/ 47 h 384"/>
                <a:gd name="T52" fmla="*/ 339 w 703"/>
                <a:gd name="T53" fmla="*/ 71 h 384"/>
                <a:gd name="T54" fmla="*/ 358 w 703"/>
                <a:gd name="T55" fmla="*/ 97 h 384"/>
                <a:gd name="T56" fmla="*/ 373 w 703"/>
                <a:gd name="T57" fmla="*/ 128 h 384"/>
                <a:gd name="T58" fmla="*/ 703 w 703"/>
                <a:gd name="T59" fmla="*/ 128 h 384"/>
                <a:gd name="T60" fmla="*/ 703 w 703"/>
                <a:gd name="T61" fmla="*/ 256 h 384"/>
                <a:gd name="T62" fmla="*/ 373 w 703"/>
                <a:gd name="T63" fmla="*/ 256 h 384"/>
                <a:gd name="T64" fmla="*/ 358 w 703"/>
                <a:gd name="T65" fmla="*/ 287 h 384"/>
                <a:gd name="T66" fmla="*/ 339 w 703"/>
                <a:gd name="T67" fmla="*/ 313 h 384"/>
                <a:gd name="T68" fmla="*/ 316 w 703"/>
                <a:gd name="T69" fmla="*/ 337 h 384"/>
                <a:gd name="T70" fmla="*/ 290 w 703"/>
                <a:gd name="T71" fmla="*/ 357 h 384"/>
                <a:gd name="T72" fmla="*/ 260 w 703"/>
                <a:gd name="T73" fmla="*/ 371 h 384"/>
                <a:gd name="T74" fmla="*/ 227 w 703"/>
                <a:gd name="T75" fmla="*/ 381 h 384"/>
                <a:gd name="T76" fmla="*/ 192 w 703"/>
                <a:gd name="T77" fmla="*/ 384 h 384"/>
                <a:gd name="T78" fmla="*/ 157 w 703"/>
                <a:gd name="T79" fmla="*/ 381 h 384"/>
                <a:gd name="T80" fmla="*/ 125 w 703"/>
                <a:gd name="T81" fmla="*/ 372 h 384"/>
                <a:gd name="T82" fmla="*/ 95 w 703"/>
                <a:gd name="T83" fmla="*/ 358 h 384"/>
                <a:gd name="T84" fmla="*/ 69 w 703"/>
                <a:gd name="T85" fmla="*/ 339 h 384"/>
                <a:gd name="T86" fmla="*/ 46 w 703"/>
                <a:gd name="T87" fmla="*/ 316 h 384"/>
                <a:gd name="T88" fmla="*/ 26 w 703"/>
                <a:gd name="T89" fmla="*/ 289 h 384"/>
                <a:gd name="T90" fmla="*/ 12 w 703"/>
                <a:gd name="T91" fmla="*/ 259 h 384"/>
                <a:gd name="T92" fmla="*/ 4 w 703"/>
                <a:gd name="T93" fmla="*/ 227 h 384"/>
                <a:gd name="T94" fmla="*/ 0 w 703"/>
                <a:gd name="T95" fmla="*/ 192 h 384"/>
                <a:gd name="T96" fmla="*/ 4 w 703"/>
                <a:gd name="T97" fmla="*/ 157 h 384"/>
                <a:gd name="T98" fmla="*/ 12 w 703"/>
                <a:gd name="T99" fmla="*/ 125 h 384"/>
                <a:gd name="T100" fmla="*/ 26 w 703"/>
                <a:gd name="T101" fmla="*/ 95 h 384"/>
                <a:gd name="T102" fmla="*/ 46 w 703"/>
                <a:gd name="T103" fmla="*/ 68 h 384"/>
                <a:gd name="T104" fmla="*/ 69 w 703"/>
                <a:gd name="T105" fmla="*/ 45 h 384"/>
                <a:gd name="T106" fmla="*/ 95 w 703"/>
                <a:gd name="T107" fmla="*/ 26 h 384"/>
                <a:gd name="T108" fmla="*/ 125 w 703"/>
                <a:gd name="T109" fmla="*/ 12 h 384"/>
                <a:gd name="T110" fmla="*/ 157 w 703"/>
                <a:gd name="T111" fmla="*/ 3 h 384"/>
                <a:gd name="T112" fmla="*/ 192 w 703"/>
                <a:gd name="T113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3" h="384">
                  <a:moveTo>
                    <a:pt x="192" y="128"/>
                  </a:moveTo>
                  <a:lnTo>
                    <a:pt x="172" y="131"/>
                  </a:lnTo>
                  <a:lnTo>
                    <a:pt x="154" y="140"/>
                  </a:lnTo>
                  <a:lnTo>
                    <a:pt x="141" y="155"/>
                  </a:lnTo>
                  <a:lnTo>
                    <a:pt x="131" y="172"/>
                  </a:lnTo>
                  <a:lnTo>
                    <a:pt x="127" y="192"/>
                  </a:lnTo>
                  <a:lnTo>
                    <a:pt x="131" y="212"/>
                  </a:lnTo>
                  <a:lnTo>
                    <a:pt x="141" y="229"/>
                  </a:lnTo>
                  <a:lnTo>
                    <a:pt x="154" y="244"/>
                  </a:lnTo>
                  <a:lnTo>
                    <a:pt x="172" y="253"/>
                  </a:lnTo>
                  <a:lnTo>
                    <a:pt x="192" y="256"/>
                  </a:lnTo>
                  <a:lnTo>
                    <a:pt x="212" y="253"/>
                  </a:lnTo>
                  <a:lnTo>
                    <a:pt x="230" y="244"/>
                  </a:lnTo>
                  <a:lnTo>
                    <a:pt x="244" y="229"/>
                  </a:lnTo>
                  <a:lnTo>
                    <a:pt x="252" y="212"/>
                  </a:lnTo>
                  <a:lnTo>
                    <a:pt x="256" y="192"/>
                  </a:lnTo>
                  <a:lnTo>
                    <a:pt x="252" y="172"/>
                  </a:lnTo>
                  <a:lnTo>
                    <a:pt x="244" y="155"/>
                  </a:lnTo>
                  <a:lnTo>
                    <a:pt x="230" y="140"/>
                  </a:lnTo>
                  <a:lnTo>
                    <a:pt x="212" y="131"/>
                  </a:lnTo>
                  <a:lnTo>
                    <a:pt x="192" y="128"/>
                  </a:lnTo>
                  <a:close/>
                  <a:moveTo>
                    <a:pt x="192" y="0"/>
                  </a:moveTo>
                  <a:lnTo>
                    <a:pt x="227" y="3"/>
                  </a:lnTo>
                  <a:lnTo>
                    <a:pt x="260" y="13"/>
                  </a:lnTo>
                  <a:lnTo>
                    <a:pt x="290" y="27"/>
                  </a:lnTo>
                  <a:lnTo>
                    <a:pt x="316" y="47"/>
                  </a:lnTo>
                  <a:lnTo>
                    <a:pt x="339" y="71"/>
                  </a:lnTo>
                  <a:lnTo>
                    <a:pt x="358" y="97"/>
                  </a:lnTo>
                  <a:lnTo>
                    <a:pt x="373" y="128"/>
                  </a:lnTo>
                  <a:lnTo>
                    <a:pt x="703" y="128"/>
                  </a:lnTo>
                  <a:lnTo>
                    <a:pt x="703" y="256"/>
                  </a:lnTo>
                  <a:lnTo>
                    <a:pt x="373" y="256"/>
                  </a:lnTo>
                  <a:lnTo>
                    <a:pt x="358" y="287"/>
                  </a:lnTo>
                  <a:lnTo>
                    <a:pt x="339" y="313"/>
                  </a:lnTo>
                  <a:lnTo>
                    <a:pt x="316" y="337"/>
                  </a:lnTo>
                  <a:lnTo>
                    <a:pt x="290" y="357"/>
                  </a:lnTo>
                  <a:lnTo>
                    <a:pt x="260" y="371"/>
                  </a:lnTo>
                  <a:lnTo>
                    <a:pt x="227" y="381"/>
                  </a:lnTo>
                  <a:lnTo>
                    <a:pt x="192" y="384"/>
                  </a:lnTo>
                  <a:lnTo>
                    <a:pt x="157" y="381"/>
                  </a:lnTo>
                  <a:lnTo>
                    <a:pt x="125" y="372"/>
                  </a:lnTo>
                  <a:lnTo>
                    <a:pt x="95" y="358"/>
                  </a:lnTo>
                  <a:lnTo>
                    <a:pt x="69" y="339"/>
                  </a:lnTo>
                  <a:lnTo>
                    <a:pt x="46" y="316"/>
                  </a:lnTo>
                  <a:lnTo>
                    <a:pt x="26" y="289"/>
                  </a:lnTo>
                  <a:lnTo>
                    <a:pt x="12" y="259"/>
                  </a:lnTo>
                  <a:lnTo>
                    <a:pt x="4" y="227"/>
                  </a:lnTo>
                  <a:lnTo>
                    <a:pt x="0" y="192"/>
                  </a:lnTo>
                  <a:lnTo>
                    <a:pt x="4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6" y="68"/>
                  </a:lnTo>
                  <a:lnTo>
                    <a:pt x="69" y="45"/>
                  </a:lnTo>
                  <a:lnTo>
                    <a:pt x="95" y="26"/>
                  </a:lnTo>
                  <a:lnTo>
                    <a:pt x="125" y="12"/>
                  </a:lnTo>
                  <a:lnTo>
                    <a:pt x="157" y="3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9"/>
            <p:cNvSpPr>
              <a:spLocks noChangeArrowheads="1"/>
            </p:cNvSpPr>
            <p:nvPr/>
          </p:nvSpPr>
          <p:spPr bwMode="auto">
            <a:xfrm>
              <a:off x="2305" y="2352"/>
              <a:ext cx="255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10"/>
            <p:cNvSpPr>
              <a:spLocks noChangeArrowheads="1"/>
            </p:cNvSpPr>
            <p:nvPr/>
          </p:nvSpPr>
          <p:spPr bwMode="auto">
            <a:xfrm>
              <a:off x="2305" y="1840"/>
              <a:ext cx="255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11"/>
            <p:cNvSpPr>
              <a:spLocks noChangeArrowheads="1"/>
            </p:cNvSpPr>
            <p:nvPr/>
          </p:nvSpPr>
          <p:spPr bwMode="auto">
            <a:xfrm>
              <a:off x="1857" y="1584"/>
              <a:ext cx="703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2"/>
            <p:cNvSpPr>
              <a:spLocks noEditPoints="1"/>
            </p:cNvSpPr>
            <p:nvPr/>
          </p:nvSpPr>
          <p:spPr bwMode="auto">
            <a:xfrm>
              <a:off x="1984" y="689"/>
              <a:ext cx="576" cy="768"/>
            </a:xfrm>
            <a:custGeom>
              <a:avLst/>
              <a:gdLst>
                <a:gd name="T0" fmla="*/ 193 w 576"/>
                <a:gd name="T1" fmla="*/ 127 h 768"/>
                <a:gd name="T2" fmla="*/ 172 w 576"/>
                <a:gd name="T3" fmla="*/ 131 h 768"/>
                <a:gd name="T4" fmla="*/ 155 w 576"/>
                <a:gd name="T5" fmla="*/ 141 h 768"/>
                <a:gd name="T6" fmla="*/ 141 w 576"/>
                <a:gd name="T7" fmla="*/ 154 h 768"/>
                <a:gd name="T8" fmla="*/ 133 w 576"/>
                <a:gd name="T9" fmla="*/ 172 h 768"/>
                <a:gd name="T10" fmla="*/ 129 w 576"/>
                <a:gd name="T11" fmla="*/ 191 h 768"/>
                <a:gd name="T12" fmla="*/ 133 w 576"/>
                <a:gd name="T13" fmla="*/ 211 h 768"/>
                <a:gd name="T14" fmla="*/ 141 w 576"/>
                <a:gd name="T15" fmla="*/ 230 h 768"/>
                <a:gd name="T16" fmla="*/ 155 w 576"/>
                <a:gd name="T17" fmla="*/ 243 h 768"/>
                <a:gd name="T18" fmla="*/ 172 w 576"/>
                <a:gd name="T19" fmla="*/ 252 h 768"/>
                <a:gd name="T20" fmla="*/ 193 w 576"/>
                <a:gd name="T21" fmla="*/ 256 h 768"/>
                <a:gd name="T22" fmla="*/ 213 w 576"/>
                <a:gd name="T23" fmla="*/ 252 h 768"/>
                <a:gd name="T24" fmla="*/ 231 w 576"/>
                <a:gd name="T25" fmla="*/ 243 h 768"/>
                <a:gd name="T26" fmla="*/ 244 w 576"/>
                <a:gd name="T27" fmla="*/ 230 h 768"/>
                <a:gd name="T28" fmla="*/ 254 w 576"/>
                <a:gd name="T29" fmla="*/ 211 h 768"/>
                <a:gd name="T30" fmla="*/ 256 w 576"/>
                <a:gd name="T31" fmla="*/ 191 h 768"/>
                <a:gd name="T32" fmla="*/ 254 w 576"/>
                <a:gd name="T33" fmla="*/ 172 h 768"/>
                <a:gd name="T34" fmla="*/ 244 w 576"/>
                <a:gd name="T35" fmla="*/ 154 h 768"/>
                <a:gd name="T36" fmla="*/ 231 w 576"/>
                <a:gd name="T37" fmla="*/ 141 h 768"/>
                <a:gd name="T38" fmla="*/ 213 w 576"/>
                <a:gd name="T39" fmla="*/ 131 h 768"/>
                <a:gd name="T40" fmla="*/ 193 w 576"/>
                <a:gd name="T41" fmla="*/ 127 h 768"/>
                <a:gd name="T42" fmla="*/ 193 w 576"/>
                <a:gd name="T43" fmla="*/ 0 h 768"/>
                <a:gd name="T44" fmla="*/ 228 w 576"/>
                <a:gd name="T45" fmla="*/ 2 h 768"/>
                <a:gd name="T46" fmla="*/ 260 w 576"/>
                <a:gd name="T47" fmla="*/ 12 h 768"/>
                <a:gd name="T48" fmla="*/ 290 w 576"/>
                <a:gd name="T49" fmla="*/ 26 h 768"/>
                <a:gd name="T50" fmla="*/ 316 w 576"/>
                <a:gd name="T51" fmla="*/ 44 h 768"/>
                <a:gd name="T52" fmla="*/ 339 w 576"/>
                <a:gd name="T53" fmla="*/ 68 h 768"/>
                <a:gd name="T54" fmla="*/ 359 w 576"/>
                <a:gd name="T55" fmla="*/ 95 h 768"/>
                <a:gd name="T56" fmla="*/ 373 w 576"/>
                <a:gd name="T57" fmla="*/ 125 h 768"/>
                <a:gd name="T58" fmla="*/ 381 w 576"/>
                <a:gd name="T59" fmla="*/ 157 h 768"/>
                <a:gd name="T60" fmla="*/ 385 w 576"/>
                <a:gd name="T61" fmla="*/ 191 h 768"/>
                <a:gd name="T62" fmla="*/ 381 w 576"/>
                <a:gd name="T63" fmla="*/ 226 h 768"/>
                <a:gd name="T64" fmla="*/ 373 w 576"/>
                <a:gd name="T65" fmla="*/ 260 h 768"/>
                <a:gd name="T66" fmla="*/ 357 w 576"/>
                <a:gd name="T67" fmla="*/ 290 h 768"/>
                <a:gd name="T68" fmla="*/ 338 w 576"/>
                <a:gd name="T69" fmla="*/ 316 h 768"/>
                <a:gd name="T70" fmla="*/ 314 w 576"/>
                <a:gd name="T71" fmla="*/ 339 h 768"/>
                <a:gd name="T72" fmla="*/ 288 w 576"/>
                <a:gd name="T73" fmla="*/ 358 h 768"/>
                <a:gd name="T74" fmla="*/ 256 w 576"/>
                <a:gd name="T75" fmla="*/ 371 h 768"/>
                <a:gd name="T76" fmla="*/ 256 w 576"/>
                <a:gd name="T77" fmla="*/ 486 h 768"/>
                <a:gd name="T78" fmla="*/ 411 w 576"/>
                <a:gd name="T79" fmla="*/ 639 h 768"/>
                <a:gd name="T80" fmla="*/ 576 w 576"/>
                <a:gd name="T81" fmla="*/ 639 h 768"/>
                <a:gd name="T82" fmla="*/ 576 w 576"/>
                <a:gd name="T83" fmla="*/ 768 h 768"/>
                <a:gd name="T84" fmla="*/ 359 w 576"/>
                <a:gd name="T85" fmla="*/ 768 h 768"/>
                <a:gd name="T86" fmla="*/ 129 w 576"/>
                <a:gd name="T87" fmla="*/ 538 h 768"/>
                <a:gd name="T88" fmla="*/ 129 w 576"/>
                <a:gd name="T89" fmla="*/ 371 h 768"/>
                <a:gd name="T90" fmla="*/ 99 w 576"/>
                <a:gd name="T91" fmla="*/ 358 h 768"/>
                <a:gd name="T92" fmla="*/ 71 w 576"/>
                <a:gd name="T93" fmla="*/ 339 h 768"/>
                <a:gd name="T94" fmla="*/ 47 w 576"/>
                <a:gd name="T95" fmla="*/ 316 h 768"/>
                <a:gd name="T96" fmla="*/ 28 w 576"/>
                <a:gd name="T97" fmla="*/ 290 h 768"/>
                <a:gd name="T98" fmla="*/ 14 w 576"/>
                <a:gd name="T99" fmla="*/ 260 h 768"/>
                <a:gd name="T100" fmla="*/ 4 w 576"/>
                <a:gd name="T101" fmla="*/ 226 h 768"/>
                <a:gd name="T102" fmla="*/ 0 w 576"/>
                <a:gd name="T103" fmla="*/ 191 h 768"/>
                <a:gd name="T104" fmla="*/ 4 w 576"/>
                <a:gd name="T105" fmla="*/ 157 h 768"/>
                <a:gd name="T106" fmla="*/ 12 w 576"/>
                <a:gd name="T107" fmla="*/ 125 h 768"/>
                <a:gd name="T108" fmla="*/ 27 w 576"/>
                <a:gd name="T109" fmla="*/ 95 h 768"/>
                <a:gd name="T110" fmla="*/ 46 w 576"/>
                <a:gd name="T111" fmla="*/ 68 h 768"/>
                <a:gd name="T112" fmla="*/ 69 w 576"/>
                <a:gd name="T113" fmla="*/ 44 h 768"/>
                <a:gd name="T114" fmla="*/ 97 w 576"/>
                <a:gd name="T115" fmla="*/ 26 h 768"/>
                <a:gd name="T116" fmla="*/ 125 w 576"/>
                <a:gd name="T117" fmla="*/ 12 h 768"/>
                <a:gd name="T118" fmla="*/ 158 w 576"/>
                <a:gd name="T119" fmla="*/ 2 h 768"/>
                <a:gd name="T120" fmla="*/ 193 w 576"/>
                <a:gd name="T121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6" h="768">
                  <a:moveTo>
                    <a:pt x="193" y="127"/>
                  </a:moveTo>
                  <a:lnTo>
                    <a:pt x="172" y="131"/>
                  </a:lnTo>
                  <a:lnTo>
                    <a:pt x="155" y="141"/>
                  </a:lnTo>
                  <a:lnTo>
                    <a:pt x="141" y="154"/>
                  </a:lnTo>
                  <a:lnTo>
                    <a:pt x="133" y="172"/>
                  </a:lnTo>
                  <a:lnTo>
                    <a:pt x="129" y="191"/>
                  </a:lnTo>
                  <a:lnTo>
                    <a:pt x="133" y="211"/>
                  </a:lnTo>
                  <a:lnTo>
                    <a:pt x="141" y="230"/>
                  </a:lnTo>
                  <a:lnTo>
                    <a:pt x="155" y="243"/>
                  </a:lnTo>
                  <a:lnTo>
                    <a:pt x="172" y="252"/>
                  </a:lnTo>
                  <a:lnTo>
                    <a:pt x="193" y="256"/>
                  </a:lnTo>
                  <a:lnTo>
                    <a:pt x="213" y="252"/>
                  </a:lnTo>
                  <a:lnTo>
                    <a:pt x="231" y="243"/>
                  </a:lnTo>
                  <a:lnTo>
                    <a:pt x="244" y="230"/>
                  </a:lnTo>
                  <a:lnTo>
                    <a:pt x="254" y="211"/>
                  </a:lnTo>
                  <a:lnTo>
                    <a:pt x="256" y="191"/>
                  </a:lnTo>
                  <a:lnTo>
                    <a:pt x="254" y="172"/>
                  </a:lnTo>
                  <a:lnTo>
                    <a:pt x="244" y="154"/>
                  </a:lnTo>
                  <a:lnTo>
                    <a:pt x="231" y="141"/>
                  </a:lnTo>
                  <a:lnTo>
                    <a:pt x="213" y="131"/>
                  </a:lnTo>
                  <a:lnTo>
                    <a:pt x="193" y="127"/>
                  </a:lnTo>
                  <a:close/>
                  <a:moveTo>
                    <a:pt x="193" y="0"/>
                  </a:moveTo>
                  <a:lnTo>
                    <a:pt x="228" y="2"/>
                  </a:lnTo>
                  <a:lnTo>
                    <a:pt x="260" y="12"/>
                  </a:lnTo>
                  <a:lnTo>
                    <a:pt x="290" y="26"/>
                  </a:lnTo>
                  <a:lnTo>
                    <a:pt x="316" y="44"/>
                  </a:lnTo>
                  <a:lnTo>
                    <a:pt x="339" y="68"/>
                  </a:lnTo>
                  <a:lnTo>
                    <a:pt x="359" y="95"/>
                  </a:lnTo>
                  <a:lnTo>
                    <a:pt x="373" y="125"/>
                  </a:lnTo>
                  <a:lnTo>
                    <a:pt x="381" y="157"/>
                  </a:lnTo>
                  <a:lnTo>
                    <a:pt x="385" y="191"/>
                  </a:lnTo>
                  <a:lnTo>
                    <a:pt x="381" y="226"/>
                  </a:lnTo>
                  <a:lnTo>
                    <a:pt x="373" y="260"/>
                  </a:lnTo>
                  <a:lnTo>
                    <a:pt x="357" y="290"/>
                  </a:lnTo>
                  <a:lnTo>
                    <a:pt x="338" y="316"/>
                  </a:lnTo>
                  <a:lnTo>
                    <a:pt x="314" y="339"/>
                  </a:lnTo>
                  <a:lnTo>
                    <a:pt x="288" y="358"/>
                  </a:lnTo>
                  <a:lnTo>
                    <a:pt x="256" y="371"/>
                  </a:lnTo>
                  <a:lnTo>
                    <a:pt x="256" y="486"/>
                  </a:lnTo>
                  <a:lnTo>
                    <a:pt x="411" y="639"/>
                  </a:lnTo>
                  <a:lnTo>
                    <a:pt x="576" y="639"/>
                  </a:lnTo>
                  <a:lnTo>
                    <a:pt x="576" y="768"/>
                  </a:lnTo>
                  <a:lnTo>
                    <a:pt x="359" y="768"/>
                  </a:lnTo>
                  <a:lnTo>
                    <a:pt x="129" y="538"/>
                  </a:lnTo>
                  <a:lnTo>
                    <a:pt x="129" y="371"/>
                  </a:lnTo>
                  <a:lnTo>
                    <a:pt x="99" y="358"/>
                  </a:lnTo>
                  <a:lnTo>
                    <a:pt x="71" y="339"/>
                  </a:lnTo>
                  <a:lnTo>
                    <a:pt x="47" y="316"/>
                  </a:lnTo>
                  <a:lnTo>
                    <a:pt x="28" y="290"/>
                  </a:lnTo>
                  <a:lnTo>
                    <a:pt x="14" y="260"/>
                  </a:lnTo>
                  <a:lnTo>
                    <a:pt x="4" y="226"/>
                  </a:lnTo>
                  <a:lnTo>
                    <a:pt x="0" y="191"/>
                  </a:lnTo>
                  <a:lnTo>
                    <a:pt x="4" y="157"/>
                  </a:lnTo>
                  <a:lnTo>
                    <a:pt x="12" y="125"/>
                  </a:lnTo>
                  <a:lnTo>
                    <a:pt x="27" y="95"/>
                  </a:lnTo>
                  <a:lnTo>
                    <a:pt x="46" y="68"/>
                  </a:lnTo>
                  <a:lnTo>
                    <a:pt x="69" y="44"/>
                  </a:lnTo>
                  <a:lnTo>
                    <a:pt x="97" y="26"/>
                  </a:lnTo>
                  <a:lnTo>
                    <a:pt x="125" y="12"/>
                  </a:lnTo>
                  <a:lnTo>
                    <a:pt x="158" y="2"/>
                  </a:lnTo>
                  <a:lnTo>
                    <a:pt x="1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3"/>
            <p:cNvSpPr>
              <a:spLocks/>
            </p:cNvSpPr>
            <p:nvPr/>
          </p:nvSpPr>
          <p:spPr bwMode="auto">
            <a:xfrm>
              <a:off x="1857" y="433"/>
              <a:ext cx="1280" cy="447"/>
            </a:xfrm>
            <a:custGeom>
              <a:avLst/>
              <a:gdLst>
                <a:gd name="T0" fmla="*/ 0 w 1280"/>
                <a:gd name="T1" fmla="*/ 0 h 447"/>
                <a:gd name="T2" fmla="*/ 1050 w 1280"/>
                <a:gd name="T3" fmla="*/ 0 h 447"/>
                <a:gd name="T4" fmla="*/ 1280 w 1280"/>
                <a:gd name="T5" fmla="*/ 230 h 447"/>
                <a:gd name="T6" fmla="*/ 1280 w 1280"/>
                <a:gd name="T7" fmla="*/ 447 h 447"/>
                <a:gd name="T8" fmla="*/ 1151 w 1280"/>
                <a:gd name="T9" fmla="*/ 447 h 447"/>
                <a:gd name="T10" fmla="*/ 1151 w 1280"/>
                <a:gd name="T11" fmla="*/ 282 h 447"/>
                <a:gd name="T12" fmla="*/ 998 w 1280"/>
                <a:gd name="T13" fmla="*/ 127 h 447"/>
                <a:gd name="T14" fmla="*/ 0 w 1280"/>
                <a:gd name="T15" fmla="*/ 127 h 447"/>
                <a:gd name="T16" fmla="*/ 0 w 1280"/>
                <a:gd name="T17" fmla="*/ 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0" h="447">
                  <a:moveTo>
                    <a:pt x="0" y="0"/>
                  </a:moveTo>
                  <a:lnTo>
                    <a:pt x="1050" y="0"/>
                  </a:lnTo>
                  <a:lnTo>
                    <a:pt x="1280" y="230"/>
                  </a:lnTo>
                  <a:lnTo>
                    <a:pt x="1280" y="447"/>
                  </a:lnTo>
                  <a:lnTo>
                    <a:pt x="1151" y="447"/>
                  </a:lnTo>
                  <a:lnTo>
                    <a:pt x="1151" y="282"/>
                  </a:lnTo>
                  <a:lnTo>
                    <a:pt x="998" y="127"/>
                  </a:lnTo>
                  <a:lnTo>
                    <a:pt x="0" y="12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4"/>
            <p:cNvSpPr>
              <a:spLocks/>
            </p:cNvSpPr>
            <p:nvPr/>
          </p:nvSpPr>
          <p:spPr bwMode="auto">
            <a:xfrm>
              <a:off x="1857" y="177"/>
              <a:ext cx="1535" cy="703"/>
            </a:xfrm>
            <a:custGeom>
              <a:avLst/>
              <a:gdLst>
                <a:gd name="T0" fmla="*/ 0 w 1535"/>
                <a:gd name="T1" fmla="*/ 0 h 703"/>
                <a:gd name="T2" fmla="*/ 1306 w 1535"/>
                <a:gd name="T3" fmla="*/ 0 h 703"/>
                <a:gd name="T4" fmla="*/ 1535 w 1535"/>
                <a:gd name="T5" fmla="*/ 230 h 703"/>
                <a:gd name="T6" fmla="*/ 1535 w 1535"/>
                <a:gd name="T7" fmla="*/ 703 h 703"/>
                <a:gd name="T8" fmla="*/ 1407 w 1535"/>
                <a:gd name="T9" fmla="*/ 703 h 703"/>
                <a:gd name="T10" fmla="*/ 1407 w 1535"/>
                <a:gd name="T11" fmla="*/ 282 h 703"/>
                <a:gd name="T12" fmla="*/ 1252 w 1535"/>
                <a:gd name="T13" fmla="*/ 127 h 703"/>
                <a:gd name="T14" fmla="*/ 0 w 1535"/>
                <a:gd name="T15" fmla="*/ 127 h 703"/>
                <a:gd name="T16" fmla="*/ 0 w 1535"/>
                <a:gd name="T17" fmla="*/ 0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5" h="703">
                  <a:moveTo>
                    <a:pt x="0" y="0"/>
                  </a:moveTo>
                  <a:lnTo>
                    <a:pt x="1306" y="0"/>
                  </a:lnTo>
                  <a:lnTo>
                    <a:pt x="1535" y="230"/>
                  </a:lnTo>
                  <a:lnTo>
                    <a:pt x="1535" y="703"/>
                  </a:lnTo>
                  <a:lnTo>
                    <a:pt x="1407" y="703"/>
                  </a:lnTo>
                  <a:lnTo>
                    <a:pt x="1407" y="282"/>
                  </a:lnTo>
                  <a:lnTo>
                    <a:pt x="1252" y="127"/>
                  </a:lnTo>
                  <a:lnTo>
                    <a:pt x="0" y="12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15"/>
            <p:cNvSpPr>
              <a:spLocks noChangeArrowheads="1"/>
            </p:cNvSpPr>
            <p:nvPr/>
          </p:nvSpPr>
          <p:spPr bwMode="auto">
            <a:xfrm>
              <a:off x="3520" y="625"/>
              <a:ext cx="128" cy="25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16"/>
            <p:cNvSpPr>
              <a:spLocks noChangeArrowheads="1"/>
            </p:cNvSpPr>
            <p:nvPr/>
          </p:nvSpPr>
          <p:spPr bwMode="auto">
            <a:xfrm>
              <a:off x="4288" y="177"/>
              <a:ext cx="128" cy="70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7"/>
            <p:cNvSpPr>
              <a:spLocks noEditPoints="1"/>
            </p:cNvSpPr>
            <p:nvPr/>
          </p:nvSpPr>
          <p:spPr bwMode="auto">
            <a:xfrm>
              <a:off x="3648" y="177"/>
              <a:ext cx="512" cy="703"/>
            </a:xfrm>
            <a:custGeom>
              <a:avLst/>
              <a:gdLst>
                <a:gd name="T0" fmla="*/ 192 w 512"/>
                <a:gd name="T1" fmla="*/ 127 h 703"/>
                <a:gd name="T2" fmla="*/ 172 w 512"/>
                <a:gd name="T3" fmla="*/ 131 h 703"/>
                <a:gd name="T4" fmla="*/ 155 w 512"/>
                <a:gd name="T5" fmla="*/ 141 h 703"/>
                <a:gd name="T6" fmla="*/ 140 w 512"/>
                <a:gd name="T7" fmla="*/ 154 h 703"/>
                <a:gd name="T8" fmla="*/ 131 w 512"/>
                <a:gd name="T9" fmla="*/ 172 h 703"/>
                <a:gd name="T10" fmla="*/ 128 w 512"/>
                <a:gd name="T11" fmla="*/ 192 h 703"/>
                <a:gd name="T12" fmla="*/ 131 w 512"/>
                <a:gd name="T13" fmla="*/ 212 h 703"/>
                <a:gd name="T14" fmla="*/ 140 w 512"/>
                <a:gd name="T15" fmla="*/ 230 h 703"/>
                <a:gd name="T16" fmla="*/ 155 w 512"/>
                <a:gd name="T17" fmla="*/ 244 h 703"/>
                <a:gd name="T18" fmla="*/ 172 w 512"/>
                <a:gd name="T19" fmla="*/ 252 h 703"/>
                <a:gd name="T20" fmla="*/ 192 w 512"/>
                <a:gd name="T21" fmla="*/ 256 h 703"/>
                <a:gd name="T22" fmla="*/ 212 w 512"/>
                <a:gd name="T23" fmla="*/ 252 h 703"/>
                <a:gd name="T24" fmla="*/ 229 w 512"/>
                <a:gd name="T25" fmla="*/ 244 h 703"/>
                <a:gd name="T26" fmla="*/ 244 w 512"/>
                <a:gd name="T27" fmla="*/ 230 h 703"/>
                <a:gd name="T28" fmla="*/ 253 w 512"/>
                <a:gd name="T29" fmla="*/ 212 h 703"/>
                <a:gd name="T30" fmla="*/ 256 w 512"/>
                <a:gd name="T31" fmla="*/ 192 h 703"/>
                <a:gd name="T32" fmla="*/ 253 w 512"/>
                <a:gd name="T33" fmla="*/ 172 h 703"/>
                <a:gd name="T34" fmla="*/ 244 w 512"/>
                <a:gd name="T35" fmla="*/ 154 h 703"/>
                <a:gd name="T36" fmla="*/ 229 w 512"/>
                <a:gd name="T37" fmla="*/ 141 h 703"/>
                <a:gd name="T38" fmla="*/ 212 w 512"/>
                <a:gd name="T39" fmla="*/ 131 h 703"/>
                <a:gd name="T40" fmla="*/ 192 w 512"/>
                <a:gd name="T41" fmla="*/ 127 h 703"/>
                <a:gd name="T42" fmla="*/ 192 w 512"/>
                <a:gd name="T43" fmla="*/ 0 h 703"/>
                <a:gd name="T44" fmla="*/ 227 w 512"/>
                <a:gd name="T45" fmla="*/ 4 h 703"/>
                <a:gd name="T46" fmla="*/ 259 w 512"/>
                <a:gd name="T47" fmla="*/ 12 h 703"/>
                <a:gd name="T48" fmla="*/ 289 w 512"/>
                <a:gd name="T49" fmla="*/ 26 h 703"/>
                <a:gd name="T50" fmla="*/ 316 w 512"/>
                <a:gd name="T51" fmla="*/ 46 h 703"/>
                <a:gd name="T52" fmla="*/ 339 w 512"/>
                <a:gd name="T53" fmla="*/ 69 h 703"/>
                <a:gd name="T54" fmla="*/ 358 w 512"/>
                <a:gd name="T55" fmla="*/ 95 h 703"/>
                <a:gd name="T56" fmla="*/ 372 w 512"/>
                <a:gd name="T57" fmla="*/ 125 h 703"/>
                <a:gd name="T58" fmla="*/ 381 w 512"/>
                <a:gd name="T59" fmla="*/ 157 h 703"/>
                <a:gd name="T60" fmla="*/ 384 w 512"/>
                <a:gd name="T61" fmla="*/ 192 h 703"/>
                <a:gd name="T62" fmla="*/ 381 w 512"/>
                <a:gd name="T63" fmla="*/ 228 h 703"/>
                <a:gd name="T64" fmla="*/ 370 w 512"/>
                <a:gd name="T65" fmla="*/ 262 h 703"/>
                <a:gd name="T66" fmla="*/ 354 w 512"/>
                <a:gd name="T67" fmla="*/ 293 h 703"/>
                <a:gd name="T68" fmla="*/ 333 w 512"/>
                <a:gd name="T69" fmla="*/ 321 h 703"/>
                <a:gd name="T70" fmla="*/ 307 w 512"/>
                <a:gd name="T71" fmla="*/ 345 h 703"/>
                <a:gd name="T72" fmla="*/ 512 w 512"/>
                <a:gd name="T73" fmla="*/ 549 h 703"/>
                <a:gd name="T74" fmla="*/ 512 w 512"/>
                <a:gd name="T75" fmla="*/ 703 h 703"/>
                <a:gd name="T76" fmla="*/ 384 w 512"/>
                <a:gd name="T77" fmla="*/ 703 h 703"/>
                <a:gd name="T78" fmla="*/ 384 w 512"/>
                <a:gd name="T79" fmla="*/ 602 h 703"/>
                <a:gd name="T80" fmla="*/ 256 w 512"/>
                <a:gd name="T81" fmla="*/ 475 h 703"/>
                <a:gd name="T82" fmla="*/ 256 w 512"/>
                <a:gd name="T83" fmla="*/ 703 h 703"/>
                <a:gd name="T84" fmla="*/ 128 w 512"/>
                <a:gd name="T85" fmla="*/ 703 h 703"/>
                <a:gd name="T86" fmla="*/ 128 w 512"/>
                <a:gd name="T87" fmla="*/ 373 h 703"/>
                <a:gd name="T88" fmla="*/ 97 w 512"/>
                <a:gd name="T89" fmla="*/ 358 h 703"/>
                <a:gd name="T90" fmla="*/ 71 w 512"/>
                <a:gd name="T91" fmla="*/ 339 h 703"/>
                <a:gd name="T92" fmla="*/ 47 w 512"/>
                <a:gd name="T93" fmla="*/ 316 h 703"/>
                <a:gd name="T94" fmla="*/ 27 w 512"/>
                <a:gd name="T95" fmla="*/ 290 h 703"/>
                <a:gd name="T96" fmla="*/ 13 w 512"/>
                <a:gd name="T97" fmla="*/ 260 h 703"/>
                <a:gd name="T98" fmla="*/ 3 w 512"/>
                <a:gd name="T99" fmla="*/ 227 h 703"/>
                <a:gd name="T100" fmla="*/ 0 w 512"/>
                <a:gd name="T101" fmla="*/ 192 h 703"/>
                <a:gd name="T102" fmla="*/ 3 w 512"/>
                <a:gd name="T103" fmla="*/ 157 h 703"/>
                <a:gd name="T104" fmla="*/ 12 w 512"/>
                <a:gd name="T105" fmla="*/ 125 h 703"/>
                <a:gd name="T106" fmla="*/ 26 w 512"/>
                <a:gd name="T107" fmla="*/ 95 h 703"/>
                <a:gd name="T108" fmla="*/ 45 w 512"/>
                <a:gd name="T109" fmla="*/ 69 h 703"/>
                <a:gd name="T110" fmla="*/ 68 w 512"/>
                <a:gd name="T111" fmla="*/ 46 h 703"/>
                <a:gd name="T112" fmla="*/ 95 w 512"/>
                <a:gd name="T113" fmla="*/ 26 h 703"/>
                <a:gd name="T114" fmla="*/ 125 w 512"/>
                <a:gd name="T115" fmla="*/ 12 h 703"/>
                <a:gd name="T116" fmla="*/ 157 w 512"/>
                <a:gd name="T117" fmla="*/ 4 h 703"/>
                <a:gd name="T118" fmla="*/ 192 w 512"/>
                <a:gd name="T119" fmla="*/ 0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2" h="703">
                  <a:moveTo>
                    <a:pt x="192" y="127"/>
                  </a:moveTo>
                  <a:lnTo>
                    <a:pt x="172" y="131"/>
                  </a:lnTo>
                  <a:lnTo>
                    <a:pt x="155" y="141"/>
                  </a:lnTo>
                  <a:lnTo>
                    <a:pt x="140" y="154"/>
                  </a:lnTo>
                  <a:lnTo>
                    <a:pt x="131" y="172"/>
                  </a:lnTo>
                  <a:lnTo>
                    <a:pt x="128" y="192"/>
                  </a:lnTo>
                  <a:lnTo>
                    <a:pt x="131" y="212"/>
                  </a:lnTo>
                  <a:lnTo>
                    <a:pt x="140" y="230"/>
                  </a:lnTo>
                  <a:lnTo>
                    <a:pt x="155" y="244"/>
                  </a:lnTo>
                  <a:lnTo>
                    <a:pt x="172" y="252"/>
                  </a:lnTo>
                  <a:lnTo>
                    <a:pt x="192" y="256"/>
                  </a:lnTo>
                  <a:lnTo>
                    <a:pt x="212" y="252"/>
                  </a:lnTo>
                  <a:lnTo>
                    <a:pt x="229" y="244"/>
                  </a:lnTo>
                  <a:lnTo>
                    <a:pt x="244" y="230"/>
                  </a:lnTo>
                  <a:lnTo>
                    <a:pt x="253" y="212"/>
                  </a:lnTo>
                  <a:lnTo>
                    <a:pt x="256" y="192"/>
                  </a:lnTo>
                  <a:lnTo>
                    <a:pt x="253" y="172"/>
                  </a:lnTo>
                  <a:lnTo>
                    <a:pt x="244" y="154"/>
                  </a:lnTo>
                  <a:lnTo>
                    <a:pt x="229" y="141"/>
                  </a:lnTo>
                  <a:lnTo>
                    <a:pt x="212" y="131"/>
                  </a:lnTo>
                  <a:lnTo>
                    <a:pt x="192" y="127"/>
                  </a:lnTo>
                  <a:close/>
                  <a:moveTo>
                    <a:pt x="192" y="0"/>
                  </a:moveTo>
                  <a:lnTo>
                    <a:pt x="227" y="4"/>
                  </a:lnTo>
                  <a:lnTo>
                    <a:pt x="259" y="12"/>
                  </a:lnTo>
                  <a:lnTo>
                    <a:pt x="289" y="26"/>
                  </a:lnTo>
                  <a:lnTo>
                    <a:pt x="316" y="46"/>
                  </a:lnTo>
                  <a:lnTo>
                    <a:pt x="339" y="69"/>
                  </a:lnTo>
                  <a:lnTo>
                    <a:pt x="358" y="95"/>
                  </a:lnTo>
                  <a:lnTo>
                    <a:pt x="372" y="125"/>
                  </a:lnTo>
                  <a:lnTo>
                    <a:pt x="381" y="157"/>
                  </a:lnTo>
                  <a:lnTo>
                    <a:pt x="384" y="192"/>
                  </a:lnTo>
                  <a:lnTo>
                    <a:pt x="381" y="228"/>
                  </a:lnTo>
                  <a:lnTo>
                    <a:pt x="370" y="262"/>
                  </a:lnTo>
                  <a:lnTo>
                    <a:pt x="354" y="293"/>
                  </a:lnTo>
                  <a:lnTo>
                    <a:pt x="333" y="321"/>
                  </a:lnTo>
                  <a:lnTo>
                    <a:pt x="307" y="345"/>
                  </a:lnTo>
                  <a:lnTo>
                    <a:pt x="512" y="549"/>
                  </a:lnTo>
                  <a:lnTo>
                    <a:pt x="512" y="703"/>
                  </a:lnTo>
                  <a:lnTo>
                    <a:pt x="384" y="703"/>
                  </a:lnTo>
                  <a:lnTo>
                    <a:pt x="384" y="602"/>
                  </a:lnTo>
                  <a:lnTo>
                    <a:pt x="256" y="475"/>
                  </a:lnTo>
                  <a:lnTo>
                    <a:pt x="256" y="703"/>
                  </a:lnTo>
                  <a:lnTo>
                    <a:pt x="128" y="703"/>
                  </a:lnTo>
                  <a:lnTo>
                    <a:pt x="128" y="373"/>
                  </a:lnTo>
                  <a:lnTo>
                    <a:pt x="97" y="358"/>
                  </a:lnTo>
                  <a:lnTo>
                    <a:pt x="71" y="339"/>
                  </a:lnTo>
                  <a:lnTo>
                    <a:pt x="47" y="316"/>
                  </a:lnTo>
                  <a:lnTo>
                    <a:pt x="27" y="290"/>
                  </a:lnTo>
                  <a:lnTo>
                    <a:pt x="13" y="260"/>
                  </a:lnTo>
                  <a:lnTo>
                    <a:pt x="3" y="227"/>
                  </a:lnTo>
                  <a:lnTo>
                    <a:pt x="0" y="192"/>
                  </a:lnTo>
                  <a:lnTo>
                    <a:pt x="3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5" y="69"/>
                  </a:lnTo>
                  <a:lnTo>
                    <a:pt x="68" y="46"/>
                  </a:lnTo>
                  <a:lnTo>
                    <a:pt x="95" y="26"/>
                  </a:lnTo>
                  <a:lnTo>
                    <a:pt x="125" y="12"/>
                  </a:lnTo>
                  <a:lnTo>
                    <a:pt x="157" y="4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8"/>
            <p:cNvSpPr>
              <a:spLocks noEditPoints="1"/>
            </p:cNvSpPr>
            <p:nvPr/>
          </p:nvSpPr>
          <p:spPr bwMode="auto">
            <a:xfrm>
              <a:off x="4543" y="177"/>
              <a:ext cx="1280" cy="1535"/>
            </a:xfrm>
            <a:custGeom>
              <a:avLst/>
              <a:gdLst>
                <a:gd name="T0" fmla="*/ 1068 w 1280"/>
                <a:gd name="T1" fmla="*/ 131 h 1535"/>
                <a:gd name="T2" fmla="*/ 1036 w 1280"/>
                <a:gd name="T3" fmla="*/ 154 h 1535"/>
                <a:gd name="T4" fmla="*/ 1024 w 1280"/>
                <a:gd name="T5" fmla="*/ 192 h 1535"/>
                <a:gd name="T6" fmla="*/ 1036 w 1280"/>
                <a:gd name="T7" fmla="*/ 230 h 1535"/>
                <a:gd name="T8" fmla="*/ 1068 w 1280"/>
                <a:gd name="T9" fmla="*/ 252 h 1535"/>
                <a:gd name="T10" fmla="*/ 1108 w 1280"/>
                <a:gd name="T11" fmla="*/ 252 h 1535"/>
                <a:gd name="T12" fmla="*/ 1139 w 1280"/>
                <a:gd name="T13" fmla="*/ 230 h 1535"/>
                <a:gd name="T14" fmla="*/ 1153 w 1280"/>
                <a:gd name="T15" fmla="*/ 192 h 1535"/>
                <a:gd name="T16" fmla="*/ 1139 w 1280"/>
                <a:gd name="T17" fmla="*/ 154 h 1535"/>
                <a:gd name="T18" fmla="*/ 1108 w 1280"/>
                <a:gd name="T19" fmla="*/ 131 h 1535"/>
                <a:gd name="T20" fmla="*/ 1088 w 1280"/>
                <a:gd name="T21" fmla="*/ 0 h 1535"/>
                <a:gd name="T22" fmla="*/ 1155 w 1280"/>
                <a:gd name="T23" fmla="*/ 12 h 1535"/>
                <a:gd name="T24" fmla="*/ 1211 w 1280"/>
                <a:gd name="T25" fmla="*/ 46 h 1535"/>
                <a:gd name="T26" fmla="*/ 1254 w 1280"/>
                <a:gd name="T27" fmla="*/ 95 h 1535"/>
                <a:gd name="T28" fmla="*/ 1276 w 1280"/>
                <a:gd name="T29" fmla="*/ 157 h 1535"/>
                <a:gd name="T30" fmla="*/ 1276 w 1280"/>
                <a:gd name="T31" fmla="*/ 227 h 1535"/>
                <a:gd name="T32" fmla="*/ 1254 w 1280"/>
                <a:gd name="T33" fmla="*/ 290 h 1535"/>
                <a:gd name="T34" fmla="*/ 1210 w 1280"/>
                <a:gd name="T35" fmla="*/ 339 h 1535"/>
                <a:gd name="T36" fmla="*/ 1153 w 1280"/>
                <a:gd name="T37" fmla="*/ 373 h 1535"/>
                <a:gd name="T38" fmla="*/ 923 w 1280"/>
                <a:gd name="T39" fmla="*/ 1535 h 1535"/>
                <a:gd name="T40" fmla="*/ 577 w 1280"/>
                <a:gd name="T41" fmla="*/ 1407 h 1535"/>
                <a:gd name="T42" fmla="*/ 1024 w 1280"/>
                <a:gd name="T43" fmla="*/ 1252 h 1535"/>
                <a:gd name="T44" fmla="*/ 993 w 1280"/>
                <a:gd name="T45" fmla="*/ 358 h 1535"/>
                <a:gd name="T46" fmla="*/ 941 w 1280"/>
                <a:gd name="T47" fmla="*/ 315 h 1535"/>
                <a:gd name="T48" fmla="*/ 907 w 1280"/>
                <a:gd name="T49" fmla="*/ 256 h 1535"/>
                <a:gd name="T50" fmla="*/ 129 w 1280"/>
                <a:gd name="T51" fmla="*/ 410 h 1535"/>
                <a:gd name="T52" fmla="*/ 0 w 1280"/>
                <a:gd name="T53" fmla="*/ 703 h 1535"/>
                <a:gd name="T54" fmla="*/ 230 w 1280"/>
                <a:gd name="T55" fmla="*/ 127 h 1535"/>
                <a:gd name="T56" fmla="*/ 922 w 1280"/>
                <a:gd name="T57" fmla="*/ 97 h 1535"/>
                <a:gd name="T58" fmla="*/ 964 w 1280"/>
                <a:gd name="T59" fmla="*/ 47 h 1535"/>
                <a:gd name="T60" fmla="*/ 1020 w 1280"/>
                <a:gd name="T61" fmla="*/ 12 h 1535"/>
                <a:gd name="T62" fmla="*/ 1088 w 1280"/>
                <a:gd name="T63" fmla="*/ 0 h 1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80" h="1535">
                  <a:moveTo>
                    <a:pt x="1088" y="127"/>
                  </a:moveTo>
                  <a:lnTo>
                    <a:pt x="1068" y="131"/>
                  </a:lnTo>
                  <a:lnTo>
                    <a:pt x="1050" y="141"/>
                  </a:lnTo>
                  <a:lnTo>
                    <a:pt x="1036" y="154"/>
                  </a:lnTo>
                  <a:lnTo>
                    <a:pt x="1028" y="172"/>
                  </a:lnTo>
                  <a:lnTo>
                    <a:pt x="1024" y="192"/>
                  </a:lnTo>
                  <a:lnTo>
                    <a:pt x="1028" y="212"/>
                  </a:lnTo>
                  <a:lnTo>
                    <a:pt x="1036" y="230"/>
                  </a:lnTo>
                  <a:lnTo>
                    <a:pt x="1050" y="244"/>
                  </a:lnTo>
                  <a:lnTo>
                    <a:pt x="1068" y="252"/>
                  </a:lnTo>
                  <a:lnTo>
                    <a:pt x="1088" y="256"/>
                  </a:lnTo>
                  <a:lnTo>
                    <a:pt x="1108" y="252"/>
                  </a:lnTo>
                  <a:lnTo>
                    <a:pt x="1126" y="244"/>
                  </a:lnTo>
                  <a:lnTo>
                    <a:pt x="1139" y="230"/>
                  </a:lnTo>
                  <a:lnTo>
                    <a:pt x="1149" y="212"/>
                  </a:lnTo>
                  <a:lnTo>
                    <a:pt x="1153" y="192"/>
                  </a:lnTo>
                  <a:lnTo>
                    <a:pt x="1149" y="172"/>
                  </a:lnTo>
                  <a:lnTo>
                    <a:pt x="1139" y="154"/>
                  </a:lnTo>
                  <a:lnTo>
                    <a:pt x="1126" y="141"/>
                  </a:lnTo>
                  <a:lnTo>
                    <a:pt x="1108" y="131"/>
                  </a:lnTo>
                  <a:lnTo>
                    <a:pt x="1088" y="127"/>
                  </a:lnTo>
                  <a:close/>
                  <a:moveTo>
                    <a:pt x="1088" y="0"/>
                  </a:moveTo>
                  <a:lnTo>
                    <a:pt x="1123" y="4"/>
                  </a:lnTo>
                  <a:lnTo>
                    <a:pt x="1155" y="12"/>
                  </a:lnTo>
                  <a:lnTo>
                    <a:pt x="1185" y="26"/>
                  </a:lnTo>
                  <a:lnTo>
                    <a:pt x="1211" y="46"/>
                  </a:lnTo>
                  <a:lnTo>
                    <a:pt x="1234" y="69"/>
                  </a:lnTo>
                  <a:lnTo>
                    <a:pt x="1254" y="95"/>
                  </a:lnTo>
                  <a:lnTo>
                    <a:pt x="1268" y="125"/>
                  </a:lnTo>
                  <a:lnTo>
                    <a:pt x="1276" y="157"/>
                  </a:lnTo>
                  <a:lnTo>
                    <a:pt x="1280" y="192"/>
                  </a:lnTo>
                  <a:lnTo>
                    <a:pt x="1276" y="227"/>
                  </a:lnTo>
                  <a:lnTo>
                    <a:pt x="1268" y="260"/>
                  </a:lnTo>
                  <a:lnTo>
                    <a:pt x="1254" y="290"/>
                  </a:lnTo>
                  <a:lnTo>
                    <a:pt x="1233" y="316"/>
                  </a:lnTo>
                  <a:lnTo>
                    <a:pt x="1210" y="339"/>
                  </a:lnTo>
                  <a:lnTo>
                    <a:pt x="1183" y="358"/>
                  </a:lnTo>
                  <a:lnTo>
                    <a:pt x="1153" y="373"/>
                  </a:lnTo>
                  <a:lnTo>
                    <a:pt x="1153" y="1306"/>
                  </a:lnTo>
                  <a:lnTo>
                    <a:pt x="923" y="1535"/>
                  </a:lnTo>
                  <a:lnTo>
                    <a:pt x="577" y="1535"/>
                  </a:lnTo>
                  <a:lnTo>
                    <a:pt x="577" y="1407"/>
                  </a:lnTo>
                  <a:lnTo>
                    <a:pt x="870" y="1407"/>
                  </a:lnTo>
                  <a:lnTo>
                    <a:pt x="1024" y="1252"/>
                  </a:lnTo>
                  <a:lnTo>
                    <a:pt x="1024" y="373"/>
                  </a:lnTo>
                  <a:lnTo>
                    <a:pt x="993" y="358"/>
                  </a:lnTo>
                  <a:lnTo>
                    <a:pt x="965" y="339"/>
                  </a:lnTo>
                  <a:lnTo>
                    <a:pt x="941" y="315"/>
                  </a:lnTo>
                  <a:lnTo>
                    <a:pt x="922" y="287"/>
                  </a:lnTo>
                  <a:lnTo>
                    <a:pt x="907" y="256"/>
                  </a:lnTo>
                  <a:lnTo>
                    <a:pt x="282" y="256"/>
                  </a:lnTo>
                  <a:lnTo>
                    <a:pt x="129" y="410"/>
                  </a:lnTo>
                  <a:lnTo>
                    <a:pt x="129" y="703"/>
                  </a:lnTo>
                  <a:lnTo>
                    <a:pt x="0" y="703"/>
                  </a:lnTo>
                  <a:lnTo>
                    <a:pt x="0" y="357"/>
                  </a:lnTo>
                  <a:lnTo>
                    <a:pt x="230" y="127"/>
                  </a:lnTo>
                  <a:lnTo>
                    <a:pt x="907" y="127"/>
                  </a:lnTo>
                  <a:lnTo>
                    <a:pt x="922" y="97"/>
                  </a:lnTo>
                  <a:lnTo>
                    <a:pt x="941" y="70"/>
                  </a:lnTo>
                  <a:lnTo>
                    <a:pt x="964" y="47"/>
                  </a:lnTo>
                  <a:lnTo>
                    <a:pt x="990" y="26"/>
                  </a:lnTo>
                  <a:lnTo>
                    <a:pt x="1020" y="12"/>
                  </a:lnTo>
                  <a:lnTo>
                    <a:pt x="1053" y="4"/>
                  </a:lnTo>
                  <a:lnTo>
                    <a:pt x="10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9"/>
            <p:cNvSpPr>
              <a:spLocks noEditPoints="1"/>
            </p:cNvSpPr>
            <p:nvPr/>
          </p:nvSpPr>
          <p:spPr bwMode="auto">
            <a:xfrm>
              <a:off x="4799" y="689"/>
              <a:ext cx="641" cy="768"/>
            </a:xfrm>
            <a:custGeom>
              <a:avLst/>
              <a:gdLst>
                <a:gd name="T0" fmla="*/ 172 w 641"/>
                <a:gd name="T1" fmla="*/ 131 h 768"/>
                <a:gd name="T2" fmla="*/ 141 w 641"/>
                <a:gd name="T3" fmla="*/ 154 h 768"/>
                <a:gd name="T4" fmla="*/ 129 w 641"/>
                <a:gd name="T5" fmla="*/ 191 h 768"/>
                <a:gd name="T6" fmla="*/ 141 w 641"/>
                <a:gd name="T7" fmla="*/ 230 h 768"/>
                <a:gd name="T8" fmla="*/ 172 w 641"/>
                <a:gd name="T9" fmla="*/ 252 h 768"/>
                <a:gd name="T10" fmla="*/ 213 w 641"/>
                <a:gd name="T11" fmla="*/ 252 h 768"/>
                <a:gd name="T12" fmla="*/ 244 w 641"/>
                <a:gd name="T13" fmla="*/ 230 h 768"/>
                <a:gd name="T14" fmla="*/ 256 w 641"/>
                <a:gd name="T15" fmla="*/ 191 h 768"/>
                <a:gd name="T16" fmla="*/ 244 w 641"/>
                <a:gd name="T17" fmla="*/ 154 h 768"/>
                <a:gd name="T18" fmla="*/ 213 w 641"/>
                <a:gd name="T19" fmla="*/ 131 h 768"/>
                <a:gd name="T20" fmla="*/ 192 w 641"/>
                <a:gd name="T21" fmla="*/ 0 h 768"/>
                <a:gd name="T22" fmla="*/ 260 w 641"/>
                <a:gd name="T23" fmla="*/ 12 h 768"/>
                <a:gd name="T24" fmla="*/ 317 w 641"/>
                <a:gd name="T25" fmla="*/ 46 h 768"/>
                <a:gd name="T26" fmla="*/ 358 w 641"/>
                <a:gd name="T27" fmla="*/ 97 h 768"/>
                <a:gd name="T28" fmla="*/ 411 w 641"/>
                <a:gd name="T29" fmla="*/ 127 h 768"/>
                <a:gd name="T30" fmla="*/ 641 w 641"/>
                <a:gd name="T31" fmla="*/ 538 h 768"/>
                <a:gd name="T32" fmla="*/ 321 w 641"/>
                <a:gd name="T33" fmla="*/ 768 h 768"/>
                <a:gd name="T34" fmla="*/ 358 w 641"/>
                <a:gd name="T35" fmla="*/ 639 h 768"/>
                <a:gd name="T36" fmla="*/ 512 w 641"/>
                <a:gd name="T37" fmla="*/ 410 h 768"/>
                <a:gd name="T38" fmla="*/ 355 w 641"/>
                <a:gd name="T39" fmla="*/ 294 h 768"/>
                <a:gd name="T40" fmla="*/ 313 w 641"/>
                <a:gd name="T41" fmla="*/ 341 h 768"/>
                <a:gd name="T42" fmla="*/ 257 w 641"/>
                <a:gd name="T43" fmla="*/ 373 h 768"/>
                <a:gd name="T44" fmla="*/ 192 w 641"/>
                <a:gd name="T45" fmla="*/ 383 h 768"/>
                <a:gd name="T46" fmla="*/ 125 w 641"/>
                <a:gd name="T47" fmla="*/ 371 h 768"/>
                <a:gd name="T48" fmla="*/ 69 w 641"/>
                <a:gd name="T49" fmla="*/ 339 h 768"/>
                <a:gd name="T50" fmla="*/ 26 w 641"/>
                <a:gd name="T51" fmla="*/ 288 h 768"/>
                <a:gd name="T52" fmla="*/ 4 w 641"/>
                <a:gd name="T53" fmla="*/ 226 h 768"/>
                <a:gd name="T54" fmla="*/ 4 w 641"/>
                <a:gd name="T55" fmla="*/ 157 h 768"/>
                <a:gd name="T56" fmla="*/ 26 w 641"/>
                <a:gd name="T57" fmla="*/ 95 h 768"/>
                <a:gd name="T58" fmla="*/ 69 w 641"/>
                <a:gd name="T59" fmla="*/ 44 h 768"/>
                <a:gd name="T60" fmla="*/ 125 w 641"/>
                <a:gd name="T61" fmla="*/ 12 h 768"/>
                <a:gd name="T62" fmla="*/ 192 w 641"/>
                <a:gd name="T63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41" h="768">
                  <a:moveTo>
                    <a:pt x="192" y="127"/>
                  </a:moveTo>
                  <a:lnTo>
                    <a:pt x="172" y="131"/>
                  </a:lnTo>
                  <a:lnTo>
                    <a:pt x="155" y="141"/>
                  </a:lnTo>
                  <a:lnTo>
                    <a:pt x="141" y="154"/>
                  </a:lnTo>
                  <a:lnTo>
                    <a:pt x="132" y="172"/>
                  </a:lnTo>
                  <a:lnTo>
                    <a:pt x="129" y="191"/>
                  </a:lnTo>
                  <a:lnTo>
                    <a:pt x="132" y="211"/>
                  </a:lnTo>
                  <a:lnTo>
                    <a:pt x="141" y="230"/>
                  </a:lnTo>
                  <a:lnTo>
                    <a:pt x="155" y="243"/>
                  </a:lnTo>
                  <a:lnTo>
                    <a:pt x="172" y="252"/>
                  </a:lnTo>
                  <a:lnTo>
                    <a:pt x="192" y="256"/>
                  </a:lnTo>
                  <a:lnTo>
                    <a:pt x="213" y="252"/>
                  </a:lnTo>
                  <a:lnTo>
                    <a:pt x="230" y="243"/>
                  </a:lnTo>
                  <a:lnTo>
                    <a:pt x="244" y="230"/>
                  </a:lnTo>
                  <a:lnTo>
                    <a:pt x="254" y="211"/>
                  </a:lnTo>
                  <a:lnTo>
                    <a:pt x="256" y="191"/>
                  </a:lnTo>
                  <a:lnTo>
                    <a:pt x="254" y="172"/>
                  </a:lnTo>
                  <a:lnTo>
                    <a:pt x="244" y="154"/>
                  </a:lnTo>
                  <a:lnTo>
                    <a:pt x="230" y="141"/>
                  </a:lnTo>
                  <a:lnTo>
                    <a:pt x="213" y="131"/>
                  </a:lnTo>
                  <a:lnTo>
                    <a:pt x="192" y="127"/>
                  </a:lnTo>
                  <a:close/>
                  <a:moveTo>
                    <a:pt x="192" y="0"/>
                  </a:moveTo>
                  <a:lnTo>
                    <a:pt x="227" y="2"/>
                  </a:lnTo>
                  <a:lnTo>
                    <a:pt x="260" y="12"/>
                  </a:lnTo>
                  <a:lnTo>
                    <a:pt x="290" y="26"/>
                  </a:lnTo>
                  <a:lnTo>
                    <a:pt x="317" y="46"/>
                  </a:lnTo>
                  <a:lnTo>
                    <a:pt x="340" y="70"/>
                  </a:lnTo>
                  <a:lnTo>
                    <a:pt x="358" y="97"/>
                  </a:lnTo>
                  <a:lnTo>
                    <a:pt x="373" y="127"/>
                  </a:lnTo>
                  <a:lnTo>
                    <a:pt x="411" y="127"/>
                  </a:lnTo>
                  <a:lnTo>
                    <a:pt x="641" y="357"/>
                  </a:lnTo>
                  <a:lnTo>
                    <a:pt x="641" y="538"/>
                  </a:lnTo>
                  <a:lnTo>
                    <a:pt x="411" y="768"/>
                  </a:lnTo>
                  <a:lnTo>
                    <a:pt x="321" y="768"/>
                  </a:lnTo>
                  <a:lnTo>
                    <a:pt x="321" y="639"/>
                  </a:lnTo>
                  <a:lnTo>
                    <a:pt x="358" y="639"/>
                  </a:lnTo>
                  <a:lnTo>
                    <a:pt x="512" y="486"/>
                  </a:lnTo>
                  <a:lnTo>
                    <a:pt x="512" y="410"/>
                  </a:lnTo>
                  <a:lnTo>
                    <a:pt x="369" y="267"/>
                  </a:lnTo>
                  <a:lnTo>
                    <a:pt x="355" y="294"/>
                  </a:lnTo>
                  <a:lnTo>
                    <a:pt x="335" y="320"/>
                  </a:lnTo>
                  <a:lnTo>
                    <a:pt x="313" y="341"/>
                  </a:lnTo>
                  <a:lnTo>
                    <a:pt x="286" y="359"/>
                  </a:lnTo>
                  <a:lnTo>
                    <a:pt x="257" y="373"/>
                  </a:lnTo>
                  <a:lnTo>
                    <a:pt x="226" y="381"/>
                  </a:lnTo>
                  <a:lnTo>
                    <a:pt x="192" y="383"/>
                  </a:lnTo>
                  <a:lnTo>
                    <a:pt x="157" y="381"/>
                  </a:lnTo>
                  <a:lnTo>
                    <a:pt x="125" y="371"/>
                  </a:lnTo>
                  <a:lnTo>
                    <a:pt x="96" y="357"/>
                  </a:lnTo>
                  <a:lnTo>
                    <a:pt x="69" y="339"/>
                  </a:lnTo>
                  <a:lnTo>
                    <a:pt x="46" y="315"/>
                  </a:lnTo>
                  <a:lnTo>
                    <a:pt x="26" y="288"/>
                  </a:lnTo>
                  <a:lnTo>
                    <a:pt x="12" y="258"/>
                  </a:lnTo>
                  <a:lnTo>
                    <a:pt x="4" y="226"/>
                  </a:lnTo>
                  <a:lnTo>
                    <a:pt x="0" y="191"/>
                  </a:lnTo>
                  <a:lnTo>
                    <a:pt x="4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6" y="68"/>
                  </a:lnTo>
                  <a:lnTo>
                    <a:pt x="69" y="44"/>
                  </a:lnTo>
                  <a:lnTo>
                    <a:pt x="96" y="26"/>
                  </a:lnTo>
                  <a:lnTo>
                    <a:pt x="125" y="12"/>
                  </a:lnTo>
                  <a:lnTo>
                    <a:pt x="157" y="2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20"/>
            <p:cNvSpPr>
              <a:spLocks noChangeArrowheads="1"/>
            </p:cNvSpPr>
            <p:nvPr/>
          </p:nvSpPr>
          <p:spPr bwMode="auto">
            <a:xfrm>
              <a:off x="5120" y="1840"/>
              <a:ext cx="703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1"/>
            <p:cNvSpPr>
              <a:spLocks noEditPoints="1"/>
            </p:cNvSpPr>
            <p:nvPr/>
          </p:nvSpPr>
          <p:spPr bwMode="auto">
            <a:xfrm>
              <a:off x="5120" y="2096"/>
              <a:ext cx="703" cy="2047"/>
            </a:xfrm>
            <a:custGeom>
              <a:avLst/>
              <a:gdLst>
                <a:gd name="T0" fmla="*/ 491 w 703"/>
                <a:gd name="T1" fmla="*/ 1795 h 2047"/>
                <a:gd name="T2" fmla="*/ 459 w 703"/>
                <a:gd name="T3" fmla="*/ 1817 h 2047"/>
                <a:gd name="T4" fmla="*/ 447 w 703"/>
                <a:gd name="T5" fmla="*/ 1855 h 2047"/>
                <a:gd name="T6" fmla="*/ 459 w 703"/>
                <a:gd name="T7" fmla="*/ 1893 h 2047"/>
                <a:gd name="T8" fmla="*/ 491 w 703"/>
                <a:gd name="T9" fmla="*/ 1916 h 2047"/>
                <a:gd name="T10" fmla="*/ 531 w 703"/>
                <a:gd name="T11" fmla="*/ 1916 h 2047"/>
                <a:gd name="T12" fmla="*/ 562 w 703"/>
                <a:gd name="T13" fmla="*/ 1893 h 2047"/>
                <a:gd name="T14" fmla="*/ 576 w 703"/>
                <a:gd name="T15" fmla="*/ 1855 h 2047"/>
                <a:gd name="T16" fmla="*/ 562 w 703"/>
                <a:gd name="T17" fmla="*/ 1817 h 2047"/>
                <a:gd name="T18" fmla="*/ 531 w 703"/>
                <a:gd name="T19" fmla="*/ 1795 h 2047"/>
                <a:gd name="T20" fmla="*/ 0 w 703"/>
                <a:gd name="T21" fmla="*/ 0 h 2047"/>
                <a:gd name="T22" fmla="*/ 576 w 703"/>
                <a:gd name="T23" fmla="*/ 230 h 2047"/>
                <a:gd name="T24" fmla="*/ 606 w 703"/>
                <a:gd name="T25" fmla="*/ 1689 h 2047"/>
                <a:gd name="T26" fmla="*/ 656 w 703"/>
                <a:gd name="T27" fmla="*/ 1731 h 2047"/>
                <a:gd name="T28" fmla="*/ 691 w 703"/>
                <a:gd name="T29" fmla="*/ 1787 h 2047"/>
                <a:gd name="T30" fmla="*/ 703 w 703"/>
                <a:gd name="T31" fmla="*/ 1855 h 2047"/>
                <a:gd name="T32" fmla="*/ 691 w 703"/>
                <a:gd name="T33" fmla="*/ 1922 h 2047"/>
                <a:gd name="T34" fmla="*/ 657 w 703"/>
                <a:gd name="T35" fmla="*/ 1978 h 2047"/>
                <a:gd name="T36" fmla="*/ 608 w 703"/>
                <a:gd name="T37" fmla="*/ 2021 h 2047"/>
                <a:gd name="T38" fmla="*/ 546 w 703"/>
                <a:gd name="T39" fmla="*/ 2043 h 2047"/>
                <a:gd name="T40" fmla="*/ 477 w 703"/>
                <a:gd name="T41" fmla="*/ 2043 h 2047"/>
                <a:gd name="T42" fmla="*/ 415 w 703"/>
                <a:gd name="T43" fmla="*/ 2021 h 2047"/>
                <a:gd name="T44" fmla="*/ 364 w 703"/>
                <a:gd name="T45" fmla="*/ 1978 h 2047"/>
                <a:gd name="T46" fmla="*/ 332 w 703"/>
                <a:gd name="T47" fmla="*/ 1922 h 2047"/>
                <a:gd name="T48" fmla="*/ 320 w 703"/>
                <a:gd name="T49" fmla="*/ 1855 h 2047"/>
                <a:gd name="T50" fmla="*/ 332 w 703"/>
                <a:gd name="T51" fmla="*/ 1787 h 2047"/>
                <a:gd name="T52" fmla="*/ 365 w 703"/>
                <a:gd name="T53" fmla="*/ 1731 h 2047"/>
                <a:gd name="T54" fmla="*/ 417 w 703"/>
                <a:gd name="T55" fmla="*/ 1689 h 2047"/>
                <a:gd name="T56" fmla="*/ 447 w 703"/>
                <a:gd name="T57" fmla="*/ 795 h 2047"/>
                <a:gd name="T58" fmla="*/ 0 w 703"/>
                <a:gd name="T59" fmla="*/ 640 h 2047"/>
                <a:gd name="T60" fmla="*/ 346 w 703"/>
                <a:gd name="T61" fmla="*/ 512 h 2047"/>
                <a:gd name="T62" fmla="*/ 447 w 703"/>
                <a:gd name="T63" fmla="*/ 283 h 2047"/>
                <a:gd name="T64" fmla="*/ 0 w 703"/>
                <a:gd name="T65" fmla="*/ 128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3" h="2047">
                  <a:moveTo>
                    <a:pt x="511" y="1791"/>
                  </a:moveTo>
                  <a:lnTo>
                    <a:pt x="491" y="1795"/>
                  </a:lnTo>
                  <a:lnTo>
                    <a:pt x="473" y="1803"/>
                  </a:lnTo>
                  <a:lnTo>
                    <a:pt x="459" y="1817"/>
                  </a:lnTo>
                  <a:lnTo>
                    <a:pt x="451" y="1835"/>
                  </a:lnTo>
                  <a:lnTo>
                    <a:pt x="447" y="1855"/>
                  </a:lnTo>
                  <a:lnTo>
                    <a:pt x="451" y="1875"/>
                  </a:lnTo>
                  <a:lnTo>
                    <a:pt x="459" y="1893"/>
                  </a:lnTo>
                  <a:lnTo>
                    <a:pt x="473" y="1906"/>
                  </a:lnTo>
                  <a:lnTo>
                    <a:pt x="491" y="1916"/>
                  </a:lnTo>
                  <a:lnTo>
                    <a:pt x="511" y="1920"/>
                  </a:lnTo>
                  <a:lnTo>
                    <a:pt x="531" y="1916"/>
                  </a:lnTo>
                  <a:lnTo>
                    <a:pt x="549" y="1906"/>
                  </a:lnTo>
                  <a:lnTo>
                    <a:pt x="562" y="1893"/>
                  </a:lnTo>
                  <a:lnTo>
                    <a:pt x="572" y="1875"/>
                  </a:lnTo>
                  <a:lnTo>
                    <a:pt x="576" y="1855"/>
                  </a:lnTo>
                  <a:lnTo>
                    <a:pt x="572" y="1835"/>
                  </a:lnTo>
                  <a:lnTo>
                    <a:pt x="562" y="1817"/>
                  </a:lnTo>
                  <a:lnTo>
                    <a:pt x="549" y="1803"/>
                  </a:lnTo>
                  <a:lnTo>
                    <a:pt x="531" y="1795"/>
                  </a:lnTo>
                  <a:lnTo>
                    <a:pt x="511" y="1791"/>
                  </a:lnTo>
                  <a:close/>
                  <a:moveTo>
                    <a:pt x="0" y="0"/>
                  </a:moveTo>
                  <a:lnTo>
                    <a:pt x="346" y="0"/>
                  </a:lnTo>
                  <a:lnTo>
                    <a:pt x="576" y="230"/>
                  </a:lnTo>
                  <a:lnTo>
                    <a:pt x="576" y="1674"/>
                  </a:lnTo>
                  <a:lnTo>
                    <a:pt x="606" y="1689"/>
                  </a:lnTo>
                  <a:lnTo>
                    <a:pt x="633" y="1708"/>
                  </a:lnTo>
                  <a:lnTo>
                    <a:pt x="656" y="1731"/>
                  </a:lnTo>
                  <a:lnTo>
                    <a:pt x="677" y="1757"/>
                  </a:lnTo>
                  <a:lnTo>
                    <a:pt x="691" y="1787"/>
                  </a:lnTo>
                  <a:lnTo>
                    <a:pt x="699" y="1820"/>
                  </a:lnTo>
                  <a:lnTo>
                    <a:pt x="703" y="1855"/>
                  </a:lnTo>
                  <a:lnTo>
                    <a:pt x="699" y="1890"/>
                  </a:lnTo>
                  <a:lnTo>
                    <a:pt x="691" y="1922"/>
                  </a:lnTo>
                  <a:lnTo>
                    <a:pt x="677" y="1952"/>
                  </a:lnTo>
                  <a:lnTo>
                    <a:pt x="657" y="1978"/>
                  </a:lnTo>
                  <a:lnTo>
                    <a:pt x="634" y="2001"/>
                  </a:lnTo>
                  <a:lnTo>
                    <a:pt x="608" y="2021"/>
                  </a:lnTo>
                  <a:lnTo>
                    <a:pt x="578" y="2035"/>
                  </a:lnTo>
                  <a:lnTo>
                    <a:pt x="546" y="2043"/>
                  </a:lnTo>
                  <a:lnTo>
                    <a:pt x="511" y="2047"/>
                  </a:lnTo>
                  <a:lnTo>
                    <a:pt x="477" y="2043"/>
                  </a:lnTo>
                  <a:lnTo>
                    <a:pt x="445" y="2035"/>
                  </a:lnTo>
                  <a:lnTo>
                    <a:pt x="415" y="2021"/>
                  </a:lnTo>
                  <a:lnTo>
                    <a:pt x="388" y="2001"/>
                  </a:lnTo>
                  <a:lnTo>
                    <a:pt x="364" y="1978"/>
                  </a:lnTo>
                  <a:lnTo>
                    <a:pt x="345" y="1952"/>
                  </a:lnTo>
                  <a:lnTo>
                    <a:pt x="332" y="1922"/>
                  </a:lnTo>
                  <a:lnTo>
                    <a:pt x="322" y="1890"/>
                  </a:lnTo>
                  <a:lnTo>
                    <a:pt x="320" y="1855"/>
                  </a:lnTo>
                  <a:lnTo>
                    <a:pt x="322" y="1820"/>
                  </a:lnTo>
                  <a:lnTo>
                    <a:pt x="332" y="1787"/>
                  </a:lnTo>
                  <a:lnTo>
                    <a:pt x="346" y="1757"/>
                  </a:lnTo>
                  <a:lnTo>
                    <a:pt x="365" y="1731"/>
                  </a:lnTo>
                  <a:lnTo>
                    <a:pt x="389" y="1708"/>
                  </a:lnTo>
                  <a:lnTo>
                    <a:pt x="417" y="1689"/>
                  </a:lnTo>
                  <a:lnTo>
                    <a:pt x="447" y="1674"/>
                  </a:lnTo>
                  <a:lnTo>
                    <a:pt x="447" y="795"/>
                  </a:lnTo>
                  <a:lnTo>
                    <a:pt x="293" y="640"/>
                  </a:lnTo>
                  <a:lnTo>
                    <a:pt x="0" y="640"/>
                  </a:lnTo>
                  <a:lnTo>
                    <a:pt x="0" y="512"/>
                  </a:lnTo>
                  <a:lnTo>
                    <a:pt x="346" y="512"/>
                  </a:lnTo>
                  <a:lnTo>
                    <a:pt x="447" y="613"/>
                  </a:lnTo>
                  <a:lnTo>
                    <a:pt x="447" y="283"/>
                  </a:lnTo>
                  <a:lnTo>
                    <a:pt x="293" y="128"/>
                  </a:lnTo>
                  <a:lnTo>
                    <a:pt x="0" y="1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22"/>
            <p:cNvSpPr>
              <a:spLocks noChangeArrowheads="1"/>
            </p:cNvSpPr>
            <p:nvPr/>
          </p:nvSpPr>
          <p:spPr bwMode="auto">
            <a:xfrm>
              <a:off x="5120" y="2352"/>
              <a:ext cx="255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3"/>
            <p:cNvSpPr>
              <a:spLocks noEditPoints="1"/>
            </p:cNvSpPr>
            <p:nvPr/>
          </p:nvSpPr>
          <p:spPr bwMode="auto">
            <a:xfrm>
              <a:off x="4543" y="2863"/>
              <a:ext cx="897" cy="1280"/>
            </a:xfrm>
            <a:custGeom>
              <a:avLst/>
              <a:gdLst>
                <a:gd name="T0" fmla="*/ 301 w 897"/>
                <a:gd name="T1" fmla="*/ 1028 h 1280"/>
                <a:gd name="T2" fmla="*/ 269 w 897"/>
                <a:gd name="T3" fmla="*/ 1050 h 1280"/>
                <a:gd name="T4" fmla="*/ 256 w 897"/>
                <a:gd name="T5" fmla="*/ 1088 h 1280"/>
                <a:gd name="T6" fmla="*/ 269 w 897"/>
                <a:gd name="T7" fmla="*/ 1126 h 1280"/>
                <a:gd name="T8" fmla="*/ 301 w 897"/>
                <a:gd name="T9" fmla="*/ 1149 h 1280"/>
                <a:gd name="T10" fmla="*/ 340 w 897"/>
                <a:gd name="T11" fmla="*/ 1149 h 1280"/>
                <a:gd name="T12" fmla="*/ 373 w 897"/>
                <a:gd name="T13" fmla="*/ 1126 h 1280"/>
                <a:gd name="T14" fmla="*/ 385 w 897"/>
                <a:gd name="T15" fmla="*/ 1088 h 1280"/>
                <a:gd name="T16" fmla="*/ 373 w 897"/>
                <a:gd name="T17" fmla="*/ 1050 h 1280"/>
                <a:gd name="T18" fmla="*/ 340 w 897"/>
                <a:gd name="T19" fmla="*/ 1028 h 1280"/>
                <a:gd name="T20" fmla="*/ 577 w 897"/>
                <a:gd name="T21" fmla="*/ 0 h 1280"/>
                <a:gd name="T22" fmla="*/ 897 w 897"/>
                <a:gd name="T23" fmla="*/ 230 h 1280"/>
                <a:gd name="T24" fmla="*/ 667 w 897"/>
                <a:gd name="T25" fmla="*/ 1153 h 1280"/>
                <a:gd name="T26" fmla="*/ 487 w 897"/>
                <a:gd name="T27" fmla="*/ 1183 h 1280"/>
                <a:gd name="T28" fmla="*/ 445 w 897"/>
                <a:gd name="T29" fmla="*/ 1233 h 1280"/>
                <a:gd name="T30" fmla="*/ 388 w 897"/>
                <a:gd name="T31" fmla="*/ 1268 h 1280"/>
                <a:gd name="T32" fmla="*/ 321 w 897"/>
                <a:gd name="T33" fmla="*/ 1280 h 1280"/>
                <a:gd name="T34" fmla="*/ 254 w 897"/>
                <a:gd name="T35" fmla="*/ 1268 h 1280"/>
                <a:gd name="T36" fmla="*/ 197 w 897"/>
                <a:gd name="T37" fmla="*/ 1234 h 1280"/>
                <a:gd name="T38" fmla="*/ 155 w 897"/>
                <a:gd name="T39" fmla="*/ 1185 h 1280"/>
                <a:gd name="T40" fmla="*/ 132 w 897"/>
                <a:gd name="T41" fmla="*/ 1123 h 1280"/>
                <a:gd name="T42" fmla="*/ 132 w 897"/>
                <a:gd name="T43" fmla="*/ 1054 h 1280"/>
                <a:gd name="T44" fmla="*/ 155 w 897"/>
                <a:gd name="T45" fmla="*/ 992 h 1280"/>
                <a:gd name="T46" fmla="*/ 197 w 897"/>
                <a:gd name="T47" fmla="*/ 941 h 1280"/>
                <a:gd name="T48" fmla="*/ 254 w 897"/>
                <a:gd name="T49" fmla="*/ 909 h 1280"/>
                <a:gd name="T50" fmla="*/ 321 w 897"/>
                <a:gd name="T51" fmla="*/ 897 h 1280"/>
                <a:gd name="T52" fmla="*/ 388 w 897"/>
                <a:gd name="T53" fmla="*/ 909 h 1280"/>
                <a:gd name="T54" fmla="*/ 445 w 897"/>
                <a:gd name="T55" fmla="*/ 942 h 1280"/>
                <a:gd name="T56" fmla="*/ 487 w 897"/>
                <a:gd name="T57" fmla="*/ 994 h 1280"/>
                <a:gd name="T58" fmla="*/ 614 w 897"/>
                <a:gd name="T59" fmla="*/ 1024 h 1280"/>
                <a:gd name="T60" fmla="*/ 768 w 897"/>
                <a:gd name="T61" fmla="*/ 768 h 1280"/>
                <a:gd name="T62" fmla="*/ 0 w 897"/>
                <a:gd name="T63" fmla="*/ 577 h 1280"/>
                <a:gd name="T64" fmla="*/ 129 w 897"/>
                <a:gd name="T65" fmla="*/ 641 h 1280"/>
                <a:gd name="T66" fmla="*/ 768 w 897"/>
                <a:gd name="T67" fmla="*/ 282 h 1280"/>
                <a:gd name="T68" fmla="*/ 577 w 897"/>
                <a:gd name="T69" fmla="*/ 129 h 1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97" h="1280">
                  <a:moveTo>
                    <a:pt x="321" y="1024"/>
                  </a:moveTo>
                  <a:lnTo>
                    <a:pt x="301" y="1028"/>
                  </a:lnTo>
                  <a:lnTo>
                    <a:pt x="282" y="1036"/>
                  </a:lnTo>
                  <a:lnTo>
                    <a:pt x="269" y="1050"/>
                  </a:lnTo>
                  <a:lnTo>
                    <a:pt x="260" y="1068"/>
                  </a:lnTo>
                  <a:lnTo>
                    <a:pt x="256" y="1088"/>
                  </a:lnTo>
                  <a:lnTo>
                    <a:pt x="260" y="1108"/>
                  </a:lnTo>
                  <a:lnTo>
                    <a:pt x="269" y="1126"/>
                  </a:lnTo>
                  <a:lnTo>
                    <a:pt x="282" y="1139"/>
                  </a:lnTo>
                  <a:lnTo>
                    <a:pt x="301" y="1149"/>
                  </a:lnTo>
                  <a:lnTo>
                    <a:pt x="321" y="1153"/>
                  </a:lnTo>
                  <a:lnTo>
                    <a:pt x="340" y="1149"/>
                  </a:lnTo>
                  <a:lnTo>
                    <a:pt x="358" y="1139"/>
                  </a:lnTo>
                  <a:lnTo>
                    <a:pt x="373" y="1126"/>
                  </a:lnTo>
                  <a:lnTo>
                    <a:pt x="381" y="1108"/>
                  </a:lnTo>
                  <a:lnTo>
                    <a:pt x="385" y="1088"/>
                  </a:lnTo>
                  <a:lnTo>
                    <a:pt x="381" y="1068"/>
                  </a:lnTo>
                  <a:lnTo>
                    <a:pt x="373" y="1050"/>
                  </a:lnTo>
                  <a:lnTo>
                    <a:pt x="358" y="1036"/>
                  </a:lnTo>
                  <a:lnTo>
                    <a:pt x="340" y="1028"/>
                  </a:lnTo>
                  <a:lnTo>
                    <a:pt x="321" y="1024"/>
                  </a:lnTo>
                  <a:close/>
                  <a:moveTo>
                    <a:pt x="577" y="0"/>
                  </a:moveTo>
                  <a:lnTo>
                    <a:pt x="667" y="0"/>
                  </a:lnTo>
                  <a:lnTo>
                    <a:pt x="897" y="230"/>
                  </a:lnTo>
                  <a:lnTo>
                    <a:pt x="897" y="923"/>
                  </a:lnTo>
                  <a:lnTo>
                    <a:pt x="667" y="1153"/>
                  </a:lnTo>
                  <a:lnTo>
                    <a:pt x="500" y="1153"/>
                  </a:lnTo>
                  <a:lnTo>
                    <a:pt x="487" y="1183"/>
                  </a:lnTo>
                  <a:lnTo>
                    <a:pt x="468" y="1210"/>
                  </a:lnTo>
                  <a:lnTo>
                    <a:pt x="445" y="1233"/>
                  </a:lnTo>
                  <a:lnTo>
                    <a:pt x="418" y="1254"/>
                  </a:lnTo>
                  <a:lnTo>
                    <a:pt x="388" y="1268"/>
                  </a:lnTo>
                  <a:lnTo>
                    <a:pt x="356" y="1276"/>
                  </a:lnTo>
                  <a:lnTo>
                    <a:pt x="321" y="1280"/>
                  </a:lnTo>
                  <a:lnTo>
                    <a:pt x="286" y="1276"/>
                  </a:lnTo>
                  <a:lnTo>
                    <a:pt x="254" y="1268"/>
                  </a:lnTo>
                  <a:lnTo>
                    <a:pt x="224" y="1254"/>
                  </a:lnTo>
                  <a:lnTo>
                    <a:pt x="197" y="1234"/>
                  </a:lnTo>
                  <a:lnTo>
                    <a:pt x="174" y="1211"/>
                  </a:lnTo>
                  <a:lnTo>
                    <a:pt x="155" y="1185"/>
                  </a:lnTo>
                  <a:lnTo>
                    <a:pt x="141" y="1155"/>
                  </a:lnTo>
                  <a:lnTo>
                    <a:pt x="132" y="1123"/>
                  </a:lnTo>
                  <a:lnTo>
                    <a:pt x="129" y="1088"/>
                  </a:lnTo>
                  <a:lnTo>
                    <a:pt x="132" y="1054"/>
                  </a:lnTo>
                  <a:lnTo>
                    <a:pt x="141" y="1022"/>
                  </a:lnTo>
                  <a:lnTo>
                    <a:pt x="155" y="992"/>
                  </a:lnTo>
                  <a:lnTo>
                    <a:pt x="174" y="965"/>
                  </a:lnTo>
                  <a:lnTo>
                    <a:pt x="197" y="941"/>
                  </a:lnTo>
                  <a:lnTo>
                    <a:pt x="224" y="922"/>
                  </a:lnTo>
                  <a:lnTo>
                    <a:pt x="254" y="909"/>
                  </a:lnTo>
                  <a:lnTo>
                    <a:pt x="286" y="899"/>
                  </a:lnTo>
                  <a:lnTo>
                    <a:pt x="321" y="897"/>
                  </a:lnTo>
                  <a:lnTo>
                    <a:pt x="356" y="899"/>
                  </a:lnTo>
                  <a:lnTo>
                    <a:pt x="388" y="909"/>
                  </a:lnTo>
                  <a:lnTo>
                    <a:pt x="418" y="923"/>
                  </a:lnTo>
                  <a:lnTo>
                    <a:pt x="445" y="942"/>
                  </a:lnTo>
                  <a:lnTo>
                    <a:pt x="468" y="966"/>
                  </a:lnTo>
                  <a:lnTo>
                    <a:pt x="487" y="994"/>
                  </a:lnTo>
                  <a:lnTo>
                    <a:pt x="500" y="1024"/>
                  </a:lnTo>
                  <a:lnTo>
                    <a:pt x="614" y="1024"/>
                  </a:lnTo>
                  <a:lnTo>
                    <a:pt x="768" y="870"/>
                  </a:lnTo>
                  <a:lnTo>
                    <a:pt x="768" y="768"/>
                  </a:lnTo>
                  <a:lnTo>
                    <a:pt x="0" y="768"/>
                  </a:lnTo>
                  <a:lnTo>
                    <a:pt x="0" y="577"/>
                  </a:lnTo>
                  <a:lnTo>
                    <a:pt x="129" y="577"/>
                  </a:lnTo>
                  <a:lnTo>
                    <a:pt x="129" y="641"/>
                  </a:lnTo>
                  <a:lnTo>
                    <a:pt x="768" y="641"/>
                  </a:lnTo>
                  <a:lnTo>
                    <a:pt x="768" y="282"/>
                  </a:lnTo>
                  <a:lnTo>
                    <a:pt x="614" y="129"/>
                  </a:lnTo>
                  <a:lnTo>
                    <a:pt x="577" y="129"/>
                  </a:lnTo>
                  <a:lnTo>
                    <a:pt x="5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4"/>
            <p:cNvSpPr>
              <a:spLocks noEditPoints="1"/>
            </p:cNvSpPr>
            <p:nvPr/>
          </p:nvSpPr>
          <p:spPr bwMode="auto">
            <a:xfrm>
              <a:off x="2305" y="3375"/>
              <a:ext cx="832" cy="385"/>
            </a:xfrm>
            <a:custGeom>
              <a:avLst/>
              <a:gdLst>
                <a:gd name="T0" fmla="*/ 191 w 832"/>
                <a:gd name="T1" fmla="*/ 129 h 385"/>
                <a:gd name="T2" fmla="*/ 171 w 832"/>
                <a:gd name="T3" fmla="*/ 131 h 385"/>
                <a:gd name="T4" fmla="*/ 154 w 832"/>
                <a:gd name="T5" fmla="*/ 141 h 385"/>
                <a:gd name="T6" fmla="*/ 140 w 832"/>
                <a:gd name="T7" fmla="*/ 155 h 385"/>
                <a:gd name="T8" fmla="*/ 131 w 832"/>
                <a:gd name="T9" fmla="*/ 172 h 385"/>
                <a:gd name="T10" fmla="*/ 128 w 832"/>
                <a:gd name="T11" fmla="*/ 192 h 385"/>
                <a:gd name="T12" fmla="*/ 131 w 832"/>
                <a:gd name="T13" fmla="*/ 213 h 385"/>
                <a:gd name="T14" fmla="*/ 140 w 832"/>
                <a:gd name="T15" fmla="*/ 230 h 385"/>
                <a:gd name="T16" fmla="*/ 154 w 832"/>
                <a:gd name="T17" fmla="*/ 244 h 385"/>
                <a:gd name="T18" fmla="*/ 171 w 832"/>
                <a:gd name="T19" fmla="*/ 252 h 385"/>
                <a:gd name="T20" fmla="*/ 191 w 832"/>
                <a:gd name="T21" fmla="*/ 256 h 385"/>
                <a:gd name="T22" fmla="*/ 212 w 832"/>
                <a:gd name="T23" fmla="*/ 252 h 385"/>
                <a:gd name="T24" fmla="*/ 230 w 832"/>
                <a:gd name="T25" fmla="*/ 244 h 385"/>
                <a:gd name="T26" fmla="*/ 243 w 832"/>
                <a:gd name="T27" fmla="*/ 230 h 385"/>
                <a:gd name="T28" fmla="*/ 253 w 832"/>
                <a:gd name="T29" fmla="*/ 213 h 385"/>
                <a:gd name="T30" fmla="*/ 255 w 832"/>
                <a:gd name="T31" fmla="*/ 192 h 385"/>
                <a:gd name="T32" fmla="*/ 253 w 832"/>
                <a:gd name="T33" fmla="*/ 172 h 385"/>
                <a:gd name="T34" fmla="*/ 243 w 832"/>
                <a:gd name="T35" fmla="*/ 155 h 385"/>
                <a:gd name="T36" fmla="*/ 230 w 832"/>
                <a:gd name="T37" fmla="*/ 141 h 385"/>
                <a:gd name="T38" fmla="*/ 212 w 832"/>
                <a:gd name="T39" fmla="*/ 131 h 385"/>
                <a:gd name="T40" fmla="*/ 191 w 832"/>
                <a:gd name="T41" fmla="*/ 129 h 385"/>
                <a:gd name="T42" fmla="*/ 191 w 832"/>
                <a:gd name="T43" fmla="*/ 0 h 385"/>
                <a:gd name="T44" fmla="*/ 226 w 832"/>
                <a:gd name="T45" fmla="*/ 4 h 385"/>
                <a:gd name="T46" fmla="*/ 259 w 832"/>
                <a:gd name="T47" fmla="*/ 13 h 385"/>
                <a:gd name="T48" fmla="*/ 289 w 832"/>
                <a:gd name="T49" fmla="*/ 28 h 385"/>
                <a:gd name="T50" fmla="*/ 316 w 832"/>
                <a:gd name="T51" fmla="*/ 47 h 385"/>
                <a:gd name="T52" fmla="*/ 339 w 832"/>
                <a:gd name="T53" fmla="*/ 71 h 385"/>
                <a:gd name="T54" fmla="*/ 358 w 832"/>
                <a:gd name="T55" fmla="*/ 97 h 385"/>
                <a:gd name="T56" fmla="*/ 372 w 832"/>
                <a:gd name="T57" fmla="*/ 129 h 385"/>
                <a:gd name="T58" fmla="*/ 703 w 832"/>
                <a:gd name="T59" fmla="*/ 129 h 385"/>
                <a:gd name="T60" fmla="*/ 703 w 832"/>
                <a:gd name="T61" fmla="*/ 65 h 385"/>
                <a:gd name="T62" fmla="*/ 832 w 832"/>
                <a:gd name="T63" fmla="*/ 65 h 385"/>
                <a:gd name="T64" fmla="*/ 832 w 832"/>
                <a:gd name="T65" fmla="*/ 256 h 385"/>
                <a:gd name="T66" fmla="*/ 372 w 832"/>
                <a:gd name="T67" fmla="*/ 256 h 385"/>
                <a:gd name="T68" fmla="*/ 358 w 832"/>
                <a:gd name="T69" fmla="*/ 287 h 385"/>
                <a:gd name="T70" fmla="*/ 339 w 832"/>
                <a:gd name="T71" fmla="*/ 314 h 385"/>
                <a:gd name="T72" fmla="*/ 316 w 832"/>
                <a:gd name="T73" fmla="*/ 338 h 385"/>
                <a:gd name="T74" fmla="*/ 289 w 832"/>
                <a:gd name="T75" fmla="*/ 357 h 385"/>
                <a:gd name="T76" fmla="*/ 259 w 832"/>
                <a:gd name="T77" fmla="*/ 371 h 385"/>
                <a:gd name="T78" fmla="*/ 226 w 832"/>
                <a:gd name="T79" fmla="*/ 381 h 385"/>
                <a:gd name="T80" fmla="*/ 191 w 832"/>
                <a:gd name="T81" fmla="*/ 385 h 385"/>
                <a:gd name="T82" fmla="*/ 158 w 832"/>
                <a:gd name="T83" fmla="*/ 381 h 385"/>
                <a:gd name="T84" fmla="*/ 125 w 832"/>
                <a:gd name="T85" fmla="*/ 373 h 385"/>
                <a:gd name="T86" fmla="*/ 95 w 832"/>
                <a:gd name="T87" fmla="*/ 358 h 385"/>
                <a:gd name="T88" fmla="*/ 68 w 832"/>
                <a:gd name="T89" fmla="*/ 339 h 385"/>
                <a:gd name="T90" fmla="*/ 45 w 832"/>
                <a:gd name="T91" fmla="*/ 316 h 385"/>
                <a:gd name="T92" fmla="*/ 26 w 832"/>
                <a:gd name="T93" fmla="*/ 288 h 385"/>
                <a:gd name="T94" fmla="*/ 12 w 832"/>
                <a:gd name="T95" fmla="*/ 260 h 385"/>
                <a:gd name="T96" fmla="*/ 3 w 832"/>
                <a:gd name="T97" fmla="*/ 227 h 385"/>
                <a:gd name="T98" fmla="*/ 0 w 832"/>
                <a:gd name="T99" fmla="*/ 192 h 385"/>
                <a:gd name="T100" fmla="*/ 3 w 832"/>
                <a:gd name="T101" fmla="*/ 157 h 385"/>
                <a:gd name="T102" fmla="*/ 12 w 832"/>
                <a:gd name="T103" fmla="*/ 125 h 385"/>
                <a:gd name="T104" fmla="*/ 26 w 832"/>
                <a:gd name="T105" fmla="*/ 95 h 385"/>
                <a:gd name="T106" fmla="*/ 45 w 832"/>
                <a:gd name="T107" fmla="*/ 69 h 385"/>
                <a:gd name="T108" fmla="*/ 68 w 832"/>
                <a:gd name="T109" fmla="*/ 46 h 385"/>
                <a:gd name="T110" fmla="*/ 95 w 832"/>
                <a:gd name="T111" fmla="*/ 26 h 385"/>
                <a:gd name="T112" fmla="*/ 125 w 832"/>
                <a:gd name="T113" fmla="*/ 12 h 385"/>
                <a:gd name="T114" fmla="*/ 158 w 832"/>
                <a:gd name="T115" fmla="*/ 4 h 385"/>
                <a:gd name="T116" fmla="*/ 191 w 832"/>
                <a:gd name="T117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32" h="385">
                  <a:moveTo>
                    <a:pt x="191" y="129"/>
                  </a:moveTo>
                  <a:lnTo>
                    <a:pt x="171" y="131"/>
                  </a:lnTo>
                  <a:lnTo>
                    <a:pt x="154" y="141"/>
                  </a:lnTo>
                  <a:lnTo>
                    <a:pt x="140" y="155"/>
                  </a:lnTo>
                  <a:lnTo>
                    <a:pt x="131" y="172"/>
                  </a:lnTo>
                  <a:lnTo>
                    <a:pt x="128" y="192"/>
                  </a:lnTo>
                  <a:lnTo>
                    <a:pt x="131" y="213"/>
                  </a:lnTo>
                  <a:lnTo>
                    <a:pt x="140" y="230"/>
                  </a:lnTo>
                  <a:lnTo>
                    <a:pt x="154" y="244"/>
                  </a:lnTo>
                  <a:lnTo>
                    <a:pt x="171" y="252"/>
                  </a:lnTo>
                  <a:lnTo>
                    <a:pt x="191" y="256"/>
                  </a:lnTo>
                  <a:lnTo>
                    <a:pt x="212" y="252"/>
                  </a:lnTo>
                  <a:lnTo>
                    <a:pt x="230" y="244"/>
                  </a:lnTo>
                  <a:lnTo>
                    <a:pt x="243" y="230"/>
                  </a:lnTo>
                  <a:lnTo>
                    <a:pt x="253" y="213"/>
                  </a:lnTo>
                  <a:lnTo>
                    <a:pt x="255" y="192"/>
                  </a:lnTo>
                  <a:lnTo>
                    <a:pt x="253" y="172"/>
                  </a:lnTo>
                  <a:lnTo>
                    <a:pt x="243" y="155"/>
                  </a:lnTo>
                  <a:lnTo>
                    <a:pt x="230" y="141"/>
                  </a:lnTo>
                  <a:lnTo>
                    <a:pt x="212" y="131"/>
                  </a:lnTo>
                  <a:lnTo>
                    <a:pt x="191" y="129"/>
                  </a:lnTo>
                  <a:close/>
                  <a:moveTo>
                    <a:pt x="191" y="0"/>
                  </a:moveTo>
                  <a:lnTo>
                    <a:pt x="226" y="4"/>
                  </a:lnTo>
                  <a:lnTo>
                    <a:pt x="259" y="13"/>
                  </a:lnTo>
                  <a:lnTo>
                    <a:pt x="289" y="28"/>
                  </a:lnTo>
                  <a:lnTo>
                    <a:pt x="316" y="47"/>
                  </a:lnTo>
                  <a:lnTo>
                    <a:pt x="339" y="71"/>
                  </a:lnTo>
                  <a:lnTo>
                    <a:pt x="358" y="97"/>
                  </a:lnTo>
                  <a:lnTo>
                    <a:pt x="372" y="129"/>
                  </a:lnTo>
                  <a:lnTo>
                    <a:pt x="703" y="129"/>
                  </a:lnTo>
                  <a:lnTo>
                    <a:pt x="703" y="65"/>
                  </a:lnTo>
                  <a:lnTo>
                    <a:pt x="832" y="65"/>
                  </a:lnTo>
                  <a:lnTo>
                    <a:pt x="832" y="256"/>
                  </a:lnTo>
                  <a:lnTo>
                    <a:pt x="372" y="256"/>
                  </a:lnTo>
                  <a:lnTo>
                    <a:pt x="358" y="287"/>
                  </a:lnTo>
                  <a:lnTo>
                    <a:pt x="339" y="314"/>
                  </a:lnTo>
                  <a:lnTo>
                    <a:pt x="316" y="338"/>
                  </a:lnTo>
                  <a:lnTo>
                    <a:pt x="289" y="357"/>
                  </a:lnTo>
                  <a:lnTo>
                    <a:pt x="259" y="371"/>
                  </a:lnTo>
                  <a:lnTo>
                    <a:pt x="226" y="381"/>
                  </a:lnTo>
                  <a:lnTo>
                    <a:pt x="191" y="385"/>
                  </a:lnTo>
                  <a:lnTo>
                    <a:pt x="158" y="381"/>
                  </a:lnTo>
                  <a:lnTo>
                    <a:pt x="125" y="373"/>
                  </a:lnTo>
                  <a:lnTo>
                    <a:pt x="95" y="358"/>
                  </a:lnTo>
                  <a:lnTo>
                    <a:pt x="68" y="339"/>
                  </a:lnTo>
                  <a:lnTo>
                    <a:pt x="45" y="316"/>
                  </a:lnTo>
                  <a:lnTo>
                    <a:pt x="26" y="288"/>
                  </a:lnTo>
                  <a:lnTo>
                    <a:pt x="12" y="260"/>
                  </a:lnTo>
                  <a:lnTo>
                    <a:pt x="3" y="227"/>
                  </a:lnTo>
                  <a:lnTo>
                    <a:pt x="0" y="192"/>
                  </a:lnTo>
                  <a:lnTo>
                    <a:pt x="3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5" y="69"/>
                  </a:lnTo>
                  <a:lnTo>
                    <a:pt x="68" y="46"/>
                  </a:lnTo>
                  <a:lnTo>
                    <a:pt x="95" y="26"/>
                  </a:lnTo>
                  <a:lnTo>
                    <a:pt x="125" y="12"/>
                  </a:lnTo>
                  <a:lnTo>
                    <a:pt x="158" y="4"/>
                  </a:lnTo>
                  <a:lnTo>
                    <a:pt x="1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25"/>
            <p:cNvSpPr>
              <a:spLocks noChangeArrowheads="1"/>
            </p:cNvSpPr>
            <p:nvPr/>
          </p:nvSpPr>
          <p:spPr bwMode="auto">
            <a:xfrm>
              <a:off x="4288" y="3440"/>
              <a:ext cx="128" cy="70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26"/>
            <p:cNvSpPr>
              <a:spLocks noChangeArrowheads="1"/>
            </p:cNvSpPr>
            <p:nvPr/>
          </p:nvSpPr>
          <p:spPr bwMode="auto">
            <a:xfrm>
              <a:off x="4032" y="3440"/>
              <a:ext cx="128" cy="70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7"/>
            <p:cNvSpPr>
              <a:spLocks noEditPoints="1"/>
            </p:cNvSpPr>
            <p:nvPr/>
          </p:nvSpPr>
          <p:spPr bwMode="auto">
            <a:xfrm>
              <a:off x="3392" y="3440"/>
              <a:ext cx="512" cy="703"/>
            </a:xfrm>
            <a:custGeom>
              <a:avLst/>
              <a:gdLst>
                <a:gd name="T0" fmla="*/ 192 w 512"/>
                <a:gd name="T1" fmla="*/ 447 h 703"/>
                <a:gd name="T2" fmla="*/ 172 w 512"/>
                <a:gd name="T3" fmla="*/ 451 h 703"/>
                <a:gd name="T4" fmla="*/ 155 w 512"/>
                <a:gd name="T5" fmla="*/ 459 h 703"/>
                <a:gd name="T6" fmla="*/ 140 w 512"/>
                <a:gd name="T7" fmla="*/ 473 h 703"/>
                <a:gd name="T8" fmla="*/ 132 w 512"/>
                <a:gd name="T9" fmla="*/ 491 h 703"/>
                <a:gd name="T10" fmla="*/ 128 w 512"/>
                <a:gd name="T11" fmla="*/ 511 h 703"/>
                <a:gd name="T12" fmla="*/ 132 w 512"/>
                <a:gd name="T13" fmla="*/ 531 h 703"/>
                <a:gd name="T14" fmla="*/ 140 w 512"/>
                <a:gd name="T15" fmla="*/ 549 h 703"/>
                <a:gd name="T16" fmla="*/ 155 w 512"/>
                <a:gd name="T17" fmla="*/ 562 h 703"/>
                <a:gd name="T18" fmla="*/ 172 w 512"/>
                <a:gd name="T19" fmla="*/ 572 h 703"/>
                <a:gd name="T20" fmla="*/ 192 w 512"/>
                <a:gd name="T21" fmla="*/ 576 h 703"/>
                <a:gd name="T22" fmla="*/ 212 w 512"/>
                <a:gd name="T23" fmla="*/ 572 h 703"/>
                <a:gd name="T24" fmla="*/ 230 w 512"/>
                <a:gd name="T25" fmla="*/ 562 h 703"/>
                <a:gd name="T26" fmla="*/ 244 w 512"/>
                <a:gd name="T27" fmla="*/ 549 h 703"/>
                <a:gd name="T28" fmla="*/ 253 w 512"/>
                <a:gd name="T29" fmla="*/ 531 h 703"/>
                <a:gd name="T30" fmla="*/ 256 w 512"/>
                <a:gd name="T31" fmla="*/ 511 h 703"/>
                <a:gd name="T32" fmla="*/ 253 w 512"/>
                <a:gd name="T33" fmla="*/ 491 h 703"/>
                <a:gd name="T34" fmla="*/ 244 w 512"/>
                <a:gd name="T35" fmla="*/ 473 h 703"/>
                <a:gd name="T36" fmla="*/ 230 w 512"/>
                <a:gd name="T37" fmla="*/ 459 h 703"/>
                <a:gd name="T38" fmla="*/ 212 w 512"/>
                <a:gd name="T39" fmla="*/ 451 h 703"/>
                <a:gd name="T40" fmla="*/ 192 w 512"/>
                <a:gd name="T41" fmla="*/ 447 h 703"/>
                <a:gd name="T42" fmla="*/ 128 w 512"/>
                <a:gd name="T43" fmla="*/ 0 h 703"/>
                <a:gd name="T44" fmla="*/ 256 w 512"/>
                <a:gd name="T45" fmla="*/ 0 h 703"/>
                <a:gd name="T46" fmla="*/ 256 w 512"/>
                <a:gd name="T47" fmla="*/ 228 h 703"/>
                <a:gd name="T48" fmla="*/ 384 w 512"/>
                <a:gd name="T49" fmla="*/ 101 h 703"/>
                <a:gd name="T50" fmla="*/ 384 w 512"/>
                <a:gd name="T51" fmla="*/ 0 h 703"/>
                <a:gd name="T52" fmla="*/ 512 w 512"/>
                <a:gd name="T53" fmla="*/ 0 h 703"/>
                <a:gd name="T54" fmla="*/ 512 w 512"/>
                <a:gd name="T55" fmla="*/ 154 h 703"/>
                <a:gd name="T56" fmla="*/ 307 w 512"/>
                <a:gd name="T57" fmla="*/ 358 h 703"/>
                <a:gd name="T58" fmla="*/ 333 w 512"/>
                <a:gd name="T59" fmla="*/ 382 h 703"/>
                <a:gd name="T60" fmla="*/ 354 w 512"/>
                <a:gd name="T61" fmla="*/ 410 h 703"/>
                <a:gd name="T62" fmla="*/ 370 w 512"/>
                <a:gd name="T63" fmla="*/ 441 h 703"/>
                <a:gd name="T64" fmla="*/ 381 w 512"/>
                <a:gd name="T65" fmla="*/ 475 h 703"/>
                <a:gd name="T66" fmla="*/ 384 w 512"/>
                <a:gd name="T67" fmla="*/ 511 h 703"/>
                <a:gd name="T68" fmla="*/ 381 w 512"/>
                <a:gd name="T69" fmla="*/ 546 h 703"/>
                <a:gd name="T70" fmla="*/ 372 w 512"/>
                <a:gd name="T71" fmla="*/ 578 h 703"/>
                <a:gd name="T72" fmla="*/ 358 w 512"/>
                <a:gd name="T73" fmla="*/ 608 h 703"/>
                <a:gd name="T74" fmla="*/ 339 w 512"/>
                <a:gd name="T75" fmla="*/ 634 h 703"/>
                <a:gd name="T76" fmla="*/ 316 w 512"/>
                <a:gd name="T77" fmla="*/ 657 h 703"/>
                <a:gd name="T78" fmla="*/ 289 w 512"/>
                <a:gd name="T79" fmla="*/ 677 h 703"/>
                <a:gd name="T80" fmla="*/ 259 w 512"/>
                <a:gd name="T81" fmla="*/ 691 h 703"/>
                <a:gd name="T82" fmla="*/ 227 w 512"/>
                <a:gd name="T83" fmla="*/ 699 h 703"/>
                <a:gd name="T84" fmla="*/ 192 w 512"/>
                <a:gd name="T85" fmla="*/ 703 h 703"/>
                <a:gd name="T86" fmla="*/ 157 w 512"/>
                <a:gd name="T87" fmla="*/ 699 h 703"/>
                <a:gd name="T88" fmla="*/ 125 w 512"/>
                <a:gd name="T89" fmla="*/ 691 h 703"/>
                <a:gd name="T90" fmla="*/ 96 w 512"/>
                <a:gd name="T91" fmla="*/ 677 h 703"/>
                <a:gd name="T92" fmla="*/ 68 w 512"/>
                <a:gd name="T93" fmla="*/ 657 h 703"/>
                <a:gd name="T94" fmla="*/ 45 w 512"/>
                <a:gd name="T95" fmla="*/ 634 h 703"/>
                <a:gd name="T96" fmla="*/ 26 w 512"/>
                <a:gd name="T97" fmla="*/ 608 h 703"/>
                <a:gd name="T98" fmla="*/ 12 w 512"/>
                <a:gd name="T99" fmla="*/ 578 h 703"/>
                <a:gd name="T100" fmla="*/ 3 w 512"/>
                <a:gd name="T101" fmla="*/ 546 h 703"/>
                <a:gd name="T102" fmla="*/ 0 w 512"/>
                <a:gd name="T103" fmla="*/ 511 h 703"/>
                <a:gd name="T104" fmla="*/ 3 w 512"/>
                <a:gd name="T105" fmla="*/ 476 h 703"/>
                <a:gd name="T106" fmla="*/ 13 w 512"/>
                <a:gd name="T107" fmla="*/ 443 h 703"/>
                <a:gd name="T108" fmla="*/ 27 w 512"/>
                <a:gd name="T109" fmla="*/ 413 h 703"/>
                <a:gd name="T110" fmla="*/ 47 w 512"/>
                <a:gd name="T111" fmla="*/ 387 h 703"/>
                <a:gd name="T112" fmla="*/ 71 w 512"/>
                <a:gd name="T113" fmla="*/ 364 h 703"/>
                <a:gd name="T114" fmla="*/ 98 w 512"/>
                <a:gd name="T115" fmla="*/ 345 h 703"/>
                <a:gd name="T116" fmla="*/ 128 w 512"/>
                <a:gd name="T117" fmla="*/ 330 h 703"/>
                <a:gd name="T118" fmla="*/ 128 w 512"/>
                <a:gd name="T119" fmla="*/ 0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2" h="703">
                  <a:moveTo>
                    <a:pt x="192" y="447"/>
                  </a:moveTo>
                  <a:lnTo>
                    <a:pt x="172" y="451"/>
                  </a:lnTo>
                  <a:lnTo>
                    <a:pt x="155" y="459"/>
                  </a:lnTo>
                  <a:lnTo>
                    <a:pt x="140" y="473"/>
                  </a:lnTo>
                  <a:lnTo>
                    <a:pt x="132" y="491"/>
                  </a:lnTo>
                  <a:lnTo>
                    <a:pt x="128" y="511"/>
                  </a:lnTo>
                  <a:lnTo>
                    <a:pt x="132" y="531"/>
                  </a:lnTo>
                  <a:lnTo>
                    <a:pt x="140" y="549"/>
                  </a:lnTo>
                  <a:lnTo>
                    <a:pt x="155" y="562"/>
                  </a:lnTo>
                  <a:lnTo>
                    <a:pt x="172" y="572"/>
                  </a:lnTo>
                  <a:lnTo>
                    <a:pt x="192" y="576"/>
                  </a:lnTo>
                  <a:lnTo>
                    <a:pt x="212" y="572"/>
                  </a:lnTo>
                  <a:lnTo>
                    <a:pt x="230" y="562"/>
                  </a:lnTo>
                  <a:lnTo>
                    <a:pt x="244" y="549"/>
                  </a:lnTo>
                  <a:lnTo>
                    <a:pt x="253" y="531"/>
                  </a:lnTo>
                  <a:lnTo>
                    <a:pt x="256" y="511"/>
                  </a:lnTo>
                  <a:lnTo>
                    <a:pt x="253" y="491"/>
                  </a:lnTo>
                  <a:lnTo>
                    <a:pt x="244" y="473"/>
                  </a:lnTo>
                  <a:lnTo>
                    <a:pt x="230" y="459"/>
                  </a:lnTo>
                  <a:lnTo>
                    <a:pt x="212" y="451"/>
                  </a:lnTo>
                  <a:lnTo>
                    <a:pt x="192" y="447"/>
                  </a:lnTo>
                  <a:close/>
                  <a:moveTo>
                    <a:pt x="128" y="0"/>
                  </a:moveTo>
                  <a:lnTo>
                    <a:pt x="256" y="0"/>
                  </a:lnTo>
                  <a:lnTo>
                    <a:pt x="256" y="228"/>
                  </a:lnTo>
                  <a:lnTo>
                    <a:pt x="384" y="101"/>
                  </a:lnTo>
                  <a:lnTo>
                    <a:pt x="384" y="0"/>
                  </a:lnTo>
                  <a:lnTo>
                    <a:pt x="512" y="0"/>
                  </a:lnTo>
                  <a:lnTo>
                    <a:pt x="512" y="154"/>
                  </a:lnTo>
                  <a:lnTo>
                    <a:pt x="307" y="358"/>
                  </a:lnTo>
                  <a:lnTo>
                    <a:pt x="333" y="382"/>
                  </a:lnTo>
                  <a:lnTo>
                    <a:pt x="354" y="410"/>
                  </a:lnTo>
                  <a:lnTo>
                    <a:pt x="370" y="441"/>
                  </a:lnTo>
                  <a:lnTo>
                    <a:pt x="381" y="475"/>
                  </a:lnTo>
                  <a:lnTo>
                    <a:pt x="384" y="511"/>
                  </a:lnTo>
                  <a:lnTo>
                    <a:pt x="381" y="546"/>
                  </a:lnTo>
                  <a:lnTo>
                    <a:pt x="372" y="578"/>
                  </a:lnTo>
                  <a:lnTo>
                    <a:pt x="358" y="608"/>
                  </a:lnTo>
                  <a:lnTo>
                    <a:pt x="339" y="634"/>
                  </a:lnTo>
                  <a:lnTo>
                    <a:pt x="316" y="657"/>
                  </a:lnTo>
                  <a:lnTo>
                    <a:pt x="289" y="677"/>
                  </a:lnTo>
                  <a:lnTo>
                    <a:pt x="259" y="691"/>
                  </a:lnTo>
                  <a:lnTo>
                    <a:pt x="227" y="699"/>
                  </a:lnTo>
                  <a:lnTo>
                    <a:pt x="192" y="703"/>
                  </a:lnTo>
                  <a:lnTo>
                    <a:pt x="157" y="699"/>
                  </a:lnTo>
                  <a:lnTo>
                    <a:pt x="125" y="691"/>
                  </a:lnTo>
                  <a:lnTo>
                    <a:pt x="96" y="677"/>
                  </a:lnTo>
                  <a:lnTo>
                    <a:pt x="68" y="657"/>
                  </a:lnTo>
                  <a:lnTo>
                    <a:pt x="45" y="634"/>
                  </a:lnTo>
                  <a:lnTo>
                    <a:pt x="26" y="608"/>
                  </a:lnTo>
                  <a:lnTo>
                    <a:pt x="12" y="578"/>
                  </a:lnTo>
                  <a:lnTo>
                    <a:pt x="3" y="546"/>
                  </a:lnTo>
                  <a:lnTo>
                    <a:pt x="0" y="511"/>
                  </a:lnTo>
                  <a:lnTo>
                    <a:pt x="3" y="476"/>
                  </a:lnTo>
                  <a:lnTo>
                    <a:pt x="13" y="443"/>
                  </a:lnTo>
                  <a:lnTo>
                    <a:pt x="27" y="413"/>
                  </a:lnTo>
                  <a:lnTo>
                    <a:pt x="47" y="387"/>
                  </a:lnTo>
                  <a:lnTo>
                    <a:pt x="71" y="364"/>
                  </a:lnTo>
                  <a:lnTo>
                    <a:pt x="98" y="345"/>
                  </a:lnTo>
                  <a:lnTo>
                    <a:pt x="128" y="330"/>
                  </a:lnTo>
                  <a:lnTo>
                    <a:pt x="1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8"/>
            <p:cNvSpPr>
              <a:spLocks/>
            </p:cNvSpPr>
            <p:nvPr/>
          </p:nvSpPr>
          <p:spPr bwMode="auto">
            <a:xfrm>
              <a:off x="3072" y="3440"/>
              <a:ext cx="320" cy="703"/>
            </a:xfrm>
            <a:custGeom>
              <a:avLst/>
              <a:gdLst>
                <a:gd name="T0" fmla="*/ 192 w 320"/>
                <a:gd name="T1" fmla="*/ 0 h 703"/>
                <a:gd name="T2" fmla="*/ 320 w 320"/>
                <a:gd name="T3" fmla="*/ 0 h 703"/>
                <a:gd name="T4" fmla="*/ 320 w 320"/>
                <a:gd name="T5" fmla="*/ 217 h 703"/>
                <a:gd name="T6" fmla="*/ 129 w 320"/>
                <a:gd name="T7" fmla="*/ 410 h 703"/>
                <a:gd name="T8" fmla="*/ 129 w 320"/>
                <a:gd name="T9" fmla="*/ 703 h 703"/>
                <a:gd name="T10" fmla="*/ 0 w 320"/>
                <a:gd name="T11" fmla="*/ 703 h 703"/>
                <a:gd name="T12" fmla="*/ 0 w 320"/>
                <a:gd name="T13" fmla="*/ 357 h 703"/>
                <a:gd name="T14" fmla="*/ 192 w 320"/>
                <a:gd name="T15" fmla="*/ 165 h 703"/>
                <a:gd name="T16" fmla="*/ 192 w 320"/>
                <a:gd name="T17" fmla="*/ 0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0" h="703">
                  <a:moveTo>
                    <a:pt x="192" y="0"/>
                  </a:moveTo>
                  <a:lnTo>
                    <a:pt x="320" y="0"/>
                  </a:lnTo>
                  <a:lnTo>
                    <a:pt x="320" y="217"/>
                  </a:lnTo>
                  <a:lnTo>
                    <a:pt x="129" y="410"/>
                  </a:lnTo>
                  <a:lnTo>
                    <a:pt x="129" y="703"/>
                  </a:lnTo>
                  <a:lnTo>
                    <a:pt x="0" y="703"/>
                  </a:lnTo>
                  <a:lnTo>
                    <a:pt x="0" y="357"/>
                  </a:lnTo>
                  <a:lnTo>
                    <a:pt x="192" y="165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9"/>
            <p:cNvSpPr>
              <a:spLocks noEditPoints="1"/>
            </p:cNvSpPr>
            <p:nvPr/>
          </p:nvSpPr>
          <p:spPr bwMode="auto">
            <a:xfrm>
              <a:off x="2689" y="1009"/>
              <a:ext cx="2302" cy="2302"/>
            </a:xfrm>
            <a:custGeom>
              <a:avLst/>
              <a:gdLst>
                <a:gd name="T0" fmla="*/ 256 w 2302"/>
                <a:gd name="T1" fmla="*/ 346 h 2302"/>
                <a:gd name="T2" fmla="*/ 2046 w 2302"/>
                <a:gd name="T3" fmla="*/ 2046 h 2302"/>
                <a:gd name="T4" fmla="*/ 346 w 2302"/>
                <a:gd name="T5" fmla="*/ 256 h 2302"/>
                <a:gd name="T6" fmla="*/ 448 w 2302"/>
                <a:gd name="T7" fmla="*/ 0 h 2302"/>
                <a:gd name="T8" fmla="*/ 575 w 2302"/>
                <a:gd name="T9" fmla="*/ 127 h 2302"/>
                <a:gd name="T10" fmla="*/ 703 w 2302"/>
                <a:gd name="T11" fmla="*/ 0 h 2302"/>
                <a:gd name="T12" fmla="*/ 831 w 2302"/>
                <a:gd name="T13" fmla="*/ 127 h 2302"/>
                <a:gd name="T14" fmla="*/ 959 w 2302"/>
                <a:gd name="T15" fmla="*/ 0 h 2302"/>
                <a:gd name="T16" fmla="*/ 1087 w 2302"/>
                <a:gd name="T17" fmla="*/ 127 h 2302"/>
                <a:gd name="T18" fmla="*/ 1215 w 2302"/>
                <a:gd name="T19" fmla="*/ 0 h 2302"/>
                <a:gd name="T20" fmla="*/ 1343 w 2302"/>
                <a:gd name="T21" fmla="*/ 127 h 2302"/>
                <a:gd name="T22" fmla="*/ 1471 w 2302"/>
                <a:gd name="T23" fmla="*/ 0 h 2302"/>
                <a:gd name="T24" fmla="*/ 1599 w 2302"/>
                <a:gd name="T25" fmla="*/ 127 h 2302"/>
                <a:gd name="T26" fmla="*/ 1727 w 2302"/>
                <a:gd name="T27" fmla="*/ 0 h 2302"/>
                <a:gd name="T28" fmla="*/ 1854 w 2302"/>
                <a:gd name="T29" fmla="*/ 127 h 2302"/>
                <a:gd name="T30" fmla="*/ 1983 w 2302"/>
                <a:gd name="T31" fmla="*/ 0 h 2302"/>
                <a:gd name="T32" fmla="*/ 2175 w 2302"/>
                <a:gd name="T33" fmla="*/ 127 h 2302"/>
                <a:gd name="T34" fmla="*/ 2302 w 2302"/>
                <a:gd name="T35" fmla="*/ 319 h 2302"/>
                <a:gd name="T36" fmla="*/ 2175 w 2302"/>
                <a:gd name="T37" fmla="*/ 448 h 2302"/>
                <a:gd name="T38" fmla="*/ 2302 w 2302"/>
                <a:gd name="T39" fmla="*/ 575 h 2302"/>
                <a:gd name="T40" fmla="*/ 2175 w 2302"/>
                <a:gd name="T41" fmla="*/ 703 h 2302"/>
                <a:gd name="T42" fmla="*/ 2302 w 2302"/>
                <a:gd name="T43" fmla="*/ 831 h 2302"/>
                <a:gd name="T44" fmla="*/ 2175 w 2302"/>
                <a:gd name="T45" fmla="*/ 959 h 2302"/>
                <a:gd name="T46" fmla="*/ 2302 w 2302"/>
                <a:gd name="T47" fmla="*/ 1087 h 2302"/>
                <a:gd name="T48" fmla="*/ 2175 w 2302"/>
                <a:gd name="T49" fmla="*/ 1215 h 2302"/>
                <a:gd name="T50" fmla="*/ 2302 w 2302"/>
                <a:gd name="T51" fmla="*/ 1343 h 2302"/>
                <a:gd name="T52" fmla="*/ 2175 w 2302"/>
                <a:gd name="T53" fmla="*/ 1471 h 2302"/>
                <a:gd name="T54" fmla="*/ 2302 w 2302"/>
                <a:gd name="T55" fmla="*/ 1599 h 2302"/>
                <a:gd name="T56" fmla="*/ 2175 w 2302"/>
                <a:gd name="T57" fmla="*/ 1727 h 2302"/>
                <a:gd name="T58" fmla="*/ 2302 w 2302"/>
                <a:gd name="T59" fmla="*/ 1854 h 2302"/>
                <a:gd name="T60" fmla="*/ 2175 w 2302"/>
                <a:gd name="T61" fmla="*/ 1983 h 2302"/>
                <a:gd name="T62" fmla="*/ 1983 w 2302"/>
                <a:gd name="T63" fmla="*/ 2175 h 2302"/>
                <a:gd name="T64" fmla="*/ 1854 w 2302"/>
                <a:gd name="T65" fmla="*/ 2302 h 2302"/>
                <a:gd name="T66" fmla="*/ 1727 w 2302"/>
                <a:gd name="T67" fmla="*/ 2175 h 2302"/>
                <a:gd name="T68" fmla="*/ 1599 w 2302"/>
                <a:gd name="T69" fmla="*/ 2302 h 2302"/>
                <a:gd name="T70" fmla="*/ 1471 w 2302"/>
                <a:gd name="T71" fmla="*/ 2175 h 2302"/>
                <a:gd name="T72" fmla="*/ 1343 w 2302"/>
                <a:gd name="T73" fmla="*/ 2302 h 2302"/>
                <a:gd name="T74" fmla="*/ 1215 w 2302"/>
                <a:gd name="T75" fmla="*/ 2175 h 2302"/>
                <a:gd name="T76" fmla="*/ 1087 w 2302"/>
                <a:gd name="T77" fmla="*/ 2302 h 2302"/>
                <a:gd name="T78" fmla="*/ 959 w 2302"/>
                <a:gd name="T79" fmla="*/ 2175 h 2302"/>
                <a:gd name="T80" fmla="*/ 831 w 2302"/>
                <a:gd name="T81" fmla="*/ 2302 h 2302"/>
                <a:gd name="T82" fmla="*/ 703 w 2302"/>
                <a:gd name="T83" fmla="*/ 2175 h 2302"/>
                <a:gd name="T84" fmla="*/ 575 w 2302"/>
                <a:gd name="T85" fmla="*/ 2302 h 2302"/>
                <a:gd name="T86" fmla="*/ 448 w 2302"/>
                <a:gd name="T87" fmla="*/ 2175 h 2302"/>
                <a:gd name="T88" fmla="*/ 319 w 2302"/>
                <a:gd name="T89" fmla="*/ 2302 h 2302"/>
                <a:gd name="T90" fmla="*/ 127 w 2302"/>
                <a:gd name="T91" fmla="*/ 2175 h 2302"/>
                <a:gd name="T92" fmla="*/ 0 w 2302"/>
                <a:gd name="T93" fmla="*/ 1983 h 2302"/>
                <a:gd name="T94" fmla="*/ 127 w 2302"/>
                <a:gd name="T95" fmla="*/ 1854 h 2302"/>
                <a:gd name="T96" fmla="*/ 0 w 2302"/>
                <a:gd name="T97" fmla="*/ 1727 h 2302"/>
                <a:gd name="T98" fmla="*/ 127 w 2302"/>
                <a:gd name="T99" fmla="*/ 1599 h 2302"/>
                <a:gd name="T100" fmla="*/ 0 w 2302"/>
                <a:gd name="T101" fmla="*/ 1471 h 2302"/>
                <a:gd name="T102" fmla="*/ 127 w 2302"/>
                <a:gd name="T103" fmla="*/ 1343 h 2302"/>
                <a:gd name="T104" fmla="*/ 0 w 2302"/>
                <a:gd name="T105" fmla="*/ 1215 h 2302"/>
                <a:gd name="T106" fmla="*/ 127 w 2302"/>
                <a:gd name="T107" fmla="*/ 1087 h 2302"/>
                <a:gd name="T108" fmla="*/ 0 w 2302"/>
                <a:gd name="T109" fmla="*/ 959 h 2302"/>
                <a:gd name="T110" fmla="*/ 127 w 2302"/>
                <a:gd name="T111" fmla="*/ 831 h 2302"/>
                <a:gd name="T112" fmla="*/ 0 w 2302"/>
                <a:gd name="T113" fmla="*/ 703 h 2302"/>
                <a:gd name="T114" fmla="*/ 127 w 2302"/>
                <a:gd name="T115" fmla="*/ 575 h 2302"/>
                <a:gd name="T116" fmla="*/ 0 w 2302"/>
                <a:gd name="T117" fmla="*/ 448 h 2302"/>
                <a:gd name="T118" fmla="*/ 127 w 2302"/>
                <a:gd name="T119" fmla="*/ 319 h 2302"/>
                <a:gd name="T120" fmla="*/ 293 w 2302"/>
                <a:gd name="T121" fmla="*/ 127 h 2302"/>
                <a:gd name="T122" fmla="*/ 319 w 2302"/>
                <a:gd name="T123" fmla="*/ 0 h 2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2" h="2302">
                  <a:moveTo>
                    <a:pt x="346" y="256"/>
                  </a:moveTo>
                  <a:lnTo>
                    <a:pt x="256" y="346"/>
                  </a:lnTo>
                  <a:lnTo>
                    <a:pt x="256" y="2046"/>
                  </a:lnTo>
                  <a:lnTo>
                    <a:pt x="2046" y="2046"/>
                  </a:lnTo>
                  <a:lnTo>
                    <a:pt x="2046" y="256"/>
                  </a:lnTo>
                  <a:lnTo>
                    <a:pt x="346" y="256"/>
                  </a:lnTo>
                  <a:close/>
                  <a:moveTo>
                    <a:pt x="319" y="0"/>
                  </a:moveTo>
                  <a:lnTo>
                    <a:pt x="448" y="0"/>
                  </a:lnTo>
                  <a:lnTo>
                    <a:pt x="448" y="127"/>
                  </a:lnTo>
                  <a:lnTo>
                    <a:pt x="575" y="127"/>
                  </a:lnTo>
                  <a:lnTo>
                    <a:pt x="575" y="0"/>
                  </a:lnTo>
                  <a:lnTo>
                    <a:pt x="703" y="0"/>
                  </a:lnTo>
                  <a:lnTo>
                    <a:pt x="703" y="127"/>
                  </a:lnTo>
                  <a:lnTo>
                    <a:pt x="831" y="127"/>
                  </a:lnTo>
                  <a:lnTo>
                    <a:pt x="831" y="0"/>
                  </a:lnTo>
                  <a:lnTo>
                    <a:pt x="959" y="0"/>
                  </a:lnTo>
                  <a:lnTo>
                    <a:pt x="959" y="127"/>
                  </a:lnTo>
                  <a:lnTo>
                    <a:pt x="1087" y="127"/>
                  </a:lnTo>
                  <a:lnTo>
                    <a:pt x="1087" y="0"/>
                  </a:lnTo>
                  <a:lnTo>
                    <a:pt x="1215" y="0"/>
                  </a:lnTo>
                  <a:lnTo>
                    <a:pt x="1215" y="127"/>
                  </a:lnTo>
                  <a:lnTo>
                    <a:pt x="1343" y="127"/>
                  </a:lnTo>
                  <a:lnTo>
                    <a:pt x="1343" y="0"/>
                  </a:lnTo>
                  <a:lnTo>
                    <a:pt x="1471" y="0"/>
                  </a:lnTo>
                  <a:lnTo>
                    <a:pt x="1471" y="127"/>
                  </a:lnTo>
                  <a:lnTo>
                    <a:pt x="1599" y="127"/>
                  </a:lnTo>
                  <a:lnTo>
                    <a:pt x="1599" y="0"/>
                  </a:lnTo>
                  <a:lnTo>
                    <a:pt x="1727" y="0"/>
                  </a:lnTo>
                  <a:lnTo>
                    <a:pt x="1727" y="127"/>
                  </a:lnTo>
                  <a:lnTo>
                    <a:pt x="1854" y="127"/>
                  </a:lnTo>
                  <a:lnTo>
                    <a:pt x="1854" y="0"/>
                  </a:lnTo>
                  <a:lnTo>
                    <a:pt x="1983" y="0"/>
                  </a:lnTo>
                  <a:lnTo>
                    <a:pt x="1983" y="127"/>
                  </a:lnTo>
                  <a:lnTo>
                    <a:pt x="2175" y="127"/>
                  </a:lnTo>
                  <a:lnTo>
                    <a:pt x="2175" y="319"/>
                  </a:lnTo>
                  <a:lnTo>
                    <a:pt x="2302" y="319"/>
                  </a:lnTo>
                  <a:lnTo>
                    <a:pt x="2302" y="448"/>
                  </a:lnTo>
                  <a:lnTo>
                    <a:pt x="2175" y="448"/>
                  </a:lnTo>
                  <a:lnTo>
                    <a:pt x="2175" y="575"/>
                  </a:lnTo>
                  <a:lnTo>
                    <a:pt x="2302" y="575"/>
                  </a:lnTo>
                  <a:lnTo>
                    <a:pt x="2302" y="703"/>
                  </a:lnTo>
                  <a:lnTo>
                    <a:pt x="2175" y="703"/>
                  </a:lnTo>
                  <a:lnTo>
                    <a:pt x="2175" y="831"/>
                  </a:lnTo>
                  <a:lnTo>
                    <a:pt x="2302" y="831"/>
                  </a:lnTo>
                  <a:lnTo>
                    <a:pt x="2302" y="959"/>
                  </a:lnTo>
                  <a:lnTo>
                    <a:pt x="2175" y="959"/>
                  </a:lnTo>
                  <a:lnTo>
                    <a:pt x="2175" y="1087"/>
                  </a:lnTo>
                  <a:lnTo>
                    <a:pt x="2302" y="1087"/>
                  </a:lnTo>
                  <a:lnTo>
                    <a:pt x="2302" y="1215"/>
                  </a:lnTo>
                  <a:lnTo>
                    <a:pt x="2175" y="1215"/>
                  </a:lnTo>
                  <a:lnTo>
                    <a:pt x="2175" y="1343"/>
                  </a:lnTo>
                  <a:lnTo>
                    <a:pt x="2302" y="1343"/>
                  </a:lnTo>
                  <a:lnTo>
                    <a:pt x="2302" y="1471"/>
                  </a:lnTo>
                  <a:lnTo>
                    <a:pt x="2175" y="1471"/>
                  </a:lnTo>
                  <a:lnTo>
                    <a:pt x="2175" y="1599"/>
                  </a:lnTo>
                  <a:lnTo>
                    <a:pt x="2302" y="1599"/>
                  </a:lnTo>
                  <a:lnTo>
                    <a:pt x="2302" y="1727"/>
                  </a:lnTo>
                  <a:lnTo>
                    <a:pt x="2175" y="1727"/>
                  </a:lnTo>
                  <a:lnTo>
                    <a:pt x="2175" y="1854"/>
                  </a:lnTo>
                  <a:lnTo>
                    <a:pt x="2302" y="1854"/>
                  </a:lnTo>
                  <a:lnTo>
                    <a:pt x="2302" y="1983"/>
                  </a:lnTo>
                  <a:lnTo>
                    <a:pt x="2175" y="1983"/>
                  </a:lnTo>
                  <a:lnTo>
                    <a:pt x="2175" y="2175"/>
                  </a:lnTo>
                  <a:lnTo>
                    <a:pt x="1983" y="2175"/>
                  </a:lnTo>
                  <a:lnTo>
                    <a:pt x="1983" y="2302"/>
                  </a:lnTo>
                  <a:lnTo>
                    <a:pt x="1854" y="2302"/>
                  </a:lnTo>
                  <a:lnTo>
                    <a:pt x="1854" y="2175"/>
                  </a:lnTo>
                  <a:lnTo>
                    <a:pt x="1727" y="2175"/>
                  </a:lnTo>
                  <a:lnTo>
                    <a:pt x="1727" y="2302"/>
                  </a:lnTo>
                  <a:lnTo>
                    <a:pt x="1599" y="2302"/>
                  </a:lnTo>
                  <a:lnTo>
                    <a:pt x="1599" y="2175"/>
                  </a:lnTo>
                  <a:lnTo>
                    <a:pt x="1471" y="2175"/>
                  </a:lnTo>
                  <a:lnTo>
                    <a:pt x="1471" y="2302"/>
                  </a:lnTo>
                  <a:lnTo>
                    <a:pt x="1343" y="2302"/>
                  </a:lnTo>
                  <a:lnTo>
                    <a:pt x="1343" y="2175"/>
                  </a:lnTo>
                  <a:lnTo>
                    <a:pt x="1215" y="2175"/>
                  </a:lnTo>
                  <a:lnTo>
                    <a:pt x="1215" y="2302"/>
                  </a:lnTo>
                  <a:lnTo>
                    <a:pt x="1087" y="2302"/>
                  </a:lnTo>
                  <a:lnTo>
                    <a:pt x="1087" y="2175"/>
                  </a:lnTo>
                  <a:lnTo>
                    <a:pt x="959" y="2175"/>
                  </a:lnTo>
                  <a:lnTo>
                    <a:pt x="959" y="2302"/>
                  </a:lnTo>
                  <a:lnTo>
                    <a:pt x="831" y="2302"/>
                  </a:lnTo>
                  <a:lnTo>
                    <a:pt x="831" y="2175"/>
                  </a:lnTo>
                  <a:lnTo>
                    <a:pt x="703" y="2175"/>
                  </a:lnTo>
                  <a:lnTo>
                    <a:pt x="703" y="2302"/>
                  </a:lnTo>
                  <a:lnTo>
                    <a:pt x="575" y="2302"/>
                  </a:lnTo>
                  <a:lnTo>
                    <a:pt x="575" y="2175"/>
                  </a:lnTo>
                  <a:lnTo>
                    <a:pt x="448" y="2175"/>
                  </a:lnTo>
                  <a:lnTo>
                    <a:pt x="448" y="2302"/>
                  </a:lnTo>
                  <a:lnTo>
                    <a:pt x="319" y="2302"/>
                  </a:lnTo>
                  <a:lnTo>
                    <a:pt x="319" y="2175"/>
                  </a:lnTo>
                  <a:lnTo>
                    <a:pt x="127" y="2175"/>
                  </a:lnTo>
                  <a:lnTo>
                    <a:pt x="127" y="1983"/>
                  </a:lnTo>
                  <a:lnTo>
                    <a:pt x="0" y="1983"/>
                  </a:lnTo>
                  <a:lnTo>
                    <a:pt x="0" y="1854"/>
                  </a:lnTo>
                  <a:lnTo>
                    <a:pt x="127" y="1854"/>
                  </a:lnTo>
                  <a:lnTo>
                    <a:pt x="127" y="1727"/>
                  </a:lnTo>
                  <a:lnTo>
                    <a:pt x="0" y="1727"/>
                  </a:lnTo>
                  <a:lnTo>
                    <a:pt x="0" y="1599"/>
                  </a:lnTo>
                  <a:lnTo>
                    <a:pt x="127" y="1599"/>
                  </a:lnTo>
                  <a:lnTo>
                    <a:pt x="127" y="1471"/>
                  </a:lnTo>
                  <a:lnTo>
                    <a:pt x="0" y="1471"/>
                  </a:lnTo>
                  <a:lnTo>
                    <a:pt x="0" y="1343"/>
                  </a:lnTo>
                  <a:lnTo>
                    <a:pt x="127" y="1343"/>
                  </a:lnTo>
                  <a:lnTo>
                    <a:pt x="127" y="1215"/>
                  </a:lnTo>
                  <a:lnTo>
                    <a:pt x="0" y="1215"/>
                  </a:lnTo>
                  <a:lnTo>
                    <a:pt x="0" y="1087"/>
                  </a:lnTo>
                  <a:lnTo>
                    <a:pt x="127" y="1087"/>
                  </a:lnTo>
                  <a:lnTo>
                    <a:pt x="127" y="959"/>
                  </a:lnTo>
                  <a:lnTo>
                    <a:pt x="0" y="959"/>
                  </a:lnTo>
                  <a:lnTo>
                    <a:pt x="0" y="831"/>
                  </a:lnTo>
                  <a:lnTo>
                    <a:pt x="127" y="831"/>
                  </a:lnTo>
                  <a:lnTo>
                    <a:pt x="127" y="703"/>
                  </a:lnTo>
                  <a:lnTo>
                    <a:pt x="0" y="703"/>
                  </a:lnTo>
                  <a:lnTo>
                    <a:pt x="0" y="575"/>
                  </a:lnTo>
                  <a:lnTo>
                    <a:pt x="127" y="575"/>
                  </a:lnTo>
                  <a:lnTo>
                    <a:pt x="127" y="448"/>
                  </a:lnTo>
                  <a:lnTo>
                    <a:pt x="0" y="448"/>
                  </a:lnTo>
                  <a:lnTo>
                    <a:pt x="0" y="319"/>
                  </a:lnTo>
                  <a:lnTo>
                    <a:pt x="127" y="319"/>
                  </a:lnTo>
                  <a:lnTo>
                    <a:pt x="127" y="293"/>
                  </a:lnTo>
                  <a:lnTo>
                    <a:pt x="293" y="127"/>
                  </a:lnTo>
                  <a:lnTo>
                    <a:pt x="319" y="127"/>
                  </a:lnTo>
                  <a:lnTo>
                    <a:pt x="3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0"/>
            <p:cNvSpPr>
              <a:spLocks noEditPoints="1"/>
            </p:cNvSpPr>
            <p:nvPr/>
          </p:nvSpPr>
          <p:spPr bwMode="auto">
            <a:xfrm>
              <a:off x="3072" y="1392"/>
              <a:ext cx="1536" cy="1536"/>
            </a:xfrm>
            <a:custGeom>
              <a:avLst/>
              <a:gdLst>
                <a:gd name="T0" fmla="*/ 704 w 1536"/>
                <a:gd name="T1" fmla="*/ 258 h 1536"/>
                <a:gd name="T2" fmla="*/ 600 w 1536"/>
                <a:gd name="T3" fmla="*/ 285 h 1536"/>
                <a:gd name="T4" fmla="*/ 496 w 1536"/>
                <a:gd name="T5" fmla="*/ 335 h 1536"/>
                <a:gd name="T6" fmla="*/ 361 w 1536"/>
                <a:gd name="T7" fmla="*/ 270 h 1536"/>
                <a:gd name="T8" fmla="*/ 362 w 1536"/>
                <a:gd name="T9" fmla="*/ 453 h 1536"/>
                <a:gd name="T10" fmla="*/ 308 w 1536"/>
                <a:gd name="T11" fmla="*/ 547 h 1536"/>
                <a:gd name="T12" fmla="*/ 269 w 1536"/>
                <a:gd name="T13" fmla="*/ 654 h 1536"/>
                <a:gd name="T14" fmla="*/ 129 w 1536"/>
                <a:gd name="T15" fmla="*/ 704 h 1536"/>
                <a:gd name="T16" fmla="*/ 258 w 1536"/>
                <a:gd name="T17" fmla="*/ 832 h 1536"/>
                <a:gd name="T18" fmla="*/ 285 w 1536"/>
                <a:gd name="T19" fmla="*/ 936 h 1536"/>
                <a:gd name="T20" fmla="*/ 335 w 1536"/>
                <a:gd name="T21" fmla="*/ 1040 h 1536"/>
                <a:gd name="T22" fmla="*/ 270 w 1536"/>
                <a:gd name="T23" fmla="*/ 1175 h 1536"/>
                <a:gd name="T24" fmla="*/ 453 w 1536"/>
                <a:gd name="T25" fmla="*/ 1174 h 1536"/>
                <a:gd name="T26" fmla="*/ 547 w 1536"/>
                <a:gd name="T27" fmla="*/ 1228 h 1536"/>
                <a:gd name="T28" fmla="*/ 654 w 1536"/>
                <a:gd name="T29" fmla="*/ 1267 h 1536"/>
                <a:gd name="T30" fmla="*/ 704 w 1536"/>
                <a:gd name="T31" fmla="*/ 1407 h 1536"/>
                <a:gd name="T32" fmla="*/ 832 w 1536"/>
                <a:gd name="T33" fmla="*/ 1278 h 1536"/>
                <a:gd name="T34" fmla="*/ 936 w 1536"/>
                <a:gd name="T35" fmla="*/ 1251 h 1536"/>
                <a:gd name="T36" fmla="*/ 1040 w 1536"/>
                <a:gd name="T37" fmla="*/ 1201 h 1536"/>
                <a:gd name="T38" fmla="*/ 1175 w 1536"/>
                <a:gd name="T39" fmla="*/ 1266 h 1536"/>
                <a:gd name="T40" fmla="*/ 1174 w 1536"/>
                <a:gd name="T41" fmla="*/ 1083 h 1536"/>
                <a:gd name="T42" fmla="*/ 1228 w 1536"/>
                <a:gd name="T43" fmla="*/ 989 h 1536"/>
                <a:gd name="T44" fmla="*/ 1267 w 1536"/>
                <a:gd name="T45" fmla="*/ 882 h 1536"/>
                <a:gd name="T46" fmla="*/ 1407 w 1536"/>
                <a:gd name="T47" fmla="*/ 832 h 1536"/>
                <a:gd name="T48" fmla="*/ 1278 w 1536"/>
                <a:gd name="T49" fmla="*/ 704 h 1536"/>
                <a:gd name="T50" fmla="*/ 1251 w 1536"/>
                <a:gd name="T51" fmla="*/ 600 h 1536"/>
                <a:gd name="T52" fmla="*/ 1201 w 1536"/>
                <a:gd name="T53" fmla="*/ 496 h 1536"/>
                <a:gd name="T54" fmla="*/ 1266 w 1536"/>
                <a:gd name="T55" fmla="*/ 361 h 1536"/>
                <a:gd name="T56" fmla="*/ 1083 w 1536"/>
                <a:gd name="T57" fmla="*/ 362 h 1536"/>
                <a:gd name="T58" fmla="*/ 989 w 1536"/>
                <a:gd name="T59" fmla="*/ 308 h 1536"/>
                <a:gd name="T60" fmla="*/ 882 w 1536"/>
                <a:gd name="T61" fmla="*/ 269 h 1536"/>
                <a:gd name="T62" fmla="*/ 832 w 1536"/>
                <a:gd name="T63" fmla="*/ 129 h 1536"/>
                <a:gd name="T64" fmla="*/ 576 w 1536"/>
                <a:gd name="T65" fmla="*/ 0 h 1536"/>
                <a:gd name="T66" fmla="*/ 960 w 1536"/>
                <a:gd name="T67" fmla="*/ 159 h 1536"/>
                <a:gd name="T68" fmla="*/ 1064 w 1536"/>
                <a:gd name="T69" fmla="*/ 201 h 1536"/>
                <a:gd name="T70" fmla="*/ 1447 w 1536"/>
                <a:gd name="T71" fmla="*/ 361 h 1536"/>
                <a:gd name="T72" fmla="*/ 1358 w 1536"/>
                <a:gd name="T73" fmla="*/ 523 h 1536"/>
                <a:gd name="T74" fmla="*/ 1536 w 1536"/>
                <a:gd name="T75" fmla="*/ 576 h 1536"/>
                <a:gd name="T76" fmla="*/ 1377 w 1536"/>
                <a:gd name="T77" fmla="*/ 960 h 1536"/>
                <a:gd name="T78" fmla="*/ 1335 w 1536"/>
                <a:gd name="T79" fmla="*/ 1064 h 1536"/>
                <a:gd name="T80" fmla="*/ 1175 w 1536"/>
                <a:gd name="T81" fmla="*/ 1447 h 1536"/>
                <a:gd name="T82" fmla="*/ 1013 w 1536"/>
                <a:gd name="T83" fmla="*/ 1358 h 1536"/>
                <a:gd name="T84" fmla="*/ 960 w 1536"/>
                <a:gd name="T85" fmla="*/ 1536 h 1536"/>
                <a:gd name="T86" fmla="*/ 576 w 1536"/>
                <a:gd name="T87" fmla="*/ 1377 h 1536"/>
                <a:gd name="T88" fmla="*/ 472 w 1536"/>
                <a:gd name="T89" fmla="*/ 1335 h 1536"/>
                <a:gd name="T90" fmla="*/ 89 w 1536"/>
                <a:gd name="T91" fmla="*/ 1175 h 1536"/>
                <a:gd name="T92" fmla="*/ 178 w 1536"/>
                <a:gd name="T93" fmla="*/ 1013 h 1536"/>
                <a:gd name="T94" fmla="*/ 0 w 1536"/>
                <a:gd name="T95" fmla="*/ 960 h 1536"/>
                <a:gd name="T96" fmla="*/ 159 w 1536"/>
                <a:gd name="T97" fmla="*/ 576 h 1536"/>
                <a:gd name="T98" fmla="*/ 201 w 1536"/>
                <a:gd name="T99" fmla="*/ 472 h 1536"/>
                <a:gd name="T100" fmla="*/ 361 w 1536"/>
                <a:gd name="T101" fmla="*/ 89 h 1536"/>
                <a:gd name="T102" fmla="*/ 523 w 1536"/>
                <a:gd name="T103" fmla="*/ 178 h 1536"/>
                <a:gd name="T104" fmla="*/ 576 w 1536"/>
                <a:gd name="T105" fmla="*/ 0 h 1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36" h="1536">
                  <a:moveTo>
                    <a:pt x="704" y="129"/>
                  </a:moveTo>
                  <a:lnTo>
                    <a:pt x="704" y="258"/>
                  </a:lnTo>
                  <a:lnTo>
                    <a:pt x="654" y="269"/>
                  </a:lnTo>
                  <a:lnTo>
                    <a:pt x="600" y="285"/>
                  </a:lnTo>
                  <a:lnTo>
                    <a:pt x="547" y="308"/>
                  </a:lnTo>
                  <a:lnTo>
                    <a:pt x="496" y="335"/>
                  </a:lnTo>
                  <a:lnTo>
                    <a:pt x="453" y="362"/>
                  </a:lnTo>
                  <a:lnTo>
                    <a:pt x="361" y="270"/>
                  </a:lnTo>
                  <a:lnTo>
                    <a:pt x="270" y="361"/>
                  </a:lnTo>
                  <a:lnTo>
                    <a:pt x="362" y="453"/>
                  </a:lnTo>
                  <a:lnTo>
                    <a:pt x="335" y="496"/>
                  </a:lnTo>
                  <a:lnTo>
                    <a:pt x="308" y="547"/>
                  </a:lnTo>
                  <a:lnTo>
                    <a:pt x="285" y="600"/>
                  </a:lnTo>
                  <a:lnTo>
                    <a:pt x="269" y="654"/>
                  </a:lnTo>
                  <a:lnTo>
                    <a:pt x="258" y="704"/>
                  </a:lnTo>
                  <a:lnTo>
                    <a:pt x="129" y="704"/>
                  </a:lnTo>
                  <a:lnTo>
                    <a:pt x="129" y="832"/>
                  </a:lnTo>
                  <a:lnTo>
                    <a:pt x="258" y="832"/>
                  </a:lnTo>
                  <a:lnTo>
                    <a:pt x="269" y="882"/>
                  </a:lnTo>
                  <a:lnTo>
                    <a:pt x="285" y="936"/>
                  </a:lnTo>
                  <a:lnTo>
                    <a:pt x="308" y="989"/>
                  </a:lnTo>
                  <a:lnTo>
                    <a:pt x="335" y="1040"/>
                  </a:lnTo>
                  <a:lnTo>
                    <a:pt x="362" y="1083"/>
                  </a:lnTo>
                  <a:lnTo>
                    <a:pt x="270" y="1175"/>
                  </a:lnTo>
                  <a:lnTo>
                    <a:pt x="361" y="1266"/>
                  </a:lnTo>
                  <a:lnTo>
                    <a:pt x="453" y="1174"/>
                  </a:lnTo>
                  <a:lnTo>
                    <a:pt x="496" y="1201"/>
                  </a:lnTo>
                  <a:lnTo>
                    <a:pt x="547" y="1228"/>
                  </a:lnTo>
                  <a:lnTo>
                    <a:pt x="600" y="1251"/>
                  </a:lnTo>
                  <a:lnTo>
                    <a:pt x="654" y="1267"/>
                  </a:lnTo>
                  <a:lnTo>
                    <a:pt x="704" y="1278"/>
                  </a:lnTo>
                  <a:lnTo>
                    <a:pt x="704" y="1407"/>
                  </a:lnTo>
                  <a:lnTo>
                    <a:pt x="832" y="1407"/>
                  </a:lnTo>
                  <a:lnTo>
                    <a:pt x="832" y="1278"/>
                  </a:lnTo>
                  <a:lnTo>
                    <a:pt x="882" y="1267"/>
                  </a:lnTo>
                  <a:lnTo>
                    <a:pt x="936" y="1251"/>
                  </a:lnTo>
                  <a:lnTo>
                    <a:pt x="989" y="1228"/>
                  </a:lnTo>
                  <a:lnTo>
                    <a:pt x="1040" y="1201"/>
                  </a:lnTo>
                  <a:lnTo>
                    <a:pt x="1083" y="1174"/>
                  </a:lnTo>
                  <a:lnTo>
                    <a:pt x="1175" y="1266"/>
                  </a:lnTo>
                  <a:lnTo>
                    <a:pt x="1266" y="1175"/>
                  </a:lnTo>
                  <a:lnTo>
                    <a:pt x="1174" y="1083"/>
                  </a:lnTo>
                  <a:lnTo>
                    <a:pt x="1201" y="1040"/>
                  </a:lnTo>
                  <a:lnTo>
                    <a:pt x="1228" y="989"/>
                  </a:lnTo>
                  <a:lnTo>
                    <a:pt x="1251" y="936"/>
                  </a:lnTo>
                  <a:lnTo>
                    <a:pt x="1267" y="882"/>
                  </a:lnTo>
                  <a:lnTo>
                    <a:pt x="1278" y="832"/>
                  </a:lnTo>
                  <a:lnTo>
                    <a:pt x="1407" y="832"/>
                  </a:lnTo>
                  <a:lnTo>
                    <a:pt x="1407" y="704"/>
                  </a:lnTo>
                  <a:lnTo>
                    <a:pt x="1278" y="704"/>
                  </a:lnTo>
                  <a:lnTo>
                    <a:pt x="1267" y="654"/>
                  </a:lnTo>
                  <a:lnTo>
                    <a:pt x="1251" y="600"/>
                  </a:lnTo>
                  <a:lnTo>
                    <a:pt x="1228" y="547"/>
                  </a:lnTo>
                  <a:lnTo>
                    <a:pt x="1201" y="496"/>
                  </a:lnTo>
                  <a:lnTo>
                    <a:pt x="1174" y="453"/>
                  </a:lnTo>
                  <a:lnTo>
                    <a:pt x="1266" y="361"/>
                  </a:lnTo>
                  <a:lnTo>
                    <a:pt x="1175" y="270"/>
                  </a:lnTo>
                  <a:lnTo>
                    <a:pt x="1083" y="362"/>
                  </a:lnTo>
                  <a:lnTo>
                    <a:pt x="1040" y="335"/>
                  </a:lnTo>
                  <a:lnTo>
                    <a:pt x="989" y="308"/>
                  </a:lnTo>
                  <a:lnTo>
                    <a:pt x="936" y="285"/>
                  </a:lnTo>
                  <a:lnTo>
                    <a:pt x="882" y="269"/>
                  </a:lnTo>
                  <a:lnTo>
                    <a:pt x="832" y="258"/>
                  </a:lnTo>
                  <a:lnTo>
                    <a:pt x="832" y="129"/>
                  </a:lnTo>
                  <a:lnTo>
                    <a:pt x="704" y="129"/>
                  </a:lnTo>
                  <a:close/>
                  <a:moveTo>
                    <a:pt x="576" y="0"/>
                  </a:moveTo>
                  <a:lnTo>
                    <a:pt x="960" y="0"/>
                  </a:lnTo>
                  <a:lnTo>
                    <a:pt x="960" y="159"/>
                  </a:lnTo>
                  <a:lnTo>
                    <a:pt x="1013" y="178"/>
                  </a:lnTo>
                  <a:lnTo>
                    <a:pt x="1064" y="201"/>
                  </a:lnTo>
                  <a:lnTo>
                    <a:pt x="1175" y="89"/>
                  </a:lnTo>
                  <a:lnTo>
                    <a:pt x="1447" y="361"/>
                  </a:lnTo>
                  <a:lnTo>
                    <a:pt x="1335" y="472"/>
                  </a:lnTo>
                  <a:lnTo>
                    <a:pt x="1358" y="523"/>
                  </a:lnTo>
                  <a:lnTo>
                    <a:pt x="1377" y="576"/>
                  </a:lnTo>
                  <a:lnTo>
                    <a:pt x="1536" y="576"/>
                  </a:lnTo>
                  <a:lnTo>
                    <a:pt x="1536" y="960"/>
                  </a:lnTo>
                  <a:lnTo>
                    <a:pt x="1377" y="960"/>
                  </a:lnTo>
                  <a:lnTo>
                    <a:pt x="1358" y="1013"/>
                  </a:lnTo>
                  <a:lnTo>
                    <a:pt x="1335" y="1064"/>
                  </a:lnTo>
                  <a:lnTo>
                    <a:pt x="1447" y="1175"/>
                  </a:lnTo>
                  <a:lnTo>
                    <a:pt x="1175" y="1447"/>
                  </a:lnTo>
                  <a:lnTo>
                    <a:pt x="1064" y="1335"/>
                  </a:lnTo>
                  <a:lnTo>
                    <a:pt x="1013" y="1358"/>
                  </a:lnTo>
                  <a:lnTo>
                    <a:pt x="960" y="1377"/>
                  </a:lnTo>
                  <a:lnTo>
                    <a:pt x="960" y="1536"/>
                  </a:lnTo>
                  <a:lnTo>
                    <a:pt x="576" y="1536"/>
                  </a:lnTo>
                  <a:lnTo>
                    <a:pt x="576" y="1377"/>
                  </a:lnTo>
                  <a:lnTo>
                    <a:pt x="523" y="1358"/>
                  </a:lnTo>
                  <a:lnTo>
                    <a:pt x="472" y="1335"/>
                  </a:lnTo>
                  <a:lnTo>
                    <a:pt x="361" y="1447"/>
                  </a:lnTo>
                  <a:lnTo>
                    <a:pt x="89" y="1175"/>
                  </a:lnTo>
                  <a:lnTo>
                    <a:pt x="201" y="1064"/>
                  </a:lnTo>
                  <a:lnTo>
                    <a:pt x="178" y="1013"/>
                  </a:lnTo>
                  <a:lnTo>
                    <a:pt x="159" y="960"/>
                  </a:lnTo>
                  <a:lnTo>
                    <a:pt x="0" y="960"/>
                  </a:lnTo>
                  <a:lnTo>
                    <a:pt x="0" y="576"/>
                  </a:lnTo>
                  <a:lnTo>
                    <a:pt x="159" y="576"/>
                  </a:lnTo>
                  <a:lnTo>
                    <a:pt x="178" y="523"/>
                  </a:lnTo>
                  <a:lnTo>
                    <a:pt x="201" y="472"/>
                  </a:lnTo>
                  <a:lnTo>
                    <a:pt x="89" y="361"/>
                  </a:lnTo>
                  <a:lnTo>
                    <a:pt x="361" y="89"/>
                  </a:lnTo>
                  <a:lnTo>
                    <a:pt x="472" y="201"/>
                  </a:lnTo>
                  <a:lnTo>
                    <a:pt x="523" y="178"/>
                  </a:lnTo>
                  <a:lnTo>
                    <a:pt x="576" y="159"/>
                  </a:lnTo>
                  <a:lnTo>
                    <a:pt x="5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1"/>
            <p:cNvSpPr>
              <a:spLocks noEditPoints="1"/>
            </p:cNvSpPr>
            <p:nvPr/>
          </p:nvSpPr>
          <p:spPr bwMode="auto">
            <a:xfrm>
              <a:off x="3520" y="1840"/>
              <a:ext cx="640" cy="640"/>
            </a:xfrm>
            <a:custGeom>
              <a:avLst/>
              <a:gdLst>
                <a:gd name="T0" fmla="*/ 285 w 640"/>
                <a:gd name="T1" fmla="*/ 131 h 640"/>
                <a:gd name="T2" fmla="*/ 223 w 640"/>
                <a:gd name="T3" fmla="*/ 154 h 640"/>
                <a:gd name="T4" fmla="*/ 173 w 640"/>
                <a:gd name="T5" fmla="*/ 196 h 640"/>
                <a:gd name="T6" fmla="*/ 140 w 640"/>
                <a:gd name="T7" fmla="*/ 253 h 640"/>
                <a:gd name="T8" fmla="*/ 128 w 640"/>
                <a:gd name="T9" fmla="*/ 320 h 640"/>
                <a:gd name="T10" fmla="*/ 140 w 640"/>
                <a:gd name="T11" fmla="*/ 387 h 640"/>
                <a:gd name="T12" fmla="*/ 173 w 640"/>
                <a:gd name="T13" fmla="*/ 444 h 640"/>
                <a:gd name="T14" fmla="*/ 223 w 640"/>
                <a:gd name="T15" fmla="*/ 486 h 640"/>
                <a:gd name="T16" fmla="*/ 285 w 640"/>
                <a:gd name="T17" fmla="*/ 509 h 640"/>
                <a:gd name="T18" fmla="*/ 355 w 640"/>
                <a:gd name="T19" fmla="*/ 509 h 640"/>
                <a:gd name="T20" fmla="*/ 417 w 640"/>
                <a:gd name="T21" fmla="*/ 486 h 640"/>
                <a:gd name="T22" fmla="*/ 467 w 640"/>
                <a:gd name="T23" fmla="*/ 444 h 640"/>
                <a:gd name="T24" fmla="*/ 500 w 640"/>
                <a:gd name="T25" fmla="*/ 387 h 640"/>
                <a:gd name="T26" fmla="*/ 512 w 640"/>
                <a:gd name="T27" fmla="*/ 320 h 640"/>
                <a:gd name="T28" fmla="*/ 500 w 640"/>
                <a:gd name="T29" fmla="*/ 253 h 640"/>
                <a:gd name="T30" fmla="*/ 467 w 640"/>
                <a:gd name="T31" fmla="*/ 196 h 640"/>
                <a:gd name="T32" fmla="*/ 417 w 640"/>
                <a:gd name="T33" fmla="*/ 154 h 640"/>
                <a:gd name="T34" fmla="*/ 355 w 640"/>
                <a:gd name="T35" fmla="*/ 131 h 640"/>
                <a:gd name="T36" fmla="*/ 320 w 640"/>
                <a:gd name="T37" fmla="*/ 0 h 640"/>
                <a:gd name="T38" fmla="*/ 413 w 640"/>
                <a:gd name="T39" fmla="*/ 14 h 640"/>
                <a:gd name="T40" fmla="*/ 494 w 640"/>
                <a:gd name="T41" fmla="*/ 52 h 640"/>
                <a:gd name="T42" fmla="*/ 562 w 640"/>
                <a:gd name="T43" fmla="*/ 110 h 640"/>
                <a:gd name="T44" fmla="*/ 610 w 640"/>
                <a:gd name="T45" fmla="*/ 185 h 640"/>
                <a:gd name="T46" fmla="*/ 636 w 640"/>
                <a:gd name="T47" fmla="*/ 273 h 640"/>
                <a:gd name="T48" fmla="*/ 636 w 640"/>
                <a:gd name="T49" fmla="*/ 367 h 640"/>
                <a:gd name="T50" fmla="*/ 610 w 640"/>
                <a:gd name="T51" fmla="*/ 455 h 640"/>
                <a:gd name="T52" fmla="*/ 562 w 640"/>
                <a:gd name="T53" fmla="*/ 530 h 640"/>
                <a:gd name="T54" fmla="*/ 494 w 640"/>
                <a:gd name="T55" fmla="*/ 588 h 640"/>
                <a:gd name="T56" fmla="*/ 413 w 640"/>
                <a:gd name="T57" fmla="*/ 626 h 640"/>
                <a:gd name="T58" fmla="*/ 320 w 640"/>
                <a:gd name="T59" fmla="*/ 640 h 640"/>
                <a:gd name="T60" fmla="*/ 227 w 640"/>
                <a:gd name="T61" fmla="*/ 626 h 640"/>
                <a:gd name="T62" fmla="*/ 146 w 640"/>
                <a:gd name="T63" fmla="*/ 588 h 640"/>
                <a:gd name="T64" fmla="*/ 78 w 640"/>
                <a:gd name="T65" fmla="*/ 530 h 640"/>
                <a:gd name="T66" fmla="*/ 30 w 640"/>
                <a:gd name="T67" fmla="*/ 455 h 640"/>
                <a:gd name="T68" fmla="*/ 4 w 640"/>
                <a:gd name="T69" fmla="*/ 367 h 640"/>
                <a:gd name="T70" fmla="*/ 4 w 640"/>
                <a:gd name="T71" fmla="*/ 273 h 640"/>
                <a:gd name="T72" fmla="*/ 30 w 640"/>
                <a:gd name="T73" fmla="*/ 185 h 640"/>
                <a:gd name="T74" fmla="*/ 78 w 640"/>
                <a:gd name="T75" fmla="*/ 110 h 640"/>
                <a:gd name="T76" fmla="*/ 146 w 640"/>
                <a:gd name="T77" fmla="*/ 52 h 640"/>
                <a:gd name="T78" fmla="*/ 227 w 640"/>
                <a:gd name="T79" fmla="*/ 14 h 640"/>
                <a:gd name="T80" fmla="*/ 320 w 640"/>
                <a:gd name="T81" fmla="*/ 0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0" h="640">
                  <a:moveTo>
                    <a:pt x="320" y="128"/>
                  </a:moveTo>
                  <a:lnTo>
                    <a:pt x="285" y="131"/>
                  </a:lnTo>
                  <a:lnTo>
                    <a:pt x="253" y="140"/>
                  </a:lnTo>
                  <a:lnTo>
                    <a:pt x="223" y="154"/>
                  </a:lnTo>
                  <a:lnTo>
                    <a:pt x="196" y="173"/>
                  </a:lnTo>
                  <a:lnTo>
                    <a:pt x="173" y="196"/>
                  </a:lnTo>
                  <a:lnTo>
                    <a:pt x="154" y="223"/>
                  </a:lnTo>
                  <a:lnTo>
                    <a:pt x="140" y="253"/>
                  </a:lnTo>
                  <a:lnTo>
                    <a:pt x="131" y="285"/>
                  </a:lnTo>
                  <a:lnTo>
                    <a:pt x="128" y="320"/>
                  </a:lnTo>
                  <a:lnTo>
                    <a:pt x="131" y="355"/>
                  </a:lnTo>
                  <a:lnTo>
                    <a:pt x="140" y="387"/>
                  </a:lnTo>
                  <a:lnTo>
                    <a:pt x="154" y="417"/>
                  </a:lnTo>
                  <a:lnTo>
                    <a:pt x="173" y="444"/>
                  </a:lnTo>
                  <a:lnTo>
                    <a:pt x="196" y="467"/>
                  </a:lnTo>
                  <a:lnTo>
                    <a:pt x="223" y="486"/>
                  </a:lnTo>
                  <a:lnTo>
                    <a:pt x="253" y="500"/>
                  </a:lnTo>
                  <a:lnTo>
                    <a:pt x="285" y="509"/>
                  </a:lnTo>
                  <a:lnTo>
                    <a:pt x="320" y="512"/>
                  </a:lnTo>
                  <a:lnTo>
                    <a:pt x="355" y="509"/>
                  </a:lnTo>
                  <a:lnTo>
                    <a:pt x="387" y="500"/>
                  </a:lnTo>
                  <a:lnTo>
                    <a:pt x="417" y="486"/>
                  </a:lnTo>
                  <a:lnTo>
                    <a:pt x="444" y="467"/>
                  </a:lnTo>
                  <a:lnTo>
                    <a:pt x="467" y="444"/>
                  </a:lnTo>
                  <a:lnTo>
                    <a:pt x="486" y="417"/>
                  </a:lnTo>
                  <a:lnTo>
                    <a:pt x="500" y="387"/>
                  </a:lnTo>
                  <a:lnTo>
                    <a:pt x="509" y="355"/>
                  </a:lnTo>
                  <a:lnTo>
                    <a:pt x="512" y="320"/>
                  </a:lnTo>
                  <a:lnTo>
                    <a:pt x="509" y="285"/>
                  </a:lnTo>
                  <a:lnTo>
                    <a:pt x="500" y="253"/>
                  </a:lnTo>
                  <a:lnTo>
                    <a:pt x="486" y="223"/>
                  </a:lnTo>
                  <a:lnTo>
                    <a:pt x="467" y="196"/>
                  </a:lnTo>
                  <a:lnTo>
                    <a:pt x="444" y="173"/>
                  </a:lnTo>
                  <a:lnTo>
                    <a:pt x="417" y="154"/>
                  </a:lnTo>
                  <a:lnTo>
                    <a:pt x="387" y="140"/>
                  </a:lnTo>
                  <a:lnTo>
                    <a:pt x="355" y="131"/>
                  </a:lnTo>
                  <a:lnTo>
                    <a:pt x="320" y="128"/>
                  </a:lnTo>
                  <a:close/>
                  <a:moveTo>
                    <a:pt x="320" y="0"/>
                  </a:moveTo>
                  <a:lnTo>
                    <a:pt x="367" y="4"/>
                  </a:lnTo>
                  <a:lnTo>
                    <a:pt x="413" y="14"/>
                  </a:lnTo>
                  <a:lnTo>
                    <a:pt x="455" y="30"/>
                  </a:lnTo>
                  <a:lnTo>
                    <a:pt x="494" y="52"/>
                  </a:lnTo>
                  <a:lnTo>
                    <a:pt x="530" y="78"/>
                  </a:lnTo>
                  <a:lnTo>
                    <a:pt x="562" y="110"/>
                  </a:lnTo>
                  <a:lnTo>
                    <a:pt x="588" y="146"/>
                  </a:lnTo>
                  <a:lnTo>
                    <a:pt x="610" y="185"/>
                  </a:lnTo>
                  <a:lnTo>
                    <a:pt x="626" y="227"/>
                  </a:lnTo>
                  <a:lnTo>
                    <a:pt x="636" y="273"/>
                  </a:lnTo>
                  <a:lnTo>
                    <a:pt x="640" y="320"/>
                  </a:lnTo>
                  <a:lnTo>
                    <a:pt x="636" y="367"/>
                  </a:lnTo>
                  <a:lnTo>
                    <a:pt x="626" y="413"/>
                  </a:lnTo>
                  <a:lnTo>
                    <a:pt x="610" y="455"/>
                  </a:lnTo>
                  <a:lnTo>
                    <a:pt x="588" y="494"/>
                  </a:lnTo>
                  <a:lnTo>
                    <a:pt x="562" y="530"/>
                  </a:lnTo>
                  <a:lnTo>
                    <a:pt x="530" y="562"/>
                  </a:lnTo>
                  <a:lnTo>
                    <a:pt x="494" y="588"/>
                  </a:lnTo>
                  <a:lnTo>
                    <a:pt x="455" y="610"/>
                  </a:lnTo>
                  <a:lnTo>
                    <a:pt x="413" y="626"/>
                  </a:lnTo>
                  <a:lnTo>
                    <a:pt x="367" y="636"/>
                  </a:lnTo>
                  <a:lnTo>
                    <a:pt x="320" y="640"/>
                  </a:lnTo>
                  <a:lnTo>
                    <a:pt x="273" y="636"/>
                  </a:lnTo>
                  <a:lnTo>
                    <a:pt x="227" y="626"/>
                  </a:lnTo>
                  <a:lnTo>
                    <a:pt x="185" y="610"/>
                  </a:lnTo>
                  <a:lnTo>
                    <a:pt x="146" y="588"/>
                  </a:lnTo>
                  <a:lnTo>
                    <a:pt x="110" y="562"/>
                  </a:lnTo>
                  <a:lnTo>
                    <a:pt x="78" y="530"/>
                  </a:lnTo>
                  <a:lnTo>
                    <a:pt x="52" y="494"/>
                  </a:lnTo>
                  <a:lnTo>
                    <a:pt x="30" y="455"/>
                  </a:lnTo>
                  <a:lnTo>
                    <a:pt x="14" y="413"/>
                  </a:lnTo>
                  <a:lnTo>
                    <a:pt x="4" y="367"/>
                  </a:lnTo>
                  <a:lnTo>
                    <a:pt x="0" y="320"/>
                  </a:lnTo>
                  <a:lnTo>
                    <a:pt x="4" y="273"/>
                  </a:lnTo>
                  <a:lnTo>
                    <a:pt x="14" y="227"/>
                  </a:lnTo>
                  <a:lnTo>
                    <a:pt x="30" y="185"/>
                  </a:lnTo>
                  <a:lnTo>
                    <a:pt x="52" y="146"/>
                  </a:lnTo>
                  <a:lnTo>
                    <a:pt x="78" y="110"/>
                  </a:lnTo>
                  <a:lnTo>
                    <a:pt x="110" y="78"/>
                  </a:lnTo>
                  <a:lnTo>
                    <a:pt x="146" y="52"/>
                  </a:lnTo>
                  <a:lnTo>
                    <a:pt x="185" y="30"/>
                  </a:lnTo>
                  <a:lnTo>
                    <a:pt x="227" y="14"/>
                  </a:lnTo>
                  <a:lnTo>
                    <a:pt x="273" y="4"/>
                  </a:lnTo>
                  <a:lnTo>
                    <a:pt x="3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99" name="Straight Connector 98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0175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81253" y="7074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81253" y="310150"/>
            <a:ext cx="882747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And customer service automation, such as </a:t>
            </a:r>
            <a:r>
              <a:rPr lang="en-US" sz="2600" dirty="0" err="1" smtClean="0">
                <a:solidFill>
                  <a:srgbClr val="0084CB"/>
                </a:solidFill>
                <a:latin typeface="Raleway" panose="020B0003030101060003" pitchFamily="34" charset="0"/>
              </a:rPr>
              <a:t>chatbots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, is going to play a major role in making this happen!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6054527" y="3926843"/>
            <a:ext cx="3555791" cy="1531917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6054527" y="5150002"/>
            <a:ext cx="3555791" cy="308758"/>
          </a:xfrm>
          <a:prstGeom prst="rect">
            <a:avLst/>
          </a:prstGeom>
          <a:solidFill>
            <a:srgbClr val="0084C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Raleway" panose="020B0003030101060003" pitchFamily="34" charset="0"/>
              </a:rPr>
              <a:t>Reduce Costs</a:t>
            </a:r>
            <a:endParaRPr lang="en-US" sz="1400" dirty="0">
              <a:latin typeface="Raleway" panose="020B0003030101060003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8000053" y="2307426"/>
            <a:ext cx="3555791" cy="1531917"/>
          </a:xfrm>
          <a:prstGeom prst="rect">
            <a:avLst/>
          </a:prstGeom>
          <a:blipFill>
            <a:blip r:embed="rId4" cstate="screen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8000053" y="3530585"/>
            <a:ext cx="3555791" cy="308758"/>
          </a:xfrm>
          <a:prstGeom prst="rect">
            <a:avLst/>
          </a:prstGeom>
          <a:solidFill>
            <a:srgbClr val="0084C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Raleway" panose="020B0003030101060003" pitchFamily="34" charset="0"/>
              </a:rPr>
              <a:t>Call Volume Agnostic</a:t>
            </a:r>
            <a:endParaRPr lang="en-US" sz="1400" dirty="0">
              <a:latin typeface="Raleway" panose="020B0003030101060003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59947" y="2307426"/>
            <a:ext cx="3555791" cy="1531917"/>
          </a:xfrm>
          <a:prstGeom prst="rect">
            <a:avLst/>
          </a:prstGeom>
          <a:blipFill>
            <a:blip r:embed="rId6" cstate="screen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4328396" y="2306935"/>
            <a:ext cx="3555791" cy="1531917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2386078" y="3926846"/>
            <a:ext cx="3555791" cy="1531917"/>
          </a:xfrm>
          <a:prstGeom prst="rect">
            <a:avLst/>
          </a:prstGeo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659947" y="3530585"/>
            <a:ext cx="3555791" cy="308758"/>
          </a:xfrm>
          <a:prstGeom prst="rect">
            <a:avLst/>
          </a:prstGeom>
          <a:solidFill>
            <a:srgbClr val="0084C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Raleway" panose="020B0003030101060003" pitchFamily="34" charset="0"/>
              </a:rPr>
              <a:t>80/20 Automation</a:t>
            </a:r>
            <a:endParaRPr lang="en-US" sz="1400" dirty="0">
              <a:latin typeface="Raleway" panose="020B0003030101060003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386078" y="5150005"/>
            <a:ext cx="3555791" cy="308758"/>
          </a:xfrm>
          <a:prstGeom prst="rect">
            <a:avLst/>
          </a:prstGeom>
          <a:solidFill>
            <a:srgbClr val="0084C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Raleway" panose="020B0003030101060003" pitchFamily="34" charset="0"/>
              </a:rPr>
              <a:t>Standardize Customer Experience</a:t>
            </a:r>
            <a:endParaRPr lang="en-US" sz="1400" dirty="0">
              <a:latin typeface="Raleway" panose="020B0003030101060003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328396" y="3530094"/>
            <a:ext cx="3555791" cy="308758"/>
          </a:xfrm>
          <a:prstGeom prst="rect">
            <a:avLst/>
          </a:prstGeom>
          <a:solidFill>
            <a:srgbClr val="0084C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Raleway" panose="020B0003030101060003" pitchFamily="34" charset="0"/>
              </a:rPr>
              <a:t>24/7</a:t>
            </a:r>
            <a:endParaRPr lang="en-US" sz="1400" dirty="0">
              <a:latin typeface="Raleway" panose="020B0003030101060003" pitchFamily="34" charset="0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2777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1" grpId="0" animBg="1"/>
      <p:bldP spid="22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481253" y="7074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81253" y="310150"/>
            <a:ext cx="882747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Achieving customer experience success has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j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ust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b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ecome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a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l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ot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e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asier for you – Introducing </a:t>
            </a:r>
            <a:r>
              <a:rPr lang="en-US" sz="2600" dirty="0" err="1" smtClean="0">
                <a:solidFill>
                  <a:srgbClr val="0084CB"/>
                </a:solidFill>
                <a:latin typeface="Raleway" panose="020B0003030101060003" pitchFamily="34" charset="0"/>
              </a:rPr>
              <a:t>ccRobot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!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3104191" y="2236221"/>
            <a:ext cx="5983619" cy="2966119"/>
            <a:chOff x="3104191" y="2188564"/>
            <a:chExt cx="5983619" cy="2966119"/>
          </a:xfrm>
        </p:grpSpPr>
        <p:sp>
          <p:nvSpPr>
            <p:cNvPr id="2" name="Rounded Rectangle 1"/>
            <p:cNvSpPr/>
            <p:nvPr/>
          </p:nvSpPr>
          <p:spPr>
            <a:xfrm>
              <a:off x="3104191" y="2188564"/>
              <a:ext cx="5983619" cy="2966119"/>
            </a:xfrm>
            <a:prstGeom prst="roundRect">
              <a:avLst>
                <a:gd name="adj" fmla="val 2011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Content Placeholder 3"/>
            <p:cNvSpPr txBox="1">
              <a:spLocks/>
            </p:cNvSpPr>
            <p:nvPr/>
          </p:nvSpPr>
          <p:spPr>
            <a:xfrm>
              <a:off x="3104191" y="4462645"/>
              <a:ext cx="5983619" cy="587967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US" sz="2000" dirty="0" smtClean="0">
                  <a:solidFill>
                    <a:srgbClr val="0084CB"/>
                  </a:solidFill>
                  <a:latin typeface="Raleway" panose="020B0003030101060003" pitchFamily="34" charset="0"/>
                </a:rPr>
                <a:t>A Cutting-Edge Enterprise </a:t>
              </a:r>
              <a:r>
                <a:rPr lang="en-US" sz="2000" dirty="0" err="1" smtClean="0">
                  <a:solidFill>
                    <a:srgbClr val="0084CB"/>
                  </a:solidFill>
                  <a:latin typeface="Raleway" panose="020B0003030101060003" pitchFamily="34" charset="0"/>
                </a:rPr>
                <a:t>Chatbot</a:t>
              </a:r>
              <a:r>
                <a:rPr lang="en-US" sz="2000" dirty="0" smtClean="0">
                  <a:solidFill>
                    <a:srgbClr val="0084CB"/>
                  </a:solidFill>
                  <a:latin typeface="Raleway" panose="020B0003030101060003" pitchFamily="34" charset="0"/>
                </a:rPr>
                <a:t> Platform:</a:t>
              </a:r>
              <a:endParaRPr lang="en-CA" sz="2000" dirty="0" smtClean="0">
                <a:solidFill>
                  <a:srgbClr val="0084CB"/>
                </a:solidFill>
                <a:latin typeface="Raleway" panose="020B0003030101060003" pitchFamily="34" charset="0"/>
              </a:endParaRPr>
            </a:p>
            <a:p>
              <a:pPr algn="ctr"/>
              <a:endParaRPr lang="en-US" sz="1100" dirty="0" smtClean="0">
                <a:solidFill>
                  <a:srgbClr val="0084CB"/>
                </a:solidFill>
                <a:latin typeface="Raleway" panose="020B0003030101060003" pitchFamily="34" charset="0"/>
              </a:endParaRPr>
            </a:p>
            <a:p>
              <a:pPr algn="ctr"/>
              <a:endParaRPr lang="en-CA" sz="1100" dirty="0">
                <a:solidFill>
                  <a:srgbClr val="0084CB"/>
                </a:solidFill>
                <a:latin typeface="Raleway" panose="020B0003030101060003" pitchFamily="34" charset="0"/>
              </a:endParaRPr>
            </a:p>
          </p:txBody>
        </p:sp>
        <p:pic>
          <p:nvPicPr>
            <p:cNvPr id="60" name="Picture 2" descr="\\10.10.1.18\Projects\Korah\Ccr\doc\ccRobot Logo\ccRobot-Final.pn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42660" y="2435616"/>
              <a:ext cx="5306680" cy="1986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2397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2623279"/>
            <a:ext cx="12192000" cy="34036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Raleway" panose="020B0003030101060003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23279"/>
            <a:ext cx="12192000" cy="3403600"/>
          </a:xfrm>
          <a:prstGeom prst="rect">
            <a:avLst/>
          </a:prstGeom>
          <a:solidFill>
            <a:srgbClr val="00C2F3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Raleway" panose="020B0003030101060003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481253" y="34056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81253" y="70547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ccRobot is really, really easy to use for customer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71135" y="1426198"/>
            <a:ext cx="8449730" cy="5431802"/>
          </a:xfrm>
          <a:prstGeom prst="rect">
            <a:avLst/>
          </a:prstGeom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47743" y="1761068"/>
            <a:ext cx="7633524" cy="4068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" name="Group 25"/>
          <p:cNvGrpSpPr/>
          <p:nvPr/>
        </p:nvGrpSpPr>
        <p:grpSpPr>
          <a:xfrm>
            <a:off x="5498415" y="3450696"/>
            <a:ext cx="1195170" cy="1195170"/>
            <a:chOff x="3984794" y="2001420"/>
            <a:chExt cx="1524000" cy="1524000"/>
          </a:xfrm>
        </p:grpSpPr>
        <p:sp>
          <p:nvSpPr>
            <p:cNvPr id="27" name="Rounded Rectangle 26"/>
            <p:cNvSpPr/>
            <p:nvPr/>
          </p:nvSpPr>
          <p:spPr>
            <a:xfrm>
              <a:off x="3984794" y="2001420"/>
              <a:ext cx="1524000" cy="1524000"/>
            </a:xfrm>
            <a:prstGeom prst="roundRect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25000">
                  <a:schemeClr val="accent1">
                    <a:lumMod val="20000"/>
                    <a:lumOff val="8000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381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  <a:p>
              <a:pPr algn="ctr"/>
              <a:endParaRPr lang="en-US" sz="1200" dirty="0"/>
            </a:p>
            <a:p>
              <a:pPr algn="ctr"/>
              <a:endParaRPr lang="en-US" sz="1200" dirty="0"/>
            </a:p>
            <a:p>
              <a:pPr algn="ctr"/>
              <a:endParaRPr lang="en-US" sz="1200" dirty="0"/>
            </a:p>
            <a:p>
              <a:pPr algn="ctr"/>
              <a:r>
                <a:rPr lang="en-US" sz="1400" b="1" dirty="0"/>
                <a:t>CHAT NOW</a:t>
              </a:r>
              <a:endParaRPr lang="en-CA" sz="1600" b="1" dirty="0"/>
            </a:p>
          </p:txBody>
        </p:sp>
        <p:pic>
          <p:nvPicPr>
            <p:cNvPr id="28" name="Picture 4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4306" y="2077620"/>
              <a:ext cx="964978" cy="1005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9" name="Picture 4" descr="\\10.10.1.18\Projects\Korah\Ccr\doc\PowerPoint slides\ccrobot in action canada_no text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3590" y="1761068"/>
            <a:ext cx="2438146" cy="4021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3590" y="1761068"/>
            <a:ext cx="2438146" cy="4021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5988569" y="3184785"/>
            <a:ext cx="1374446" cy="41831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2" name="Rectangle 31"/>
          <p:cNvSpPr/>
          <p:nvPr/>
        </p:nvSpPr>
        <p:spPr>
          <a:xfrm>
            <a:off x="4962513" y="3603095"/>
            <a:ext cx="1374446" cy="41831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3" name="Rectangle 32"/>
          <p:cNvSpPr/>
          <p:nvPr/>
        </p:nvSpPr>
        <p:spPr>
          <a:xfrm>
            <a:off x="5097171" y="4016001"/>
            <a:ext cx="2265844" cy="41831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4" name="Rectangle 33"/>
          <p:cNvSpPr/>
          <p:nvPr/>
        </p:nvSpPr>
        <p:spPr>
          <a:xfrm>
            <a:off x="4962513" y="4434311"/>
            <a:ext cx="2400300" cy="8416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16868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6376E-6 2.22222E-6 L 0.27255 0.0828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27" y="414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26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5" dur="indefinite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6" dur="indefinite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500"/>
                            </p:stCondLst>
                            <p:childTnLst>
                              <p:par>
                                <p:cTn id="39" presetID="10" presetClass="exit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3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300"/>
                            </p:stCondLst>
                            <p:childTnLst>
                              <p:par>
                                <p:cTn id="43" presetID="10" presetClass="exit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3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100"/>
                            </p:stCondLst>
                            <p:childTnLst>
                              <p:par>
                                <p:cTn id="47" presetID="10" presetClass="exit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3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900"/>
                            </p:stCondLst>
                            <p:childTnLst>
                              <p:par>
                                <p:cTn id="51" presetID="10" presetClass="exit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 animBg="1"/>
      <p:bldP spid="34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/>
          <p:cNvGrpSpPr/>
          <p:nvPr/>
        </p:nvGrpSpPr>
        <p:grpSpPr>
          <a:xfrm flipH="1" flipV="1">
            <a:off x="7072887" y="5558371"/>
            <a:ext cx="1287719" cy="286192"/>
            <a:chOff x="7106773" y="1917517"/>
            <a:chExt cx="1287719" cy="286192"/>
          </a:xfrm>
        </p:grpSpPr>
        <p:cxnSp>
          <p:nvCxnSpPr>
            <p:cNvPr id="56" name="Straight Connector 55"/>
            <p:cNvCxnSpPr/>
            <p:nvPr/>
          </p:nvCxnSpPr>
          <p:spPr>
            <a:xfrm>
              <a:off x="7106773" y="1917517"/>
              <a:ext cx="884238" cy="0"/>
            </a:xfrm>
            <a:prstGeom prst="line">
              <a:avLst/>
            </a:prstGeom>
            <a:ln>
              <a:solidFill>
                <a:srgbClr val="0084CB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7976021" y="1917517"/>
              <a:ext cx="418471" cy="286192"/>
            </a:xfrm>
            <a:prstGeom prst="line">
              <a:avLst/>
            </a:prstGeom>
            <a:ln>
              <a:solidFill>
                <a:srgbClr val="0084CB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 flipH="1">
            <a:off x="7106773" y="1952032"/>
            <a:ext cx="1287719" cy="286192"/>
            <a:chOff x="7106773" y="1917517"/>
            <a:chExt cx="1287719" cy="286192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7106773" y="1917517"/>
              <a:ext cx="884238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976021" y="1917517"/>
              <a:ext cx="418471" cy="2861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43"/>
          <p:cNvGrpSpPr/>
          <p:nvPr/>
        </p:nvGrpSpPr>
        <p:grpSpPr>
          <a:xfrm>
            <a:off x="3750322" y="1952032"/>
            <a:ext cx="1287719" cy="286192"/>
            <a:chOff x="7106773" y="1917517"/>
            <a:chExt cx="1287719" cy="286192"/>
          </a:xfrm>
        </p:grpSpPr>
        <p:cxnSp>
          <p:nvCxnSpPr>
            <p:cNvPr id="45" name="Straight Connector 44"/>
            <p:cNvCxnSpPr/>
            <p:nvPr/>
          </p:nvCxnSpPr>
          <p:spPr>
            <a:xfrm>
              <a:off x="7106773" y="1917517"/>
              <a:ext cx="884238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7976021" y="1917517"/>
              <a:ext cx="418471" cy="2861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" name="Straight Connector 6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481253" y="34056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81253" y="70547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And it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h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as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a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u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nique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s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et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o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f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b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enefits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f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or </a:t>
            </a:r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o</a:t>
            </a:r>
            <a:r>
              <a:rPr lang="en-US" sz="26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perators</a:t>
            </a:r>
            <a:endParaRPr lang="en-US" sz="2600" dirty="0">
              <a:solidFill>
                <a:srgbClr val="0084CB"/>
              </a:solidFill>
              <a:latin typeface="Raleway" panose="020B0003030101060003" pitchFamily="34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933084" y="1700225"/>
            <a:ext cx="4356099" cy="4170363"/>
            <a:chOff x="3933084" y="1700225"/>
            <a:chExt cx="4356099" cy="4170363"/>
          </a:xfrm>
        </p:grpSpPr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933084" y="2762263"/>
              <a:ext cx="1095375" cy="2028825"/>
            </a:xfrm>
            <a:custGeom>
              <a:avLst/>
              <a:gdLst>
                <a:gd name="T0" fmla="*/ 135 w 135"/>
                <a:gd name="T1" fmla="*/ 52 h 250"/>
                <a:gd name="T2" fmla="*/ 44 w 135"/>
                <a:gd name="T3" fmla="*/ 0 h 250"/>
                <a:gd name="T4" fmla="*/ 43 w 135"/>
                <a:gd name="T5" fmla="*/ 250 h 250"/>
                <a:gd name="T6" fmla="*/ 134 w 135"/>
                <a:gd name="T7" fmla="*/ 200 h 250"/>
                <a:gd name="T8" fmla="*/ 116 w 135"/>
                <a:gd name="T9" fmla="*/ 127 h 250"/>
                <a:gd name="T10" fmla="*/ 135 w 135"/>
                <a:gd name="T11" fmla="*/ 52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" h="250">
                  <a:moveTo>
                    <a:pt x="135" y="52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1" y="78"/>
                    <a:pt x="0" y="172"/>
                    <a:pt x="43" y="250"/>
                  </a:cubicBezTo>
                  <a:cubicBezTo>
                    <a:pt x="134" y="200"/>
                    <a:pt x="134" y="200"/>
                    <a:pt x="134" y="200"/>
                  </a:cubicBezTo>
                  <a:cubicBezTo>
                    <a:pt x="122" y="178"/>
                    <a:pt x="116" y="153"/>
                    <a:pt x="116" y="127"/>
                  </a:cubicBezTo>
                  <a:cubicBezTo>
                    <a:pt x="116" y="100"/>
                    <a:pt x="123" y="74"/>
                    <a:pt x="135" y="52"/>
                  </a:cubicBezTo>
                  <a:close/>
                </a:path>
              </a:pathLst>
            </a:custGeom>
            <a:solidFill>
              <a:srgbClr val="00C2F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6114308" y="4441838"/>
              <a:ext cx="1768475" cy="1428750"/>
            </a:xfrm>
            <a:custGeom>
              <a:avLst/>
              <a:gdLst>
                <a:gd name="T0" fmla="*/ 130 w 218"/>
                <a:gd name="T1" fmla="*/ 0 h 176"/>
                <a:gd name="T2" fmla="*/ 218 w 218"/>
                <a:gd name="T3" fmla="*/ 55 h 176"/>
                <a:gd name="T4" fmla="*/ 0 w 218"/>
                <a:gd name="T5" fmla="*/ 176 h 176"/>
                <a:gd name="T6" fmla="*/ 0 w 218"/>
                <a:gd name="T7" fmla="*/ 73 h 176"/>
                <a:gd name="T8" fmla="*/ 130 w 218"/>
                <a:gd name="T9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176">
                  <a:moveTo>
                    <a:pt x="130" y="0"/>
                  </a:moveTo>
                  <a:cubicBezTo>
                    <a:pt x="218" y="55"/>
                    <a:pt x="218" y="55"/>
                    <a:pt x="218" y="55"/>
                  </a:cubicBezTo>
                  <a:cubicBezTo>
                    <a:pt x="171" y="130"/>
                    <a:pt x="89" y="176"/>
                    <a:pt x="0" y="176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55" y="73"/>
                    <a:pt x="103" y="44"/>
                    <a:pt x="130" y="0"/>
                  </a:cubicBezTo>
                  <a:close/>
                </a:path>
              </a:pathLst>
            </a:custGeom>
            <a:solidFill>
              <a:srgbClr val="0084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4329958" y="1700225"/>
              <a:ext cx="1768475" cy="1444625"/>
            </a:xfrm>
            <a:custGeom>
              <a:avLst/>
              <a:gdLst>
                <a:gd name="T0" fmla="*/ 218 w 218"/>
                <a:gd name="T1" fmla="*/ 105 h 178"/>
                <a:gd name="T2" fmla="*/ 216 w 218"/>
                <a:gd name="T3" fmla="*/ 0 h 178"/>
                <a:gd name="T4" fmla="*/ 0 w 218"/>
                <a:gd name="T5" fmla="*/ 123 h 178"/>
                <a:gd name="T6" fmla="*/ 89 w 218"/>
                <a:gd name="T7" fmla="*/ 178 h 178"/>
                <a:gd name="T8" fmla="*/ 218 w 218"/>
                <a:gd name="T9" fmla="*/ 10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178">
                  <a:moveTo>
                    <a:pt x="218" y="105"/>
                  </a:moveTo>
                  <a:cubicBezTo>
                    <a:pt x="216" y="0"/>
                    <a:pt x="216" y="0"/>
                    <a:pt x="216" y="0"/>
                  </a:cubicBezTo>
                  <a:cubicBezTo>
                    <a:pt x="128" y="1"/>
                    <a:pt x="46" y="48"/>
                    <a:pt x="0" y="123"/>
                  </a:cubicBezTo>
                  <a:cubicBezTo>
                    <a:pt x="89" y="178"/>
                    <a:pt x="89" y="178"/>
                    <a:pt x="89" y="178"/>
                  </a:cubicBezTo>
                  <a:cubicBezTo>
                    <a:pt x="116" y="135"/>
                    <a:pt x="163" y="106"/>
                    <a:pt x="218" y="105"/>
                  </a:cubicBezTo>
                  <a:close/>
                </a:path>
              </a:pathLst>
            </a:custGeom>
            <a:solidFill>
              <a:srgbClr val="0084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7193808" y="2795600"/>
              <a:ext cx="1095375" cy="2019300"/>
            </a:xfrm>
            <a:custGeom>
              <a:avLst/>
              <a:gdLst>
                <a:gd name="T0" fmla="*/ 1 w 135"/>
                <a:gd name="T1" fmla="*/ 50 h 249"/>
                <a:gd name="T2" fmla="*/ 93 w 135"/>
                <a:gd name="T3" fmla="*/ 0 h 249"/>
                <a:gd name="T4" fmla="*/ 90 w 135"/>
                <a:gd name="T5" fmla="*/ 249 h 249"/>
                <a:gd name="T6" fmla="*/ 0 w 135"/>
                <a:gd name="T7" fmla="*/ 198 h 249"/>
                <a:gd name="T8" fmla="*/ 19 w 135"/>
                <a:gd name="T9" fmla="*/ 123 h 249"/>
                <a:gd name="T10" fmla="*/ 1 w 135"/>
                <a:gd name="T11" fmla="*/ 5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" h="249">
                  <a:moveTo>
                    <a:pt x="1" y="5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135" y="78"/>
                    <a:pt x="134" y="172"/>
                    <a:pt x="90" y="249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12" y="176"/>
                    <a:pt x="19" y="150"/>
                    <a:pt x="19" y="123"/>
                  </a:cubicBezTo>
                  <a:cubicBezTo>
                    <a:pt x="19" y="97"/>
                    <a:pt x="13" y="72"/>
                    <a:pt x="1" y="50"/>
                  </a:cubicBezTo>
                  <a:close/>
                </a:path>
              </a:pathLst>
            </a:custGeom>
            <a:solidFill>
              <a:srgbClr val="00C2F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6139708" y="1700225"/>
              <a:ext cx="1768475" cy="1452563"/>
            </a:xfrm>
            <a:custGeom>
              <a:avLst/>
              <a:gdLst>
                <a:gd name="T0" fmla="*/ 0 w 218"/>
                <a:gd name="T1" fmla="*/ 105 h 179"/>
                <a:gd name="T2" fmla="*/ 2 w 218"/>
                <a:gd name="T3" fmla="*/ 0 h 179"/>
                <a:gd name="T4" fmla="*/ 218 w 218"/>
                <a:gd name="T5" fmla="*/ 126 h 179"/>
                <a:gd name="T6" fmla="*/ 128 w 218"/>
                <a:gd name="T7" fmla="*/ 179 h 179"/>
                <a:gd name="T8" fmla="*/ 0 w 218"/>
                <a:gd name="T9" fmla="*/ 10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179">
                  <a:moveTo>
                    <a:pt x="0" y="105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91" y="2"/>
                    <a:pt x="172" y="50"/>
                    <a:pt x="218" y="126"/>
                  </a:cubicBezTo>
                  <a:cubicBezTo>
                    <a:pt x="128" y="179"/>
                    <a:pt x="128" y="179"/>
                    <a:pt x="128" y="179"/>
                  </a:cubicBezTo>
                  <a:cubicBezTo>
                    <a:pt x="101" y="136"/>
                    <a:pt x="54" y="107"/>
                    <a:pt x="0" y="10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4306146" y="4410088"/>
              <a:ext cx="1768475" cy="1460500"/>
            </a:xfrm>
            <a:custGeom>
              <a:avLst/>
              <a:gdLst>
                <a:gd name="T0" fmla="*/ 90 w 218"/>
                <a:gd name="T1" fmla="*/ 0 h 180"/>
                <a:gd name="T2" fmla="*/ 0 w 218"/>
                <a:gd name="T3" fmla="*/ 53 h 180"/>
                <a:gd name="T4" fmla="*/ 214 w 218"/>
                <a:gd name="T5" fmla="*/ 180 h 180"/>
                <a:gd name="T6" fmla="*/ 218 w 218"/>
                <a:gd name="T7" fmla="*/ 77 h 180"/>
                <a:gd name="T8" fmla="*/ 90 w 218"/>
                <a:gd name="T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180">
                  <a:moveTo>
                    <a:pt x="90" y="0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45" y="130"/>
                    <a:pt x="126" y="178"/>
                    <a:pt x="214" y="180"/>
                  </a:cubicBezTo>
                  <a:cubicBezTo>
                    <a:pt x="218" y="77"/>
                    <a:pt x="218" y="77"/>
                    <a:pt x="218" y="77"/>
                  </a:cubicBezTo>
                  <a:cubicBezTo>
                    <a:pt x="163" y="75"/>
                    <a:pt x="116" y="45"/>
                    <a:pt x="9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Rounded Rectangle 19"/>
          <p:cNvSpPr/>
          <p:nvPr/>
        </p:nvSpPr>
        <p:spPr>
          <a:xfrm>
            <a:off x="-357338" y="1644911"/>
            <a:ext cx="3931920" cy="914400"/>
          </a:xfrm>
          <a:prstGeom prst="roundRect">
            <a:avLst/>
          </a:prstGeom>
          <a:ln w="28575">
            <a:noFill/>
          </a:ln>
        </p:spPr>
        <p:txBody>
          <a:bodyPr wrap="square" anchor="ctr">
            <a:noAutofit/>
          </a:bodyPr>
          <a:lstStyle/>
          <a:p>
            <a:pPr algn="r"/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	Omni-Language</a:t>
            </a:r>
          </a:p>
          <a:p>
            <a:pPr algn="r"/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	Performance</a:t>
            </a:r>
            <a:endParaRPr lang="en-CA" sz="2000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-874384" y="3429000"/>
            <a:ext cx="3931920" cy="914400"/>
          </a:xfrm>
          <a:prstGeom prst="roundRect">
            <a:avLst/>
          </a:prstGeom>
          <a:ln w="28575">
            <a:noFill/>
          </a:ln>
        </p:spPr>
        <p:txBody>
          <a:bodyPr wrap="square" anchor="ctr">
            <a:noAutofit/>
          </a:bodyPr>
          <a:lstStyle/>
          <a:p>
            <a:pPr algn="r"/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	Real World Natural</a:t>
            </a:r>
          </a:p>
          <a:p>
            <a:pPr algn="r"/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	Language Interaction</a:t>
            </a:r>
            <a:endParaRPr lang="en-CA" sz="2000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-78811" y="5345787"/>
            <a:ext cx="3931920" cy="914400"/>
          </a:xfrm>
          <a:prstGeom prst="roundRect">
            <a:avLst/>
          </a:prstGeom>
          <a:ln w="28575">
            <a:noFill/>
          </a:ln>
        </p:spPr>
        <p:txBody>
          <a:bodyPr wrap="square" anchor="ctr">
            <a:noAutofit/>
          </a:bodyPr>
          <a:lstStyle/>
          <a:p>
            <a:pPr algn="r"/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	Mixed-Media 	Responses</a:t>
            </a:r>
            <a:endParaRPr lang="en-CA" sz="2000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7645742" y="1533265"/>
            <a:ext cx="3931920" cy="914400"/>
          </a:xfrm>
          <a:prstGeom prst="roundRect">
            <a:avLst/>
          </a:prstGeom>
          <a:ln w="28575">
            <a:noFill/>
          </a:ln>
        </p:spPr>
        <p:txBody>
          <a:bodyPr wrap="none" anchor="ctr">
            <a:noAutofit/>
          </a:bodyPr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	Fast Impact</a:t>
            </a:r>
            <a:endParaRPr lang="en-CA" sz="2000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9343283" y="3453556"/>
            <a:ext cx="4029045" cy="914400"/>
          </a:xfrm>
          <a:prstGeom prst="roundRect">
            <a:avLst/>
          </a:prstGeom>
          <a:ln w="28575">
            <a:noFill/>
          </a:ln>
        </p:spPr>
        <p:txBody>
          <a:bodyPr wrap="none" anchor="ctr">
            <a:noAutofit/>
          </a:bodyPr>
          <a:lstStyle/>
          <a:p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Keeps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your </a:t>
            </a:r>
            <a:endParaRPr lang="en-US" sz="2000" dirty="0" smtClean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data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secure</a:t>
            </a:r>
            <a:endParaRPr lang="en-CA" sz="2000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7597767" y="5410887"/>
            <a:ext cx="3986132" cy="919401"/>
          </a:xfrm>
          <a:prstGeom prst="roundRect">
            <a:avLst/>
          </a:prstGeom>
          <a:ln w="28575">
            <a:noFill/>
          </a:ln>
        </p:spPr>
        <p:txBody>
          <a:bodyPr wrap="none" anchor="ctr">
            <a:noAutofit/>
          </a:bodyPr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	Low Cost Independent</a:t>
            </a:r>
          </a:p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	Operations</a:t>
            </a:r>
            <a:endParaRPr lang="en-CA" sz="2000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7952373" y="3952888"/>
            <a:ext cx="1258310" cy="0"/>
          </a:xfrm>
          <a:prstGeom prst="line">
            <a:avLst/>
          </a:prstGeom>
          <a:ln>
            <a:solidFill>
              <a:srgbClr val="00C2F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3117954" y="3952888"/>
            <a:ext cx="999234" cy="0"/>
          </a:xfrm>
          <a:prstGeom prst="line">
            <a:avLst/>
          </a:prstGeom>
          <a:ln>
            <a:solidFill>
              <a:srgbClr val="00C2F3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/>
          <p:cNvGrpSpPr/>
          <p:nvPr/>
        </p:nvGrpSpPr>
        <p:grpSpPr>
          <a:xfrm flipV="1">
            <a:off x="3933084" y="5558371"/>
            <a:ext cx="1287719" cy="286192"/>
            <a:chOff x="7106773" y="1917517"/>
            <a:chExt cx="1287719" cy="286192"/>
          </a:xfrm>
        </p:grpSpPr>
        <p:cxnSp>
          <p:nvCxnSpPr>
            <p:cNvPr id="48" name="Straight Connector 47"/>
            <p:cNvCxnSpPr/>
            <p:nvPr/>
          </p:nvCxnSpPr>
          <p:spPr>
            <a:xfrm>
              <a:off x="7106773" y="1917517"/>
              <a:ext cx="884238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7976021" y="1917517"/>
              <a:ext cx="418471" cy="2861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/>
          <p:cNvGrpSpPr/>
          <p:nvPr/>
        </p:nvGrpSpPr>
        <p:grpSpPr>
          <a:xfrm>
            <a:off x="5447354" y="3130622"/>
            <a:ext cx="1327558" cy="1309569"/>
            <a:chOff x="5505628" y="3184501"/>
            <a:chExt cx="1327558" cy="1309569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389"/>
            <a:stretch/>
          </p:blipFill>
          <p:spPr>
            <a:xfrm>
              <a:off x="5505628" y="3184501"/>
              <a:ext cx="1210357" cy="1309569"/>
            </a:xfrm>
            <a:prstGeom prst="ellipse">
              <a:avLst/>
            </a:prstGeom>
          </p:spPr>
        </p:pic>
        <p:sp>
          <p:nvSpPr>
            <p:cNvPr id="58" name="Oval 57"/>
            <p:cNvSpPr/>
            <p:nvPr/>
          </p:nvSpPr>
          <p:spPr>
            <a:xfrm>
              <a:off x="6447683" y="4052094"/>
              <a:ext cx="385503" cy="38974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8" name="Freeform 19"/>
          <p:cNvSpPr>
            <a:spLocks noChangeAspect="1" noEditPoints="1"/>
          </p:cNvSpPr>
          <p:nvPr/>
        </p:nvSpPr>
        <p:spPr bwMode="auto">
          <a:xfrm>
            <a:off x="5089678" y="2102541"/>
            <a:ext cx="436418" cy="548640"/>
          </a:xfrm>
          <a:custGeom>
            <a:avLst/>
            <a:gdLst>
              <a:gd name="T0" fmla="*/ 804 w 2625"/>
              <a:gd name="T1" fmla="*/ 666 h 3301"/>
              <a:gd name="T2" fmla="*/ 702 w 2625"/>
              <a:gd name="T3" fmla="*/ 944 h 3301"/>
              <a:gd name="T4" fmla="*/ 799 w 2625"/>
              <a:gd name="T5" fmla="*/ 1173 h 3301"/>
              <a:gd name="T6" fmla="*/ 1013 w 2625"/>
              <a:gd name="T7" fmla="*/ 1389 h 3301"/>
              <a:gd name="T8" fmla="*/ 1222 w 2625"/>
              <a:gd name="T9" fmla="*/ 1548 h 3301"/>
              <a:gd name="T10" fmla="*/ 1302 w 2625"/>
              <a:gd name="T11" fmla="*/ 1598 h 3301"/>
              <a:gd name="T12" fmla="*/ 1429 w 2625"/>
              <a:gd name="T13" fmla="*/ 1512 h 3301"/>
              <a:gd name="T14" fmla="*/ 1653 w 2625"/>
              <a:gd name="T15" fmla="*/ 1331 h 3301"/>
              <a:gd name="T16" fmla="*/ 1844 w 2625"/>
              <a:gd name="T17" fmla="*/ 1108 h 3301"/>
              <a:gd name="T18" fmla="*/ 1898 w 2625"/>
              <a:gd name="T19" fmla="*/ 862 h 3301"/>
              <a:gd name="T20" fmla="*/ 1725 w 2625"/>
              <a:gd name="T21" fmla="*/ 613 h 3301"/>
              <a:gd name="T22" fmla="*/ 1434 w 2625"/>
              <a:gd name="T23" fmla="*/ 596 h 3301"/>
              <a:gd name="T24" fmla="*/ 1204 w 2625"/>
              <a:gd name="T25" fmla="*/ 614 h 3301"/>
              <a:gd name="T26" fmla="*/ 1449 w 2625"/>
              <a:gd name="T27" fmla="*/ 2 h 3301"/>
              <a:gd name="T28" fmla="*/ 1838 w 2625"/>
              <a:gd name="T29" fmla="*/ 84 h 3301"/>
              <a:gd name="T30" fmla="*/ 2238 w 2625"/>
              <a:gd name="T31" fmla="*/ 350 h 3301"/>
              <a:gd name="T32" fmla="*/ 2435 w 2625"/>
              <a:gd name="T33" fmla="*/ 642 h 3301"/>
              <a:gd name="T34" fmla="*/ 2503 w 2625"/>
              <a:gd name="T35" fmla="*/ 1053 h 3301"/>
              <a:gd name="T36" fmla="*/ 2453 w 2625"/>
              <a:gd name="T37" fmla="*/ 1238 h 3301"/>
              <a:gd name="T38" fmla="*/ 2442 w 2625"/>
              <a:gd name="T39" fmla="*/ 1421 h 3301"/>
              <a:gd name="T40" fmla="*/ 2497 w 2625"/>
              <a:gd name="T41" fmla="*/ 1526 h 3301"/>
              <a:gd name="T42" fmla="*/ 2587 w 2625"/>
              <a:gd name="T43" fmla="*/ 1701 h 3301"/>
              <a:gd name="T44" fmla="*/ 2625 w 2625"/>
              <a:gd name="T45" fmla="*/ 1810 h 3301"/>
              <a:gd name="T46" fmla="*/ 2594 w 2625"/>
              <a:gd name="T47" fmla="*/ 1870 h 3301"/>
              <a:gd name="T48" fmla="*/ 2480 w 2625"/>
              <a:gd name="T49" fmla="*/ 1904 h 3301"/>
              <a:gd name="T50" fmla="*/ 2457 w 2625"/>
              <a:gd name="T51" fmla="*/ 1965 h 3301"/>
              <a:gd name="T52" fmla="*/ 2441 w 2625"/>
              <a:gd name="T53" fmla="*/ 2131 h 3301"/>
              <a:gd name="T54" fmla="*/ 2389 w 2625"/>
              <a:gd name="T55" fmla="*/ 2173 h 3301"/>
              <a:gd name="T56" fmla="*/ 2408 w 2625"/>
              <a:gd name="T57" fmla="*/ 2219 h 3301"/>
              <a:gd name="T58" fmla="*/ 2359 w 2625"/>
              <a:gd name="T59" fmla="*/ 2329 h 3301"/>
              <a:gd name="T60" fmla="*/ 2340 w 2625"/>
              <a:gd name="T61" fmla="*/ 2448 h 3301"/>
              <a:gd name="T62" fmla="*/ 2345 w 2625"/>
              <a:gd name="T63" fmla="*/ 2545 h 3301"/>
              <a:gd name="T64" fmla="*/ 2306 w 2625"/>
              <a:gd name="T65" fmla="*/ 2630 h 3301"/>
              <a:gd name="T66" fmla="*/ 2211 w 2625"/>
              <a:gd name="T67" fmla="*/ 2669 h 3301"/>
              <a:gd name="T68" fmla="*/ 1960 w 2625"/>
              <a:gd name="T69" fmla="*/ 2668 h 3301"/>
              <a:gd name="T70" fmla="*/ 1760 w 2625"/>
              <a:gd name="T71" fmla="*/ 2660 h 3301"/>
              <a:gd name="T72" fmla="*/ 1618 w 2625"/>
              <a:gd name="T73" fmla="*/ 2751 h 3301"/>
              <a:gd name="T74" fmla="*/ 1540 w 2625"/>
              <a:gd name="T75" fmla="*/ 2901 h 3301"/>
              <a:gd name="T76" fmla="*/ 1430 w 2625"/>
              <a:gd name="T77" fmla="*/ 3130 h 3301"/>
              <a:gd name="T78" fmla="*/ 1364 w 2625"/>
              <a:gd name="T79" fmla="*/ 3301 h 3301"/>
              <a:gd name="T80" fmla="*/ 1297 w 2625"/>
              <a:gd name="T81" fmla="*/ 3194 h 3301"/>
              <a:gd name="T82" fmla="*/ 1113 w 2625"/>
              <a:gd name="T83" fmla="*/ 2946 h 3301"/>
              <a:gd name="T84" fmla="*/ 840 w 2625"/>
              <a:gd name="T85" fmla="*/ 2669 h 3301"/>
              <a:gd name="T86" fmla="*/ 505 w 2625"/>
              <a:gd name="T87" fmla="*/ 2479 h 3301"/>
              <a:gd name="T88" fmla="*/ 475 w 2625"/>
              <a:gd name="T89" fmla="*/ 2382 h 3301"/>
              <a:gd name="T90" fmla="*/ 458 w 2625"/>
              <a:gd name="T91" fmla="*/ 2111 h 3301"/>
              <a:gd name="T92" fmla="*/ 320 w 2625"/>
              <a:gd name="T93" fmla="*/ 1830 h 3301"/>
              <a:gd name="T94" fmla="*/ 221 w 2625"/>
              <a:gd name="T95" fmla="*/ 1688 h 3301"/>
              <a:gd name="T96" fmla="*/ 82 w 2625"/>
              <a:gd name="T97" fmla="*/ 1447 h 3301"/>
              <a:gd name="T98" fmla="*/ 6 w 2625"/>
              <a:gd name="T99" fmla="*/ 1209 h 3301"/>
              <a:gd name="T100" fmla="*/ 0 w 2625"/>
              <a:gd name="T101" fmla="*/ 1109 h 3301"/>
              <a:gd name="T102" fmla="*/ 54 w 2625"/>
              <a:gd name="T103" fmla="*/ 820 h 3301"/>
              <a:gd name="T104" fmla="*/ 313 w 2625"/>
              <a:gd name="T105" fmla="*/ 402 h 3301"/>
              <a:gd name="T106" fmla="*/ 543 w 2625"/>
              <a:gd name="T107" fmla="*/ 199 h 3301"/>
              <a:gd name="T108" fmla="*/ 896 w 2625"/>
              <a:gd name="T109" fmla="*/ 50 h 3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625" h="3301">
                <a:moveTo>
                  <a:pt x="1039" y="571"/>
                </a:moveTo>
                <a:lnTo>
                  <a:pt x="995" y="574"/>
                </a:lnTo>
                <a:lnTo>
                  <a:pt x="952" y="582"/>
                </a:lnTo>
                <a:lnTo>
                  <a:pt x="912" y="595"/>
                </a:lnTo>
                <a:lnTo>
                  <a:pt x="875" y="613"/>
                </a:lnTo>
                <a:lnTo>
                  <a:pt x="838" y="637"/>
                </a:lnTo>
                <a:lnTo>
                  <a:pt x="804" y="666"/>
                </a:lnTo>
                <a:lnTo>
                  <a:pt x="773" y="698"/>
                </a:lnTo>
                <a:lnTo>
                  <a:pt x="747" y="734"/>
                </a:lnTo>
                <a:lnTo>
                  <a:pt x="727" y="774"/>
                </a:lnTo>
                <a:lnTo>
                  <a:pt x="712" y="817"/>
                </a:lnTo>
                <a:lnTo>
                  <a:pt x="703" y="862"/>
                </a:lnTo>
                <a:lnTo>
                  <a:pt x="699" y="908"/>
                </a:lnTo>
                <a:lnTo>
                  <a:pt x="702" y="944"/>
                </a:lnTo>
                <a:lnTo>
                  <a:pt x="707" y="979"/>
                </a:lnTo>
                <a:lnTo>
                  <a:pt x="716" y="1012"/>
                </a:lnTo>
                <a:lnTo>
                  <a:pt x="725" y="1043"/>
                </a:lnTo>
                <a:lnTo>
                  <a:pt x="739" y="1076"/>
                </a:lnTo>
                <a:lnTo>
                  <a:pt x="756" y="1108"/>
                </a:lnTo>
                <a:lnTo>
                  <a:pt x="776" y="1140"/>
                </a:lnTo>
                <a:lnTo>
                  <a:pt x="799" y="1173"/>
                </a:lnTo>
                <a:lnTo>
                  <a:pt x="825" y="1206"/>
                </a:lnTo>
                <a:lnTo>
                  <a:pt x="853" y="1237"/>
                </a:lnTo>
                <a:lnTo>
                  <a:pt x="883" y="1269"/>
                </a:lnTo>
                <a:lnTo>
                  <a:pt x="914" y="1301"/>
                </a:lnTo>
                <a:lnTo>
                  <a:pt x="947" y="1331"/>
                </a:lnTo>
                <a:lnTo>
                  <a:pt x="980" y="1361"/>
                </a:lnTo>
                <a:lnTo>
                  <a:pt x="1013" y="1389"/>
                </a:lnTo>
                <a:lnTo>
                  <a:pt x="1046" y="1417"/>
                </a:lnTo>
                <a:lnTo>
                  <a:pt x="1079" y="1443"/>
                </a:lnTo>
                <a:lnTo>
                  <a:pt x="1111" y="1467"/>
                </a:lnTo>
                <a:lnTo>
                  <a:pt x="1142" y="1490"/>
                </a:lnTo>
                <a:lnTo>
                  <a:pt x="1171" y="1512"/>
                </a:lnTo>
                <a:lnTo>
                  <a:pt x="1198" y="1532"/>
                </a:lnTo>
                <a:lnTo>
                  <a:pt x="1222" y="1548"/>
                </a:lnTo>
                <a:lnTo>
                  <a:pt x="1245" y="1563"/>
                </a:lnTo>
                <a:lnTo>
                  <a:pt x="1264" y="1576"/>
                </a:lnTo>
                <a:lnTo>
                  <a:pt x="1279" y="1586"/>
                </a:lnTo>
                <a:lnTo>
                  <a:pt x="1291" y="1594"/>
                </a:lnTo>
                <a:lnTo>
                  <a:pt x="1298" y="1598"/>
                </a:lnTo>
                <a:lnTo>
                  <a:pt x="1300" y="1600"/>
                </a:lnTo>
                <a:lnTo>
                  <a:pt x="1302" y="1598"/>
                </a:lnTo>
                <a:lnTo>
                  <a:pt x="1310" y="1594"/>
                </a:lnTo>
                <a:lnTo>
                  <a:pt x="1321" y="1586"/>
                </a:lnTo>
                <a:lnTo>
                  <a:pt x="1336" y="1576"/>
                </a:lnTo>
                <a:lnTo>
                  <a:pt x="1355" y="1563"/>
                </a:lnTo>
                <a:lnTo>
                  <a:pt x="1377" y="1548"/>
                </a:lnTo>
                <a:lnTo>
                  <a:pt x="1402" y="1532"/>
                </a:lnTo>
                <a:lnTo>
                  <a:pt x="1429" y="1512"/>
                </a:lnTo>
                <a:lnTo>
                  <a:pt x="1458" y="1490"/>
                </a:lnTo>
                <a:lnTo>
                  <a:pt x="1489" y="1467"/>
                </a:lnTo>
                <a:lnTo>
                  <a:pt x="1521" y="1443"/>
                </a:lnTo>
                <a:lnTo>
                  <a:pt x="1553" y="1417"/>
                </a:lnTo>
                <a:lnTo>
                  <a:pt x="1587" y="1389"/>
                </a:lnTo>
                <a:lnTo>
                  <a:pt x="1620" y="1361"/>
                </a:lnTo>
                <a:lnTo>
                  <a:pt x="1653" y="1331"/>
                </a:lnTo>
                <a:lnTo>
                  <a:pt x="1686" y="1301"/>
                </a:lnTo>
                <a:lnTo>
                  <a:pt x="1717" y="1269"/>
                </a:lnTo>
                <a:lnTo>
                  <a:pt x="1747" y="1237"/>
                </a:lnTo>
                <a:lnTo>
                  <a:pt x="1775" y="1206"/>
                </a:lnTo>
                <a:lnTo>
                  <a:pt x="1801" y="1173"/>
                </a:lnTo>
                <a:lnTo>
                  <a:pt x="1824" y="1140"/>
                </a:lnTo>
                <a:lnTo>
                  <a:pt x="1844" y="1108"/>
                </a:lnTo>
                <a:lnTo>
                  <a:pt x="1861" y="1076"/>
                </a:lnTo>
                <a:lnTo>
                  <a:pt x="1875" y="1043"/>
                </a:lnTo>
                <a:lnTo>
                  <a:pt x="1885" y="1012"/>
                </a:lnTo>
                <a:lnTo>
                  <a:pt x="1893" y="979"/>
                </a:lnTo>
                <a:lnTo>
                  <a:pt x="1900" y="944"/>
                </a:lnTo>
                <a:lnTo>
                  <a:pt x="1902" y="908"/>
                </a:lnTo>
                <a:lnTo>
                  <a:pt x="1898" y="862"/>
                </a:lnTo>
                <a:lnTo>
                  <a:pt x="1889" y="817"/>
                </a:lnTo>
                <a:lnTo>
                  <a:pt x="1873" y="774"/>
                </a:lnTo>
                <a:lnTo>
                  <a:pt x="1853" y="734"/>
                </a:lnTo>
                <a:lnTo>
                  <a:pt x="1827" y="698"/>
                </a:lnTo>
                <a:lnTo>
                  <a:pt x="1798" y="666"/>
                </a:lnTo>
                <a:lnTo>
                  <a:pt x="1764" y="637"/>
                </a:lnTo>
                <a:lnTo>
                  <a:pt x="1725" y="613"/>
                </a:lnTo>
                <a:lnTo>
                  <a:pt x="1688" y="595"/>
                </a:lnTo>
                <a:lnTo>
                  <a:pt x="1648" y="582"/>
                </a:lnTo>
                <a:lnTo>
                  <a:pt x="1605" y="574"/>
                </a:lnTo>
                <a:lnTo>
                  <a:pt x="1562" y="571"/>
                </a:lnTo>
                <a:lnTo>
                  <a:pt x="1517" y="574"/>
                </a:lnTo>
                <a:lnTo>
                  <a:pt x="1474" y="582"/>
                </a:lnTo>
                <a:lnTo>
                  <a:pt x="1434" y="596"/>
                </a:lnTo>
                <a:lnTo>
                  <a:pt x="1396" y="614"/>
                </a:lnTo>
                <a:lnTo>
                  <a:pt x="1361" y="636"/>
                </a:lnTo>
                <a:lnTo>
                  <a:pt x="1329" y="663"/>
                </a:lnTo>
                <a:lnTo>
                  <a:pt x="1300" y="693"/>
                </a:lnTo>
                <a:lnTo>
                  <a:pt x="1271" y="663"/>
                </a:lnTo>
                <a:lnTo>
                  <a:pt x="1240" y="636"/>
                </a:lnTo>
                <a:lnTo>
                  <a:pt x="1204" y="614"/>
                </a:lnTo>
                <a:lnTo>
                  <a:pt x="1166" y="596"/>
                </a:lnTo>
                <a:lnTo>
                  <a:pt x="1126" y="582"/>
                </a:lnTo>
                <a:lnTo>
                  <a:pt x="1083" y="574"/>
                </a:lnTo>
                <a:lnTo>
                  <a:pt x="1039" y="571"/>
                </a:lnTo>
                <a:close/>
                <a:moveTo>
                  <a:pt x="1354" y="0"/>
                </a:moveTo>
                <a:lnTo>
                  <a:pt x="1400" y="0"/>
                </a:lnTo>
                <a:lnTo>
                  <a:pt x="1449" y="2"/>
                </a:lnTo>
                <a:lnTo>
                  <a:pt x="1500" y="7"/>
                </a:lnTo>
                <a:lnTo>
                  <a:pt x="1553" y="12"/>
                </a:lnTo>
                <a:lnTo>
                  <a:pt x="1607" y="20"/>
                </a:lnTo>
                <a:lnTo>
                  <a:pt x="1664" y="32"/>
                </a:lnTo>
                <a:lnTo>
                  <a:pt x="1721" y="46"/>
                </a:lnTo>
                <a:lnTo>
                  <a:pt x="1780" y="64"/>
                </a:lnTo>
                <a:lnTo>
                  <a:pt x="1838" y="84"/>
                </a:lnTo>
                <a:lnTo>
                  <a:pt x="1896" y="109"/>
                </a:lnTo>
                <a:lnTo>
                  <a:pt x="1955" y="137"/>
                </a:lnTo>
                <a:lnTo>
                  <a:pt x="2013" y="170"/>
                </a:lnTo>
                <a:lnTo>
                  <a:pt x="2072" y="208"/>
                </a:lnTo>
                <a:lnTo>
                  <a:pt x="2128" y="250"/>
                </a:lnTo>
                <a:lnTo>
                  <a:pt x="2183" y="298"/>
                </a:lnTo>
                <a:lnTo>
                  <a:pt x="2238" y="350"/>
                </a:lnTo>
                <a:lnTo>
                  <a:pt x="2271" y="386"/>
                </a:lnTo>
                <a:lnTo>
                  <a:pt x="2304" y="424"/>
                </a:lnTo>
                <a:lnTo>
                  <a:pt x="2333" y="464"/>
                </a:lnTo>
                <a:lnTo>
                  <a:pt x="2362" y="506"/>
                </a:lnTo>
                <a:lnTo>
                  <a:pt x="2390" y="549"/>
                </a:lnTo>
                <a:lnTo>
                  <a:pt x="2414" y="594"/>
                </a:lnTo>
                <a:lnTo>
                  <a:pt x="2435" y="642"/>
                </a:lnTo>
                <a:lnTo>
                  <a:pt x="2456" y="691"/>
                </a:lnTo>
                <a:lnTo>
                  <a:pt x="2472" y="744"/>
                </a:lnTo>
                <a:lnTo>
                  <a:pt x="2485" y="800"/>
                </a:lnTo>
                <a:lnTo>
                  <a:pt x="2495" y="859"/>
                </a:lnTo>
                <a:lnTo>
                  <a:pt x="2501" y="920"/>
                </a:lnTo>
                <a:lnTo>
                  <a:pt x="2505" y="984"/>
                </a:lnTo>
                <a:lnTo>
                  <a:pt x="2503" y="1053"/>
                </a:lnTo>
                <a:lnTo>
                  <a:pt x="2499" y="1126"/>
                </a:lnTo>
                <a:lnTo>
                  <a:pt x="2496" y="1142"/>
                </a:lnTo>
                <a:lnTo>
                  <a:pt x="2490" y="1160"/>
                </a:lnTo>
                <a:lnTo>
                  <a:pt x="2482" y="1178"/>
                </a:lnTo>
                <a:lnTo>
                  <a:pt x="2473" y="1198"/>
                </a:lnTo>
                <a:lnTo>
                  <a:pt x="2463" y="1218"/>
                </a:lnTo>
                <a:lnTo>
                  <a:pt x="2453" y="1238"/>
                </a:lnTo>
                <a:lnTo>
                  <a:pt x="2444" y="1261"/>
                </a:lnTo>
                <a:lnTo>
                  <a:pt x="2436" y="1284"/>
                </a:lnTo>
                <a:lnTo>
                  <a:pt x="2431" y="1308"/>
                </a:lnTo>
                <a:lnTo>
                  <a:pt x="2428" y="1334"/>
                </a:lnTo>
                <a:lnTo>
                  <a:pt x="2428" y="1362"/>
                </a:lnTo>
                <a:lnTo>
                  <a:pt x="2433" y="1390"/>
                </a:lnTo>
                <a:lnTo>
                  <a:pt x="2442" y="1421"/>
                </a:lnTo>
                <a:lnTo>
                  <a:pt x="2457" y="1452"/>
                </a:lnTo>
                <a:lnTo>
                  <a:pt x="2458" y="1456"/>
                </a:lnTo>
                <a:lnTo>
                  <a:pt x="2462" y="1462"/>
                </a:lnTo>
                <a:lnTo>
                  <a:pt x="2468" y="1474"/>
                </a:lnTo>
                <a:lnTo>
                  <a:pt x="2476" y="1488"/>
                </a:lnTo>
                <a:lnTo>
                  <a:pt x="2486" y="1506"/>
                </a:lnTo>
                <a:lnTo>
                  <a:pt x="2497" y="1526"/>
                </a:lnTo>
                <a:lnTo>
                  <a:pt x="2510" y="1548"/>
                </a:lnTo>
                <a:lnTo>
                  <a:pt x="2523" y="1573"/>
                </a:lnTo>
                <a:lnTo>
                  <a:pt x="2536" y="1598"/>
                </a:lnTo>
                <a:lnTo>
                  <a:pt x="2549" y="1624"/>
                </a:lnTo>
                <a:lnTo>
                  <a:pt x="2563" y="1651"/>
                </a:lnTo>
                <a:lnTo>
                  <a:pt x="2576" y="1676"/>
                </a:lnTo>
                <a:lnTo>
                  <a:pt x="2587" y="1701"/>
                </a:lnTo>
                <a:lnTo>
                  <a:pt x="2598" y="1726"/>
                </a:lnTo>
                <a:lnTo>
                  <a:pt x="2608" y="1748"/>
                </a:lnTo>
                <a:lnTo>
                  <a:pt x="2615" y="1767"/>
                </a:lnTo>
                <a:lnTo>
                  <a:pt x="2621" y="1785"/>
                </a:lnTo>
                <a:lnTo>
                  <a:pt x="2625" y="1798"/>
                </a:lnTo>
                <a:lnTo>
                  <a:pt x="2625" y="1808"/>
                </a:lnTo>
                <a:lnTo>
                  <a:pt x="2625" y="1810"/>
                </a:lnTo>
                <a:lnTo>
                  <a:pt x="2625" y="1814"/>
                </a:lnTo>
                <a:lnTo>
                  <a:pt x="2624" y="1821"/>
                </a:lnTo>
                <a:lnTo>
                  <a:pt x="2621" y="1829"/>
                </a:lnTo>
                <a:lnTo>
                  <a:pt x="2617" y="1838"/>
                </a:lnTo>
                <a:lnTo>
                  <a:pt x="2612" y="1849"/>
                </a:lnTo>
                <a:lnTo>
                  <a:pt x="2604" y="1860"/>
                </a:lnTo>
                <a:lnTo>
                  <a:pt x="2594" y="1870"/>
                </a:lnTo>
                <a:lnTo>
                  <a:pt x="2579" y="1881"/>
                </a:lnTo>
                <a:lnTo>
                  <a:pt x="2562" y="1889"/>
                </a:lnTo>
                <a:lnTo>
                  <a:pt x="2541" y="1896"/>
                </a:lnTo>
                <a:lnTo>
                  <a:pt x="2514" y="1901"/>
                </a:lnTo>
                <a:lnTo>
                  <a:pt x="2484" y="1903"/>
                </a:lnTo>
                <a:lnTo>
                  <a:pt x="2483" y="1903"/>
                </a:lnTo>
                <a:lnTo>
                  <a:pt x="2480" y="1904"/>
                </a:lnTo>
                <a:lnTo>
                  <a:pt x="2476" y="1906"/>
                </a:lnTo>
                <a:lnTo>
                  <a:pt x="2472" y="1910"/>
                </a:lnTo>
                <a:lnTo>
                  <a:pt x="2467" y="1915"/>
                </a:lnTo>
                <a:lnTo>
                  <a:pt x="2463" y="1923"/>
                </a:lnTo>
                <a:lnTo>
                  <a:pt x="2459" y="1934"/>
                </a:lnTo>
                <a:lnTo>
                  <a:pt x="2457" y="1948"/>
                </a:lnTo>
                <a:lnTo>
                  <a:pt x="2457" y="1965"/>
                </a:lnTo>
                <a:lnTo>
                  <a:pt x="2458" y="1987"/>
                </a:lnTo>
                <a:lnTo>
                  <a:pt x="2460" y="2102"/>
                </a:lnTo>
                <a:lnTo>
                  <a:pt x="2460" y="2103"/>
                </a:lnTo>
                <a:lnTo>
                  <a:pt x="2458" y="2107"/>
                </a:lnTo>
                <a:lnTo>
                  <a:pt x="2455" y="2114"/>
                </a:lnTo>
                <a:lnTo>
                  <a:pt x="2449" y="2121"/>
                </a:lnTo>
                <a:lnTo>
                  <a:pt x="2441" y="2131"/>
                </a:lnTo>
                <a:lnTo>
                  <a:pt x="2429" y="2139"/>
                </a:lnTo>
                <a:lnTo>
                  <a:pt x="2413" y="2148"/>
                </a:lnTo>
                <a:lnTo>
                  <a:pt x="2392" y="2157"/>
                </a:lnTo>
                <a:lnTo>
                  <a:pt x="2391" y="2158"/>
                </a:lnTo>
                <a:lnTo>
                  <a:pt x="2390" y="2161"/>
                </a:lnTo>
                <a:lnTo>
                  <a:pt x="2389" y="2165"/>
                </a:lnTo>
                <a:lnTo>
                  <a:pt x="2389" y="2173"/>
                </a:lnTo>
                <a:lnTo>
                  <a:pt x="2391" y="2181"/>
                </a:lnTo>
                <a:lnTo>
                  <a:pt x="2398" y="2192"/>
                </a:lnTo>
                <a:lnTo>
                  <a:pt x="2399" y="2193"/>
                </a:lnTo>
                <a:lnTo>
                  <a:pt x="2401" y="2196"/>
                </a:lnTo>
                <a:lnTo>
                  <a:pt x="2404" y="2201"/>
                </a:lnTo>
                <a:lnTo>
                  <a:pt x="2406" y="2210"/>
                </a:lnTo>
                <a:lnTo>
                  <a:pt x="2408" y="2219"/>
                </a:lnTo>
                <a:lnTo>
                  <a:pt x="2407" y="2232"/>
                </a:lnTo>
                <a:lnTo>
                  <a:pt x="2405" y="2248"/>
                </a:lnTo>
                <a:lnTo>
                  <a:pt x="2398" y="2264"/>
                </a:lnTo>
                <a:lnTo>
                  <a:pt x="2389" y="2285"/>
                </a:lnTo>
                <a:lnTo>
                  <a:pt x="2374" y="2308"/>
                </a:lnTo>
                <a:lnTo>
                  <a:pt x="2366" y="2317"/>
                </a:lnTo>
                <a:lnTo>
                  <a:pt x="2359" y="2329"/>
                </a:lnTo>
                <a:lnTo>
                  <a:pt x="2350" y="2340"/>
                </a:lnTo>
                <a:lnTo>
                  <a:pt x="2344" y="2353"/>
                </a:lnTo>
                <a:lnTo>
                  <a:pt x="2338" y="2368"/>
                </a:lnTo>
                <a:lnTo>
                  <a:pt x="2334" y="2385"/>
                </a:lnTo>
                <a:lnTo>
                  <a:pt x="2332" y="2404"/>
                </a:lnTo>
                <a:lnTo>
                  <a:pt x="2334" y="2425"/>
                </a:lnTo>
                <a:lnTo>
                  <a:pt x="2340" y="2448"/>
                </a:lnTo>
                <a:lnTo>
                  <a:pt x="2340" y="2450"/>
                </a:lnTo>
                <a:lnTo>
                  <a:pt x="2341" y="2459"/>
                </a:lnTo>
                <a:lnTo>
                  <a:pt x="2343" y="2471"/>
                </a:lnTo>
                <a:lnTo>
                  <a:pt x="2344" y="2486"/>
                </a:lnTo>
                <a:lnTo>
                  <a:pt x="2345" y="2505"/>
                </a:lnTo>
                <a:lnTo>
                  <a:pt x="2346" y="2524"/>
                </a:lnTo>
                <a:lnTo>
                  <a:pt x="2345" y="2545"/>
                </a:lnTo>
                <a:lnTo>
                  <a:pt x="2343" y="2565"/>
                </a:lnTo>
                <a:lnTo>
                  <a:pt x="2338" y="2584"/>
                </a:lnTo>
                <a:lnTo>
                  <a:pt x="2331" y="2601"/>
                </a:lnTo>
                <a:lnTo>
                  <a:pt x="2322" y="2616"/>
                </a:lnTo>
                <a:lnTo>
                  <a:pt x="2309" y="2626"/>
                </a:lnTo>
                <a:lnTo>
                  <a:pt x="2308" y="2627"/>
                </a:lnTo>
                <a:lnTo>
                  <a:pt x="2306" y="2630"/>
                </a:lnTo>
                <a:lnTo>
                  <a:pt x="2300" y="2635"/>
                </a:lnTo>
                <a:lnTo>
                  <a:pt x="2293" y="2640"/>
                </a:lnTo>
                <a:lnTo>
                  <a:pt x="2282" y="2645"/>
                </a:lnTo>
                <a:lnTo>
                  <a:pt x="2270" y="2652"/>
                </a:lnTo>
                <a:lnTo>
                  <a:pt x="2254" y="2658"/>
                </a:lnTo>
                <a:lnTo>
                  <a:pt x="2233" y="2664"/>
                </a:lnTo>
                <a:lnTo>
                  <a:pt x="2211" y="2669"/>
                </a:lnTo>
                <a:lnTo>
                  <a:pt x="2183" y="2674"/>
                </a:lnTo>
                <a:lnTo>
                  <a:pt x="2153" y="2677"/>
                </a:lnTo>
                <a:lnTo>
                  <a:pt x="2118" y="2679"/>
                </a:lnTo>
                <a:lnTo>
                  <a:pt x="2077" y="2678"/>
                </a:lnTo>
                <a:lnTo>
                  <a:pt x="2033" y="2676"/>
                </a:lnTo>
                <a:lnTo>
                  <a:pt x="1983" y="2670"/>
                </a:lnTo>
                <a:lnTo>
                  <a:pt x="1960" y="2668"/>
                </a:lnTo>
                <a:lnTo>
                  <a:pt x="1936" y="2664"/>
                </a:lnTo>
                <a:lnTo>
                  <a:pt x="1909" y="2661"/>
                </a:lnTo>
                <a:lnTo>
                  <a:pt x="1882" y="2658"/>
                </a:lnTo>
                <a:lnTo>
                  <a:pt x="1852" y="2655"/>
                </a:lnTo>
                <a:lnTo>
                  <a:pt x="1822" y="2655"/>
                </a:lnTo>
                <a:lnTo>
                  <a:pt x="1791" y="2656"/>
                </a:lnTo>
                <a:lnTo>
                  <a:pt x="1760" y="2660"/>
                </a:lnTo>
                <a:lnTo>
                  <a:pt x="1731" y="2667"/>
                </a:lnTo>
                <a:lnTo>
                  <a:pt x="1701" y="2679"/>
                </a:lnTo>
                <a:lnTo>
                  <a:pt x="1673" y="2695"/>
                </a:lnTo>
                <a:lnTo>
                  <a:pt x="1647" y="2715"/>
                </a:lnTo>
                <a:lnTo>
                  <a:pt x="1623" y="2741"/>
                </a:lnTo>
                <a:lnTo>
                  <a:pt x="1621" y="2743"/>
                </a:lnTo>
                <a:lnTo>
                  <a:pt x="1618" y="2751"/>
                </a:lnTo>
                <a:lnTo>
                  <a:pt x="1612" y="2762"/>
                </a:lnTo>
                <a:lnTo>
                  <a:pt x="1603" y="2778"/>
                </a:lnTo>
                <a:lnTo>
                  <a:pt x="1593" y="2797"/>
                </a:lnTo>
                <a:lnTo>
                  <a:pt x="1582" y="2819"/>
                </a:lnTo>
                <a:lnTo>
                  <a:pt x="1569" y="2844"/>
                </a:lnTo>
                <a:lnTo>
                  <a:pt x="1555" y="2872"/>
                </a:lnTo>
                <a:lnTo>
                  <a:pt x="1540" y="2901"/>
                </a:lnTo>
                <a:lnTo>
                  <a:pt x="1524" y="2932"/>
                </a:lnTo>
                <a:lnTo>
                  <a:pt x="1508" y="2965"/>
                </a:lnTo>
                <a:lnTo>
                  <a:pt x="1493" y="2997"/>
                </a:lnTo>
                <a:lnTo>
                  <a:pt x="1475" y="3031"/>
                </a:lnTo>
                <a:lnTo>
                  <a:pt x="1460" y="3065"/>
                </a:lnTo>
                <a:lnTo>
                  <a:pt x="1445" y="3098"/>
                </a:lnTo>
                <a:lnTo>
                  <a:pt x="1430" y="3130"/>
                </a:lnTo>
                <a:lnTo>
                  <a:pt x="1416" y="3161"/>
                </a:lnTo>
                <a:lnTo>
                  <a:pt x="1403" y="3190"/>
                </a:lnTo>
                <a:lnTo>
                  <a:pt x="1392" y="3219"/>
                </a:lnTo>
                <a:lnTo>
                  <a:pt x="1382" y="3244"/>
                </a:lnTo>
                <a:lnTo>
                  <a:pt x="1373" y="3266"/>
                </a:lnTo>
                <a:lnTo>
                  <a:pt x="1368" y="3285"/>
                </a:lnTo>
                <a:lnTo>
                  <a:pt x="1364" y="3301"/>
                </a:lnTo>
                <a:lnTo>
                  <a:pt x="1363" y="3299"/>
                </a:lnTo>
                <a:lnTo>
                  <a:pt x="1359" y="3292"/>
                </a:lnTo>
                <a:lnTo>
                  <a:pt x="1351" y="3280"/>
                </a:lnTo>
                <a:lnTo>
                  <a:pt x="1342" y="3264"/>
                </a:lnTo>
                <a:lnTo>
                  <a:pt x="1329" y="3244"/>
                </a:lnTo>
                <a:lnTo>
                  <a:pt x="1314" y="3220"/>
                </a:lnTo>
                <a:lnTo>
                  <a:pt x="1297" y="3194"/>
                </a:lnTo>
                <a:lnTo>
                  <a:pt x="1277" y="3164"/>
                </a:lnTo>
                <a:lnTo>
                  <a:pt x="1255" y="3132"/>
                </a:lnTo>
                <a:lnTo>
                  <a:pt x="1231" y="3098"/>
                </a:lnTo>
                <a:lnTo>
                  <a:pt x="1204" y="3062"/>
                </a:lnTo>
                <a:lnTo>
                  <a:pt x="1176" y="3024"/>
                </a:lnTo>
                <a:lnTo>
                  <a:pt x="1146" y="2985"/>
                </a:lnTo>
                <a:lnTo>
                  <a:pt x="1113" y="2946"/>
                </a:lnTo>
                <a:lnTo>
                  <a:pt x="1079" y="2905"/>
                </a:lnTo>
                <a:lnTo>
                  <a:pt x="1043" y="2865"/>
                </a:lnTo>
                <a:lnTo>
                  <a:pt x="1006" y="2824"/>
                </a:lnTo>
                <a:lnTo>
                  <a:pt x="966" y="2784"/>
                </a:lnTo>
                <a:lnTo>
                  <a:pt x="926" y="2744"/>
                </a:lnTo>
                <a:lnTo>
                  <a:pt x="883" y="2706"/>
                </a:lnTo>
                <a:lnTo>
                  <a:pt x="840" y="2669"/>
                </a:lnTo>
                <a:lnTo>
                  <a:pt x="795" y="2635"/>
                </a:lnTo>
                <a:lnTo>
                  <a:pt x="749" y="2602"/>
                </a:lnTo>
                <a:lnTo>
                  <a:pt x="703" y="2571"/>
                </a:lnTo>
                <a:lnTo>
                  <a:pt x="654" y="2543"/>
                </a:lnTo>
                <a:lnTo>
                  <a:pt x="605" y="2519"/>
                </a:lnTo>
                <a:lnTo>
                  <a:pt x="555" y="2496"/>
                </a:lnTo>
                <a:lnTo>
                  <a:pt x="505" y="2479"/>
                </a:lnTo>
                <a:lnTo>
                  <a:pt x="453" y="2465"/>
                </a:lnTo>
                <a:lnTo>
                  <a:pt x="454" y="2463"/>
                </a:lnTo>
                <a:lnTo>
                  <a:pt x="457" y="2455"/>
                </a:lnTo>
                <a:lnTo>
                  <a:pt x="461" y="2444"/>
                </a:lnTo>
                <a:lnTo>
                  <a:pt x="466" y="2427"/>
                </a:lnTo>
                <a:lnTo>
                  <a:pt x="471" y="2406"/>
                </a:lnTo>
                <a:lnTo>
                  <a:pt x="475" y="2382"/>
                </a:lnTo>
                <a:lnTo>
                  <a:pt x="479" y="2353"/>
                </a:lnTo>
                <a:lnTo>
                  <a:pt x="483" y="2320"/>
                </a:lnTo>
                <a:lnTo>
                  <a:pt x="483" y="2285"/>
                </a:lnTo>
                <a:lnTo>
                  <a:pt x="482" y="2246"/>
                </a:lnTo>
                <a:lnTo>
                  <a:pt x="477" y="2203"/>
                </a:lnTo>
                <a:lnTo>
                  <a:pt x="470" y="2159"/>
                </a:lnTo>
                <a:lnTo>
                  <a:pt x="458" y="2111"/>
                </a:lnTo>
                <a:lnTo>
                  <a:pt x="443" y="2061"/>
                </a:lnTo>
                <a:lnTo>
                  <a:pt x="423" y="2008"/>
                </a:lnTo>
                <a:lnTo>
                  <a:pt x="397" y="1953"/>
                </a:lnTo>
                <a:lnTo>
                  <a:pt x="365" y="1898"/>
                </a:lnTo>
                <a:lnTo>
                  <a:pt x="327" y="1840"/>
                </a:lnTo>
                <a:lnTo>
                  <a:pt x="325" y="1836"/>
                </a:lnTo>
                <a:lnTo>
                  <a:pt x="320" y="1830"/>
                </a:lnTo>
                <a:lnTo>
                  <a:pt x="313" y="1819"/>
                </a:lnTo>
                <a:lnTo>
                  <a:pt x="302" y="1806"/>
                </a:lnTo>
                <a:lnTo>
                  <a:pt x="289" y="1788"/>
                </a:lnTo>
                <a:lnTo>
                  <a:pt x="274" y="1767"/>
                </a:lnTo>
                <a:lnTo>
                  <a:pt x="258" y="1742"/>
                </a:lnTo>
                <a:lnTo>
                  <a:pt x="240" y="1716"/>
                </a:lnTo>
                <a:lnTo>
                  <a:pt x="221" y="1688"/>
                </a:lnTo>
                <a:lnTo>
                  <a:pt x="201" y="1657"/>
                </a:lnTo>
                <a:lnTo>
                  <a:pt x="181" y="1624"/>
                </a:lnTo>
                <a:lnTo>
                  <a:pt x="161" y="1591"/>
                </a:lnTo>
                <a:lnTo>
                  <a:pt x="139" y="1556"/>
                </a:lnTo>
                <a:lnTo>
                  <a:pt x="119" y="1520"/>
                </a:lnTo>
                <a:lnTo>
                  <a:pt x="100" y="1483"/>
                </a:lnTo>
                <a:lnTo>
                  <a:pt x="82" y="1447"/>
                </a:lnTo>
                <a:lnTo>
                  <a:pt x="65" y="1410"/>
                </a:lnTo>
                <a:lnTo>
                  <a:pt x="49" y="1374"/>
                </a:lnTo>
                <a:lnTo>
                  <a:pt x="36" y="1339"/>
                </a:lnTo>
                <a:lnTo>
                  <a:pt x="24" y="1304"/>
                </a:lnTo>
                <a:lnTo>
                  <a:pt x="16" y="1271"/>
                </a:lnTo>
                <a:lnTo>
                  <a:pt x="10" y="1238"/>
                </a:lnTo>
                <a:lnTo>
                  <a:pt x="6" y="1209"/>
                </a:lnTo>
                <a:lnTo>
                  <a:pt x="6" y="1206"/>
                </a:lnTo>
                <a:lnTo>
                  <a:pt x="4" y="1197"/>
                </a:lnTo>
                <a:lnTo>
                  <a:pt x="3" y="1185"/>
                </a:lnTo>
                <a:lnTo>
                  <a:pt x="1" y="1166"/>
                </a:lnTo>
                <a:lnTo>
                  <a:pt x="0" y="1142"/>
                </a:lnTo>
                <a:lnTo>
                  <a:pt x="0" y="1126"/>
                </a:lnTo>
                <a:lnTo>
                  <a:pt x="0" y="1109"/>
                </a:lnTo>
                <a:lnTo>
                  <a:pt x="0" y="1084"/>
                </a:lnTo>
                <a:lnTo>
                  <a:pt x="2" y="1049"/>
                </a:lnTo>
                <a:lnTo>
                  <a:pt x="7" y="1010"/>
                </a:lnTo>
                <a:lnTo>
                  <a:pt x="14" y="966"/>
                </a:lnTo>
                <a:lnTo>
                  <a:pt x="24" y="921"/>
                </a:lnTo>
                <a:lnTo>
                  <a:pt x="37" y="871"/>
                </a:lnTo>
                <a:lnTo>
                  <a:pt x="54" y="820"/>
                </a:lnTo>
                <a:lnTo>
                  <a:pt x="75" y="766"/>
                </a:lnTo>
                <a:lnTo>
                  <a:pt x="101" y="709"/>
                </a:lnTo>
                <a:lnTo>
                  <a:pt x="132" y="651"/>
                </a:lnTo>
                <a:lnTo>
                  <a:pt x="168" y="591"/>
                </a:lnTo>
                <a:lnTo>
                  <a:pt x="209" y="529"/>
                </a:lnTo>
                <a:lnTo>
                  <a:pt x="258" y="466"/>
                </a:lnTo>
                <a:lnTo>
                  <a:pt x="313" y="402"/>
                </a:lnTo>
                <a:lnTo>
                  <a:pt x="341" y="372"/>
                </a:lnTo>
                <a:lnTo>
                  <a:pt x="371" y="341"/>
                </a:lnTo>
                <a:lnTo>
                  <a:pt x="402" y="310"/>
                </a:lnTo>
                <a:lnTo>
                  <a:pt x="434" y="282"/>
                </a:lnTo>
                <a:lnTo>
                  <a:pt x="469" y="252"/>
                </a:lnTo>
                <a:lnTo>
                  <a:pt x="505" y="225"/>
                </a:lnTo>
                <a:lnTo>
                  <a:pt x="543" y="199"/>
                </a:lnTo>
                <a:lnTo>
                  <a:pt x="585" y="172"/>
                </a:lnTo>
                <a:lnTo>
                  <a:pt x="628" y="148"/>
                </a:lnTo>
                <a:lnTo>
                  <a:pt x="675" y="126"/>
                </a:lnTo>
                <a:lnTo>
                  <a:pt x="725" y="104"/>
                </a:lnTo>
                <a:lnTo>
                  <a:pt x="778" y="84"/>
                </a:lnTo>
                <a:lnTo>
                  <a:pt x="836" y="66"/>
                </a:lnTo>
                <a:lnTo>
                  <a:pt x="896" y="50"/>
                </a:lnTo>
                <a:lnTo>
                  <a:pt x="961" y="35"/>
                </a:lnTo>
                <a:lnTo>
                  <a:pt x="1030" y="24"/>
                </a:lnTo>
                <a:lnTo>
                  <a:pt x="1103" y="14"/>
                </a:lnTo>
                <a:lnTo>
                  <a:pt x="1182" y="7"/>
                </a:lnTo>
                <a:lnTo>
                  <a:pt x="1265" y="2"/>
                </a:lnTo>
                <a:lnTo>
                  <a:pt x="1354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0" name="Group 22"/>
          <p:cNvGrpSpPr>
            <a:grpSpLocks noChangeAspect="1"/>
          </p:cNvGrpSpPr>
          <p:nvPr/>
        </p:nvGrpSpPr>
        <p:grpSpPr bwMode="auto">
          <a:xfrm>
            <a:off x="7457919" y="3637086"/>
            <a:ext cx="637957" cy="429768"/>
            <a:chOff x="1788" y="783"/>
            <a:chExt cx="4097" cy="2760"/>
          </a:xfrm>
          <a:solidFill>
            <a:schemeClr val="bg1"/>
          </a:solidFill>
        </p:grpSpPr>
        <p:sp>
          <p:nvSpPr>
            <p:cNvPr id="83" name="Freeform 24"/>
            <p:cNvSpPr>
              <a:spLocks noEditPoints="1"/>
            </p:cNvSpPr>
            <p:nvPr/>
          </p:nvSpPr>
          <p:spPr bwMode="auto">
            <a:xfrm>
              <a:off x="1788" y="783"/>
              <a:ext cx="2226" cy="2760"/>
            </a:xfrm>
            <a:custGeom>
              <a:avLst/>
              <a:gdLst>
                <a:gd name="T0" fmla="*/ 1092 w 2226"/>
                <a:gd name="T1" fmla="*/ 730 h 2760"/>
                <a:gd name="T2" fmla="*/ 1035 w 2226"/>
                <a:gd name="T3" fmla="*/ 795 h 2760"/>
                <a:gd name="T4" fmla="*/ 935 w 2226"/>
                <a:gd name="T5" fmla="*/ 1389 h 2760"/>
                <a:gd name="T6" fmla="*/ 969 w 2226"/>
                <a:gd name="T7" fmla="*/ 1470 h 2760"/>
                <a:gd name="T8" fmla="*/ 1047 w 2226"/>
                <a:gd name="T9" fmla="*/ 1512 h 2760"/>
                <a:gd name="T10" fmla="*/ 1121 w 2226"/>
                <a:gd name="T11" fmla="*/ 1503 h 2760"/>
                <a:gd name="T12" fmla="*/ 1180 w 2226"/>
                <a:gd name="T13" fmla="*/ 1453 h 2760"/>
                <a:gd name="T14" fmla="*/ 1290 w 2226"/>
                <a:gd name="T15" fmla="*/ 868 h 2760"/>
                <a:gd name="T16" fmla="*/ 1273 w 2226"/>
                <a:gd name="T17" fmla="*/ 781 h 2760"/>
                <a:gd name="T18" fmla="*/ 1209 w 2226"/>
                <a:gd name="T19" fmla="*/ 722 h 2760"/>
                <a:gd name="T20" fmla="*/ 623 w 2226"/>
                <a:gd name="T21" fmla="*/ 713 h 2760"/>
                <a:gd name="T22" fmla="*/ 550 w 2226"/>
                <a:gd name="T23" fmla="*/ 735 h 2760"/>
                <a:gd name="T24" fmla="*/ 261 w 2226"/>
                <a:gd name="T25" fmla="*/ 1018 h 2760"/>
                <a:gd name="T26" fmla="*/ 225 w 2226"/>
                <a:gd name="T27" fmla="*/ 1088 h 2760"/>
                <a:gd name="T28" fmla="*/ 233 w 2226"/>
                <a:gd name="T29" fmla="*/ 1164 h 2760"/>
                <a:gd name="T30" fmla="*/ 267 w 2226"/>
                <a:gd name="T31" fmla="*/ 1214 h 2760"/>
                <a:gd name="T32" fmla="*/ 573 w 2226"/>
                <a:gd name="T33" fmla="*/ 1504 h 2760"/>
                <a:gd name="T34" fmla="*/ 649 w 2226"/>
                <a:gd name="T35" fmla="*/ 1512 h 2760"/>
                <a:gd name="T36" fmla="*/ 718 w 2226"/>
                <a:gd name="T37" fmla="*/ 1475 h 2760"/>
                <a:gd name="T38" fmla="*/ 755 w 2226"/>
                <a:gd name="T39" fmla="*/ 1406 h 2760"/>
                <a:gd name="T40" fmla="*/ 747 w 2226"/>
                <a:gd name="T41" fmla="*/ 1330 h 2760"/>
                <a:gd name="T42" fmla="*/ 545 w 2226"/>
                <a:gd name="T43" fmla="*/ 1113 h 2760"/>
                <a:gd name="T44" fmla="*/ 747 w 2226"/>
                <a:gd name="T45" fmla="*/ 897 h 2760"/>
                <a:gd name="T46" fmla="*/ 755 w 2226"/>
                <a:gd name="T47" fmla="*/ 821 h 2760"/>
                <a:gd name="T48" fmla="*/ 718 w 2226"/>
                <a:gd name="T49" fmla="*/ 752 h 2760"/>
                <a:gd name="T50" fmla="*/ 649 w 2226"/>
                <a:gd name="T51" fmla="*/ 715 h 2760"/>
                <a:gd name="T52" fmla="*/ 1935 w 2226"/>
                <a:gd name="T53" fmla="*/ 42 h 2760"/>
                <a:gd name="T54" fmla="*/ 1772 w 2226"/>
                <a:gd name="T55" fmla="*/ 199 h 2760"/>
                <a:gd name="T56" fmla="*/ 1606 w 2226"/>
                <a:gd name="T57" fmla="*/ 432 h 2760"/>
                <a:gd name="T58" fmla="*/ 1486 w 2226"/>
                <a:gd name="T59" fmla="*/ 706 h 2760"/>
                <a:gd name="T60" fmla="*/ 1429 w 2226"/>
                <a:gd name="T61" fmla="*/ 1008 h 2760"/>
                <a:gd name="T62" fmla="*/ 1440 w 2226"/>
                <a:gd name="T63" fmla="*/ 1322 h 2760"/>
                <a:gd name="T64" fmla="*/ 1520 w 2226"/>
                <a:gd name="T65" fmla="*/ 1615 h 2760"/>
                <a:gd name="T66" fmla="*/ 1658 w 2226"/>
                <a:gd name="T67" fmla="*/ 1879 h 2760"/>
                <a:gd name="T68" fmla="*/ 1833 w 2226"/>
                <a:gd name="T69" fmla="*/ 2092 h 2760"/>
                <a:gd name="T70" fmla="*/ 1990 w 2226"/>
                <a:gd name="T71" fmla="*/ 2225 h 2760"/>
                <a:gd name="T72" fmla="*/ 2093 w 2226"/>
                <a:gd name="T73" fmla="*/ 2493 h 2760"/>
                <a:gd name="T74" fmla="*/ 2176 w 2226"/>
                <a:gd name="T75" fmla="*/ 2523 h 2760"/>
                <a:gd name="T76" fmla="*/ 2222 w 2226"/>
                <a:gd name="T77" fmla="*/ 2596 h 2760"/>
                <a:gd name="T78" fmla="*/ 2212 w 2226"/>
                <a:gd name="T79" fmla="*/ 2685 h 2760"/>
                <a:gd name="T80" fmla="*/ 2151 w 2226"/>
                <a:gd name="T81" fmla="*/ 2746 h 2760"/>
                <a:gd name="T82" fmla="*/ 846 w 2226"/>
                <a:gd name="T83" fmla="*/ 2760 h 2760"/>
                <a:gd name="T84" fmla="*/ 762 w 2226"/>
                <a:gd name="T85" fmla="*/ 2730 h 2760"/>
                <a:gd name="T86" fmla="*/ 716 w 2226"/>
                <a:gd name="T87" fmla="*/ 2657 h 2760"/>
                <a:gd name="T88" fmla="*/ 726 w 2226"/>
                <a:gd name="T89" fmla="*/ 2567 h 2760"/>
                <a:gd name="T90" fmla="*/ 787 w 2226"/>
                <a:gd name="T91" fmla="*/ 2506 h 2760"/>
                <a:gd name="T92" fmla="*/ 980 w 2226"/>
                <a:gd name="T93" fmla="*/ 2493 h 2760"/>
                <a:gd name="T94" fmla="*/ 103 w 2226"/>
                <a:gd name="T95" fmla="*/ 2222 h 2760"/>
                <a:gd name="T96" fmla="*/ 30 w 2226"/>
                <a:gd name="T97" fmla="*/ 2176 h 2760"/>
                <a:gd name="T98" fmla="*/ 0 w 2226"/>
                <a:gd name="T99" fmla="*/ 2092 h 2760"/>
                <a:gd name="T100" fmla="*/ 14 w 2226"/>
                <a:gd name="T101" fmla="*/ 76 h 2760"/>
                <a:gd name="T102" fmla="*/ 75 w 2226"/>
                <a:gd name="T103" fmla="*/ 14 h 2760"/>
                <a:gd name="T104" fmla="*/ 1990 w 2226"/>
                <a:gd name="T105" fmla="*/ 0 h 2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6" h="2760">
                  <a:moveTo>
                    <a:pt x="1149" y="713"/>
                  </a:moveTo>
                  <a:lnTo>
                    <a:pt x="1119" y="719"/>
                  </a:lnTo>
                  <a:lnTo>
                    <a:pt x="1092" y="730"/>
                  </a:lnTo>
                  <a:lnTo>
                    <a:pt x="1068" y="746"/>
                  </a:lnTo>
                  <a:lnTo>
                    <a:pt x="1048" y="768"/>
                  </a:lnTo>
                  <a:lnTo>
                    <a:pt x="1035" y="795"/>
                  </a:lnTo>
                  <a:lnTo>
                    <a:pt x="1026" y="824"/>
                  </a:lnTo>
                  <a:lnTo>
                    <a:pt x="936" y="1358"/>
                  </a:lnTo>
                  <a:lnTo>
                    <a:pt x="935" y="1389"/>
                  </a:lnTo>
                  <a:lnTo>
                    <a:pt x="940" y="1419"/>
                  </a:lnTo>
                  <a:lnTo>
                    <a:pt x="951" y="1446"/>
                  </a:lnTo>
                  <a:lnTo>
                    <a:pt x="969" y="1470"/>
                  </a:lnTo>
                  <a:lnTo>
                    <a:pt x="991" y="1488"/>
                  </a:lnTo>
                  <a:lnTo>
                    <a:pt x="1017" y="1503"/>
                  </a:lnTo>
                  <a:lnTo>
                    <a:pt x="1047" y="1512"/>
                  </a:lnTo>
                  <a:lnTo>
                    <a:pt x="1068" y="1513"/>
                  </a:lnTo>
                  <a:lnTo>
                    <a:pt x="1096" y="1511"/>
                  </a:lnTo>
                  <a:lnTo>
                    <a:pt x="1121" y="1503"/>
                  </a:lnTo>
                  <a:lnTo>
                    <a:pt x="1144" y="1491"/>
                  </a:lnTo>
                  <a:lnTo>
                    <a:pt x="1164" y="1473"/>
                  </a:lnTo>
                  <a:lnTo>
                    <a:pt x="1180" y="1453"/>
                  </a:lnTo>
                  <a:lnTo>
                    <a:pt x="1193" y="1429"/>
                  </a:lnTo>
                  <a:lnTo>
                    <a:pt x="1200" y="1402"/>
                  </a:lnTo>
                  <a:lnTo>
                    <a:pt x="1290" y="868"/>
                  </a:lnTo>
                  <a:lnTo>
                    <a:pt x="1291" y="837"/>
                  </a:lnTo>
                  <a:lnTo>
                    <a:pt x="1286" y="808"/>
                  </a:lnTo>
                  <a:lnTo>
                    <a:pt x="1273" y="781"/>
                  </a:lnTo>
                  <a:lnTo>
                    <a:pt x="1257" y="757"/>
                  </a:lnTo>
                  <a:lnTo>
                    <a:pt x="1235" y="737"/>
                  </a:lnTo>
                  <a:lnTo>
                    <a:pt x="1209" y="722"/>
                  </a:lnTo>
                  <a:lnTo>
                    <a:pt x="1179" y="715"/>
                  </a:lnTo>
                  <a:lnTo>
                    <a:pt x="1149" y="713"/>
                  </a:lnTo>
                  <a:close/>
                  <a:moveTo>
                    <a:pt x="623" y="713"/>
                  </a:moveTo>
                  <a:lnTo>
                    <a:pt x="598" y="715"/>
                  </a:lnTo>
                  <a:lnTo>
                    <a:pt x="573" y="722"/>
                  </a:lnTo>
                  <a:lnTo>
                    <a:pt x="550" y="735"/>
                  </a:lnTo>
                  <a:lnTo>
                    <a:pt x="529" y="752"/>
                  </a:lnTo>
                  <a:lnTo>
                    <a:pt x="267" y="1013"/>
                  </a:lnTo>
                  <a:lnTo>
                    <a:pt x="261" y="1018"/>
                  </a:lnTo>
                  <a:lnTo>
                    <a:pt x="245" y="1039"/>
                  </a:lnTo>
                  <a:lnTo>
                    <a:pt x="233" y="1063"/>
                  </a:lnTo>
                  <a:lnTo>
                    <a:pt x="225" y="1088"/>
                  </a:lnTo>
                  <a:lnTo>
                    <a:pt x="223" y="1113"/>
                  </a:lnTo>
                  <a:lnTo>
                    <a:pt x="225" y="1139"/>
                  </a:lnTo>
                  <a:lnTo>
                    <a:pt x="233" y="1164"/>
                  </a:lnTo>
                  <a:lnTo>
                    <a:pt x="245" y="1186"/>
                  </a:lnTo>
                  <a:lnTo>
                    <a:pt x="261" y="1207"/>
                  </a:lnTo>
                  <a:lnTo>
                    <a:pt x="267" y="1214"/>
                  </a:lnTo>
                  <a:lnTo>
                    <a:pt x="529" y="1475"/>
                  </a:lnTo>
                  <a:lnTo>
                    <a:pt x="550" y="1492"/>
                  </a:lnTo>
                  <a:lnTo>
                    <a:pt x="573" y="1504"/>
                  </a:lnTo>
                  <a:lnTo>
                    <a:pt x="598" y="1512"/>
                  </a:lnTo>
                  <a:lnTo>
                    <a:pt x="623" y="1513"/>
                  </a:lnTo>
                  <a:lnTo>
                    <a:pt x="649" y="1512"/>
                  </a:lnTo>
                  <a:lnTo>
                    <a:pt x="674" y="1504"/>
                  </a:lnTo>
                  <a:lnTo>
                    <a:pt x="696" y="1492"/>
                  </a:lnTo>
                  <a:lnTo>
                    <a:pt x="718" y="1475"/>
                  </a:lnTo>
                  <a:lnTo>
                    <a:pt x="735" y="1453"/>
                  </a:lnTo>
                  <a:lnTo>
                    <a:pt x="747" y="1430"/>
                  </a:lnTo>
                  <a:lnTo>
                    <a:pt x="755" y="1406"/>
                  </a:lnTo>
                  <a:lnTo>
                    <a:pt x="757" y="1380"/>
                  </a:lnTo>
                  <a:lnTo>
                    <a:pt x="755" y="1355"/>
                  </a:lnTo>
                  <a:lnTo>
                    <a:pt x="747" y="1330"/>
                  </a:lnTo>
                  <a:lnTo>
                    <a:pt x="735" y="1307"/>
                  </a:lnTo>
                  <a:lnTo>
                    <a:pt x="718" y="1286"/>
                  </a:lnTo>
                  <a:lnTo>
                    <a:pt x="545" y="1113"/>
                  </a:lnTo>
                  <a:lnTo>
                    <a:pt x="718" y="940"/>
                  </a:lnTo>
                  <a:lnTo>
                    <a:pt x="735" y="920"/>
                  </a:lnTo>
                  <a:lnTo>
                    <a:pt x="747" y="897"/>
                  </a:lnTo>
                  <a:lnTo>
                    <a:pt x="755" y="872"/>
                  </a:lnTo>
                  <a:lnTo>
                    <a:pt x="757" y="846"/>
                  </a:lnTo>
                  <a:lnTo>
                    <a:pt x="755" y="821"/>
                  </a:lnTo>
                  <a:lnTo>
                    <a:pt x="747" y="796"/>
                  </a:lnTo>
                  <a:lnTo>
                    <a:pt x="735" y="772"/>
                  </a:lnTo>
                  <a:lnTo>
                    <a:pt x="718" y="752"/>
                  </a:lnTo>
                  <a:lnTo>
                    <a:pt x="696" y="735"/>
                  </a:lnTo>
                  <a:lnTo>
                    <a:pt x="674" y="722"/>
                  </a:lnTo>
                  <a:lnTo>
                    <a:pt x="649" y="715"/>
                  </a:lnTo>
                  <a:lnTo>
                    <a:pt x="623" y="713"/>
                  </a:lnTo>
                  <a:close/>
                  <a:moveTo>
                    <a:pt x="1990" y="0"/>
                  </a:moveTo>
                  <a:lnTo>
                    <a:pt x="1935" y="42"/>
                  </a:lnTo>
                  <a:lnTo>
                    <a:pt x="1883" y="87"/>
                  </a:lnTo>
                  <a:lnTo>
                    <a:pt x="1833" y="134"/>
                  </a:lnTo>
                  <a:lnTo>
                    <a:pt x="1772" y="199"/>
                  </a:lnTo>
                  <a:lnTo>
                    <a:pt x="1715" y="267"/>
                  </a:lnTo>
                  <a:lnTo>
                    <a:pt x="1658" y="348"/>
                  </a:lnTo>
                  <a:lnTo>
                    <a:pt x="1606" y="432"/>
                  </a:lnTo>
                  <a:lnTo>
                    <a:pt x="1560" y="520"/>
                  </a:lnTo>
                  <a:lnTo>
                    <a:pt x="1520" y="612"/>
                  </a:lnTo>
                  <a:lnTo>
                    <a:pt x="1486" y="706"/>
                  </a:lnTo>
                  <a:lnTo>
                    <a:pt x="1460" y="805"/>
                  </a:lnTo>
                  <a:lnTo>
                    <a:pt x="1440" y="905"/>
                  </a:lnTo>
                  <a:lnTo>
                    <a:pt x="1429" y="1008"/>
                  </a:lnTo>
                  <a:lnTo>
                    <a:pt x="1425" y="1113"/>
                  </a:lnTo>
                  <a:lnTo>
                    <a:pt x="1429" y="1218"/>
                  </a:lnTo>
                  <a:lnTo>
                    <a:pt x="1440" y="1322"/>
                  </a:lnTo>
                  <a:lnTo>
                    <a:pt x="1460" y="1422"/>
                  </a:lnTo>
                  <a:lnTo>
                    <a:pt x="1486" y="1519"/>
                  </a:lnTo>
                  <a:lnTo>
                    <a:pt x="1520" y="1615"/>
                  </a:lnTo>
                  <a:lnTo>
                    <a:pt x="1560" y="1706"/>
                  </a:lnTo>
                  <a:lnTo>
                    <a:pt x="1606" y="1794"/>
                  </a:lnTo>
                  <a:lnTo>
                    <a:pt x="1658" y="1879"/>
                  </a:lnTo>
                  <a:lnTo>
                    <a:pt x="1715" y="1958"/>
                  </a:lnTo>
                  <a:lnTo>
                    <a:pt x="1772" y="2028"/>
                  </a:lnTo>
                  <a:lnTo>
                    <a:pt x="1833" y="2092"/>
                  </a:lnTo>
                  <a:lnTo>
                    <a:pt x="1894" y="2150"/>
                  </a:lnTo>
                  <a:lnTo>
                    <a:pt x="1959" y="2203"/>
                  </a:lnTo>
                  <a:lnTo>
                    <a:pt x="1990" y="2225"/>
                  </a:lnTo>
                  <a:lnTo>
                    <a:pt x="1959" y="2225"/>
                  </a:lnTo>
                  <a:lnTo>
                    <a:pt x="1959" y="2493"/>
                  </a:lnTo>
                  <a:lnTo>
                    <a:pt x="2093" y="2493"/>
                  </a:lnTo>
                  <a:lnTo>
                    <a:pt x="2123" y="2496"/>
                  </a:lnTo>
                  <a:lnTo>
                    <a:pt x="2151" y="2506"/>
                  </a:lnTo>
                  <a:lnTo>
                    <a:pt x="2176" y="2523"/>
                  </a:lnTo>
                  <a:lnTo>
                    <a:pt x="2196" y="2542"/>
                  </a:lnTo>
                  <a:lnTo>
                    <a:pt x="2212" y="2567"/>
                  </a:lnTo>
                  <a:lnTo>
                    <a:pt x="2222" y="2596"/>
                  </a:lnTo>
                  <a:lnTo>
                    <a:pt x="2226" y="2626"/>
                  </a:lnTo>
                  <a:lnTo>
                    <a:pt x="2222" y="2657"/>
                  </a:lnTo>
                  <a:lnTo>
                    <a:pt x="2212" y="2685"/>
                  </a:lnTo>
                  <a:lnTo>
                    <a:pt x="2196" y="2710"/>
                  </a:lnTo>
                  <a:lnTo>
                    <a:pt x="2176" y="2730"/>
                  </a:lnTo>
                  <a:lnTo>
                    <a:pt x="2151" y="2746"/>
                  </a:lnTo>
                  <a:lnTo>
                    <a:pt x="2123" y="2756"/>
                  </a:lnTo>
                  <a:lnTo>
                    <a:pt x="2093" y="2760"/>
                  </a:lnTo>
                  <a:lnTo>
                    <a:pt x="846" y="2760"/>
                  </a:lnTo>
                  <a:lnTo>
                    <a:pt x="816" y="2756"/>
                  </a:lnTo>
                  <a:lnTo>
                    <a:pt x="787" y="2746"/>
                  </a:lnTo>
                  <a:lnTo>
                    <a:pt x="762" y="2730"/>
                  </a:lnTo>
                  <a:lnTo>
                    <a:pt x="741" y="2710"/>
                  </a:lnTo>
                  <a:lnTo>
                    <a:pt x="726" y="2685"/>
                  </a:lnTo>
                  <a:lnTo>
                    <a:pt x="716" y="2657"/>
                  </a:lnTo>
                  <a:lnTo>
                    <a:pt x="713" y="2626"/>
                  </a:lnTo>
                  <a:lnTo>
                    <a:pt x="716" y="2596"/>
                  </a:lnTo>
                  <a:lnTo>
                    <a:pt x="726" y="2567"/>
                  </a:lnTo>
                  <a:lnTo>
                    <a:pt x="741" y="2542"/>
                  </a:lnTo>
                  <a:lnTo>
                    <a:pt x="762" y="2523"/>
                  </a:lnTo>
                  <a:lnTo>
                    <a:pt x="787" y="2506"/>
                  </a:lnTo>
                  <a:lnTo>
                    <a:pt x="816" y="2496"/>
                  </a:lnTo>
                  <a:lnTo>
                    <a:pt x="846" y="2493"/>
                  </a:lnTo>
                  <a:lnTo>
                    <a:pt x="980" y="2493"/>
                  </a:lnTo>
                  <a:lnTo>
                    <a:pt x="980" y="2225"/>
                  </a:lnTo>
                  <a:lnTo>
                    <a:pt x="133" y="2225"/>
                  </a:lnTo>
                  <a:lnTo>
                    <a:pt x="103" y="2222"/>
                  </a:lnTo>
                  <a:lnTo>
                    <a:pt x="75" y="2212"/>
                  </a:lnTo>
                  <a:lnTo>
                    <a:pt x="50" y="2197"/>
                  </a:lnTo>
                  <a:lnTo>
                    <a:pt x="30" y="2176"/>
                  </a:lnTo>
                  <a:lnTo>
                    <a:pt x="14" y="2151"/>
                  </a:lnTo>
                  <a:lnTo>
                    <a:pt x="4" y="2122"/>
                  </a:lnTo>
                  <a:lnTo>
                    <a:pt x="0" y="2092"/>
                  </a:lnTo>
                  <a:lnTo>
                    <a:pt x="0" y="134"/>
                  </a:lnTo>
                  <a:lnTo>
                    <a:pt x="4" y="103"/>
                  </a:lnTo>
                  <a:lnTo>
                    <a:pt x="14" y="76"/>
                  </a:lnTo>
                  <a:lnTo>
                    <a:pt x="30" y="51"/>
                  </a:lnTo>
                  <a:lnTo>
                    <a:pt x="50" y="30"/>
                  </a:lnTo>
                  <a:lnTo>
                    <a:pt x="75" y="14"/>
                  </a:lnTo>
                  <a:lnTo>
                    <a:pt x="103" y="4"/>
                  </a:lnTo>
                  <a:lnTo>
                    <a:pt x="133" y="0"/>
                  </a:lnTo>
                  <a:lnTo>
                    <a:pt x="19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5"/>
            <p:cNvSpPr>
              <a:spLocks noEditPoints="1"/>
            </p:cNvSpPr>
            <p:nvPr/>
          </p:nvSpPr>
          <p:spPr bwMode="auto">
            <a:xfrm>
              <a:off x="3479" y="783"/>
              <a:ext cx="2406" cy="2482"/>
            </a:xfrm>
            <a:custGeom>
              <a:avLst/>
              <a:gdLst>
                <a:gd name="T0" fmla="*/ 953 w 2406"/>
                <a:gd name="T1" fmla="*/ 282 h 2482"/>
                <a:gd name="T2" fmla="*/ 733 w 2406"/>
                <a:gd name="T3" fmla="*/ 358 h 2482"/>
                <a:gd name="T4" fmla="*/ 544 w 2406"/>
                <a:gd name="T5" fmla="*/ 489 h 2482"/>
                <a:gd name="T6" fmla="*/ 397 w 2406"/>
                <a:gd name="T7" fmla="*/ 665 h 2482"/>
                <a:gd name="T8" fmla="*/ 301 w 2406"/>
                <a:gd name="T9" fmla="*/ 877 h 2482"/>
                <a:gd name="T10" fmla="*/ 268 w 2406"/>
                <a:gd name="T11" fmla="*/ 1113 h 2482"/>
                <a:gd name="T12" fmla="*/ 301 w 2406"/>
                <a:gd name="T13" fmla="*/ 1350 h 2482"/>
                <a:gd name="T14" fmla="*/ 397 w 2406"/>
                <a:gd name="T15" fmla="*/ 1562 h 2482"/>
                <a:gd name="T16" fmla="*/ 544 w 2406"/>
                <a:gd name="T17" fmla="*/ 1737 h 2482"/>
                <a:gd name="T18" fmla="*/ 733 w 2406"/>
                <a:gd name="T19" fmla="*/ 1867 h 2482"/>
                <a:gd name="T20" fmla="*/ 953 w 2406"/>
                <a:gd name="T21" fmla="*/ 1943 h 2482"/>
                <a:gd name="T22" fmla="*/ 1195 w 2406"/>
                <a:gd name="T23" fmla="*/ 1954 h 2482"/>
                <a:gd name="T24" fmla="*/ 1424 w 2406"/>
                <a:gd name="T25" fmla="*/ 1900 h 2482"/>
                <a:gd name="T26" fmla="*/ 1626 w 2406"/>
                <a:gd name="T27" fmla="*/ 1787 h 2482"/>
                <a:gd name="T28" fmla="*/ 1787 w 2406"/>
                <a:gd name="T29" fmla="*/ 1625 h 2482"/>
                <a:gd name="T30" fmla="*/ 1901 w 2406"/>
                <a:gd name="T31" fmla="*/ 1424 h 2482"/>
                <a:gd name="T32" fmla="*/ 1955 w 2406"/>
                <a:gd name="T33" fmla="*/ 1195 h 2482"/>
                <a:gd name="T34" fmla="*/ 1944 w 2406"/>
                <a:gd name="T35" fmla="*/ 952 h 2482"/>
                <a:gd name="T36" fmla="*/ 1868 w 2406"/>
                <a:gd name="T37" fmla="*/ 731 h 2482"/>
                <a:gd name="T38" fmla="*/ 1738 w 2406"/>
                <a:gd name="T39" fmla="*/ 543 h 2482"/>
                <a:gd name="T40" fmla="*/ 1562 w 2406"/>
                <a:gd name="T41" fmla="*/ 397 h 2482"/>
                <a:gd name="T42" fmla="*/ 1351 w 2406"/>
                <a:gd name="T43" fmla="*/ 301 h 2482"/>
                <a:gd name="T44" fmla="*/ 1113 w 2406"/>
                <a:gd name="T45" fmla="*/ 267 h 2482"/>
                <a:gd name="T46" fmla="*/ 1205 w 2406"/>
                <a:gd name="T47" fmla="*/ 4 h 2482"/>
                <a:gd name="T48" fmla="*/ 1465 w 2406"/>
                <a:gd name="T49" fmla="*/ 57 h 2482"/>
                <a:gd name="T50" fmla="*/ 1699 w 2406"/>
                <a:gd name="T51" fmla="*/ 168 h 2482"/>
                <a:gd name="T52" fmla="*/ 1901 w 2406"/>
                <a:gd name="T53" fmla="*/ 327 h 2482"/>
                <a:gd name="T54" fmla="*/ 2060 w 2406"/>
                <a:gd name="T55" fmla="*/ 527 h 2482"/>
                <a:gd name="T56" fmla="*/ 2170 w 2406"/>
                <a:gd name="T57" fmla="*/ 762 h 2482"/>
                <a:gd name="T58" fmla="*/ 2223 w 2406"/>
                <a:gd name="T59" fmla="*/ 1022 h 2482"/>
                <a:gd name="T60" fmla="*/ 2212 w 2406"/>
                <a:gd name="T61" fmla="*/ 1296 h 2482"/>
                <a:gd name="T62" fmla="*/ 2138 w 2406"/>
                <a:gd name="T63" fmla="*/ 1549 h 2482"/>
                <a:gd name="T64" fmla="*/ 2008 w 2406"/>
                <a:gd name="T65" fmla="*/ 1775 h 2482"/>
                <a:gd name="T66" fmla="*/ 2143 w 2406"/>
                <a:gd name="T67" fmla="*/ 2032 h 2482"/>
                <a:gd name="T68" fmla="*/ 2396 w 2406"/>
                <a:gd name="T69" fmla="*/ 2298 h 2482"/>
                <a:gd name="T70" fmla="*/ 2406 w 2406"/>
                <a:gd name="T71" fmla="*/ 2349 h 2482"/>
                <a:gd name="T72" fmla="*/ 2383 w 2406"/>
                <a:gd name="T73" fmla="*/ 2422 h 2482"/>
                <a:gd name="T74" fmla="*/ 2322 w 2406"/>
                <a:gd name="T75" fmla="*/ 2472 h 2482"/>
                <a:gd name="T76" fmla="*/ 2246 w 2406"/>
                <a:gd name="T77" fmla="*/ 2479 h 2482"/>
                <a:gd name="T78" fmla="*/ 2177 w 2406"/>
                <a:gd name="T79" fmla="*/ 2443 h 2482"/>
                <a:gd name="T80" fmla="*/ 1756 w 2406"/>
                <a:gd name="T81" fmla="*/ 2022 h 2482"/>
                <a:gd name="T82" fmla="*/ 1536 w 2406"/>
                <a:gd name="T83" fmla="*/ 2142 h 2482"/>
                <a:gd name="T84" fmla="*/ 1290 w 2406"/>
                <a:gd name="T85" fmla="*/ 2212 h 2482"/>
                <a:gd name="T86" fmla="*/ 1019 w 2406"/>
                <a:gd name="T87" fmla="*/ 2222 h 2482"/>
                <a:gd name="T88" fmla="*/ 750 w 2406"/>
                <a:gd name="T89" fmla="*/ 2165 h 2482"/>
                <a:gd name="T90" fmla="*/ 518 w 2406"/>
                <a:gd name="T91" fmla="*/ 2053 h 2482"/>
                <a:gd name="T92" fmla="*/ 329 w 2406"/>
                <a:gd name="T93" fmla="*/ 1901 h 2482"/>
                <a:gd name="T94" fmla="*/ 168 w 2406"/>
                <a:gd name="T95" fmla="*/ 1700 h 2482"/>
                <a:gd name="T96" fmla="*/ 58 w 2406"/>
                <a:gd name="T97" fmla="*/ 1465 h 2482"/>
                <a:gd name="T98" fmla="*/ 4 w 2406"/>
                <a:gd name="T99" fmla="*/ 1205 h 2482"/>
                <a:gd name="T100" fmla="*/ 15 w 2406"/>
                <a:gd name="T101" fmla="*/ 933 h 2482"/>
                <a:gd name="T102" fmla="*/ 89 w 2406"/>
                <a:gd name="T103" fmla="*/ 680 h 2482"/>
                <a:gd name="T104" fmla="*/ 217 w 2406"/>
                <a:gd name="T105" fmla="*/ 455 h 2482"/>
                <a:gd name="T106" fmla="*/ 391 w 2406"/>
                <a:gd name="T107" fmla="*/ 267 h 2482"/>
                <a:gd name="T108" fmla="*/ 586 w 2406"/>
                <a:gd name="T109" fmla="*/ 134 h 2482"/>
                <a:gd name="T110" fmla="*/ 837 w 2406"/>
                <a:gd name="T111" fmla="*/ 35 h 2482"/>
                <a:gd name="T112" fmla="*/ 1113 w 2406"/>
                <a:gd name="T113" fmla="*/ 0 h 2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06" h="2482">
                  <a:moveTo>
                    <a:pt x="1113" y="267"/>
                  </a:moveTo>
                  <a:lnTo>
                    <a:pt x="1033" y="271"/>
                  </a:lnTo>
                  <a:lnTo>
                    <a:pt x="953" y="282"/>
                  </a:lnTo>
                  <a:lnTo>
                    <a:pt x="877" y="301"/>
                  </a:lnTo>
                  <a:lnTo>
                    <a:pt x="802" y="327"/>
                  </a:lnTo>
                  <a:lnTo>
                    <a:pt x="733" y="358"/>
                  </a:lnTo>
                  <a:lnTo>
                    <a:pt x="666" y="397"/>
                  </a:lnTo>
                  <a:lnTo>
                    <a:pt x="602" y="440"/>
                  </a:lnTo>
                  <a:lnTo>
                    <a:pt x="544" y="489"/>
                  </a:lnTo>
                  <a:lnTo>
                    <a:pt x="489" y="543"/>
                  </a:lnTo>
                  <a:lnTo>
                    <a:pt x="441" y="602"/>
                  </a:lnTo>
                  <a:lnTo>
                    <a:pt x="397" y="665"/>
                  </a:lnTo>
                  <a:lnTo>
                    <a:pt x="359" y="731"/>
                  </a:lnTo>
                  <a:lnTo>
                    <a:pt x="327" y="802"/>
                  </a:lnTo>
                  <a:lnTo>
                    <a:pt x="301" y="877"/>
                  </a:lnTo>
                  <a:lnTo>
                    <a:pt x="283" y="952"/>
                  </a:lnTo>
                  <a:lnTo>
                    <a:pt x="271" y="1032"/>
                  </a:lnTo>
                  <a:lnTo>
                    <a:pt x="268" y="1113"/>
                  </a:lnTo>
                  <a:lnTo>
                    <a:pt x="271" y="1195"/>
                  </a:lnTo>
                  <a:lnTo>
                    <a:pt x="283" y="1273"/>
                  </a:lnTo>
                  <a:lnTo>
                    <a:pt x="301" y="1350"/>
                  </a:lnTo>
                  <a:lnTo>
                    <a:pt x="327" y="1424"/>
                  </a:lnTo>
                  <a:lnTo>
                    <a:pt x="359" y="1494"/>
                  </a:lnTo>
                  <a:lnTo>
                    <a:pt x="397" y="1562"/>
                  </a:lnTo>
                  <a:lnTo>
                    <a:pt x="441" y="1625"/>
                  </a:lnTo>
                  <a:lnTo>
                    <a:pt x="489" y="1683"/>
                  </a:lnTo>
                  <a:lnTo>
                    <a:pt x="544" y="1737"/>
                  </a:lnTo>
                  <a:lnTo>
                    <a:pt x="602" y="1787"/>
                  </a:lnTo>
                  <a:lnTo>
                    <a:pt x="666" y="1830"/>
                  </a:lnTo>
                  <a:lnTo>
                    <a:pt x="733" y="1867"/>
                  </a:lnTo>
                  <a:lnTo>
                    <a:pt x="802" y="1900"/>
                  </a:lnTo>
                  <a:lnTo>
                    <a:pt x="877" y="1925"/>
                  </a:lnTo>
                  <a:lnTo>
                    <a:pt x="953" y="1943"/>
                  </a:lnTo>
                  <a:lnTo>
                    <a:pt x="1033" y="1954"/>
                  </a:lnTo>
                  <a:lnTo>
                    <a:pt x="1113" y="1958"/>
                  </a:lnTo>
                  <a:lnTo>
                    <a:pt x="1195" y="1954"/>
                  </a:lnTo>
                  <a:lnTo>
                    <a:pt x="1274" y="1943"/>
                  </a:lnTo>
                  <a:lnTo>
                    <a:pt x="1351" y="1925"/>
                  </a:lnTo>
                  <a:lnTo>
                    <a:pt x="1424" y="1900"/>
                  </a:lnTo>
                  <a:lnTo>
                    <a:pt x="1495" y="1867"/>
                  </a:lnTo>
                  <a:lnTo>
                    <a:pt x="1562" y="1830"/>
                  </a:lnTo>
                  <a:lnTo>
                    <a:pt x="1626" y="1787"/>
                  </a:lnTo>
                  <a:lnTo>
                    <a:pt x="1684" y="1737"/>
                  </a:lnTo>
                  <a:lnTo>
                    <a:pt x="1738" y="1683"/>
                  </a:lnTo>
                  <a:lnTo>
                    <a:pt x="1787" y="1625"/>
                  </a:lnTo>
                  <a:lnTo>
                    <a:pt x="1831" y="1562"/>
                  </a:lnTo>
                  <a:lnTo>
                    <a:pt x="1868" y="1494"/>
                  </a:lnTo>
                  <a:lnTo>
                    <a:pt x="1901" y="1424"/>
                  </a:lnTo>
                  <a:lnTo>
                    <a:pt x="1925" y="1350"/>
                  </a:lnTo>
                  <a:lnTo>
                    <a:pt x="1944" y="1273"/>
                  </a:lnTo>
                  <a:lnTo>
                    <a:pt x="1955" y="1195"/>
                  </a:lnTo>
                  <a:lnTo>
                    <a:pt x="1960" y="1113"/>
                  </a:lnTo>
                  <a:lnTo>
                    <a:pt x="1955" y="1032"/>
                  </a:lnTo>
                  <a:lnTo>
                    <a:pt x="1944" y="952"/>
                  </a:lnTo>
                  <a:lnTo>
                    <a:pt x="1925" y="877"/>
                  </a:lnTo>
                  <a:lnTo>
                    <a:pt x="1901" y="802"/>
                  </a:lnTo>
                  <a:lnTo>
                    <a:pt x="1868" y="731"/>
                  </a:lnTo>
                  <a:lnTo>
                    <a:pt x="1831" y="665"/>
                  </a:lnTo>
                  <a:lnTo>
                    <a:pt x="1787" y="602"/>
                  </a:lnTo>
                  <a:lnTo>
                    <a:pt x="1738" y="543"/>
                  </a:lnTo>
                  <a:lnTo>
                    <a:pt x="1684" y="489"/>
                  </a:lnTo>
                  <a:lnTo>
                    <a:pt x="1626" y="440"/>
                  </a:lnTo>
                  <a:lnTo>
                    <a:pt x="1562" y="397"/>
                  </a:lnTo>
                  <a:lnTo>
                    <a:pt x="1495" y="358"/>
                  </a:lnTo>
                  <a:lnTo>
                    <a:pt x="1424" y="327"/>
                  </a:lnTo>
                  <a:lnTo>
                    <a:pt x="1351" y="301"/>
                  </a:lnTo>
                  <a:lnTo>
                    <a:pt x="1274" y="282"/>
                  </a:lnTo>
                  <a:lnTo>
                    <a:pt x="1195" y="271"/>
                  </a:lnTo>
                  <a:lnTo>
                    <a:pt x="1113" y="267"/>
                  </a:lnTo>
                  <a:close/>
                  <a:moveTo>
                    <a:pt x="1113" y="0"/>
                  </a:moveTo>
                  <a:lnTo>
                    <a:pt x="1113" y="0"/>
                  </a:lnTo>
                  <a:lnTo>
                    <a:pt x="1205" y="4"/>
                  </a:lnTo>
                  <a:lnTo>
                    <a:pt x="1294" y="15"/>
                  </a:lnTo>
                  <a:lnTo>
                    <a:pt x="1381" y="33"/>
                  </a:lnTo>
                  <a:lnTo>
                    <a:pt x="1465" y="57"/>
                  </a:lnTo>
                  <a:lnTo>
                    <a:pt x="1546" y="88"/>
                  </a:lnTo>
                  <a:lnTo>
                    <a:pt x="1625" y="125"/>
                  </a:lnTo>
                  <a:lnTo>
                    <a:pt x="1699" y="168"/>
                  </a:lnTo>
                  <a:lnTo>
                    <a:pt x="1771" y="215"/>
                  </a:lnTo>
                  <a:lnTo>
                    <a:pt x="1838" y="269"/>
                  </a:lnTo>
                  <a:lnTo>
                    <a:pt x="1901" y="327"/>
                  </a:lnTo>
                  <a:lnTo>
                    <a:pt x="1959" y="389"/>
                  </a:lnTo>
                  <a:lnTo>
                    <a:pt x="2011" y="456"/>
                  </a:lnTo>
                  <a:lnTo>
                    <a:pt x="2060" y="527"/>
                  </a:lnTo>
                  <a:lnTo>
                    <a:pt x="2102" y="602"/>
                  </a:lnTo>
                  <a:lnTo>
                    <a:pt x="2139" y="680"/>
                  </a:lnTo>
                  <a:lnTo>
                    <a:pt x="2170" y="762"/>
                  </a:lnTo>
                  <a:lnTo>
                    <a:pt x="2194" y="846"/>
                  </a:lnTo>
                  <a:lnTo>
                    <a:pt x="2213" y="933"/>
                  </a:lnTo>
                  <a:lnTo>
                    <a:pt x="2223" y="1022"/>
                  </a:lnTo>
                  <a:lnTo>
                    <a:pt x="2226" y="1113"/>
                  </a:lnTo>
                  <a:lnTo>
                    <a:pt x="2223" y="1205"/>
                  </a:lnTo>
                  <a:lnTo>
                    <a:pt x="2212" y="1296"/>
                  </a:lnTo>
                  <a:lnTo>
                    <a:pt x="2194" y="1383"/>
                  </a:lnTo>
                  <a:lnTo>
                    <a:pt x="2169" y="1467"/>
                  </a:lnTo>
                  <a:lnTo>
                    <a:pt x="2138" y="1549"/>
                  </a:lnTo>
                  <a:lnTo>
                    <a:pt x="2101" y="1629"/>
                  </a:lnTo>
                  <a:lnTo>
                    <a:pt x="2057" y="1703"/>
                  </a:lnTo>
                  <a:lnTo>
                    <a:pt x="2008" y="1775"/>
                  </a:lnTo>
                  <a:lnTo>
                    <a:pt x="1954" y="1843"/>
                  </a:lnTo>
                  <a:lnTo>
                    <a:pt x="2049" y="1937"/>
                  </a:lnTo>
                  <a:lnTo>
                    <a:pt x="2143" y="2032"/>
                  </a:lnTo>
                  <a:lnTo>
                    <a:pt x="2366" y="2254"/>
                  </a:lnTo>
                  <a:lnTo>
                    <a:pt x="2383" y="2275"/>
                  </a:lnTo>
                  <a:lnTo>
                    <a:pt x="2396" y="2298"/>
                  </a:lnTo>
                  <a:lnTo>
                    <a:pt x="2403" y="2322"/>
                  </a:lnTo>
                  <a:lnTo>
                    <a:pt x="2406" y="2349"/>
                  </a:lnTo>
                  <a:lnTo>
                    <a:pt x="2406" y="2349"/>
                  </a:lnTo>
                  <a:lnTo>
                    <a:pt x="2403" y="2373"/>
                  </a:lnTo>
                  <a:lnTo>
                    <a:pt x="2396" y="2398"/>
                  </a:lnTo>
                  <a:lnTo>
                    <a:pt x="2383" y="2422"/>
                  </a:lnTo>
                  <a:lnTo>
                    <a:pt x="2366" y="2443"/>
                  </a:lnTo>
                  <a:lnTo>
                    <a:pt x="2345" y="2459"/>
                  </a:lnTo>
                  <a:lnTo>
                    <a:pt x="2322" y="2472"/>
                  </a:lnTo>
                  <a:lnTo>
                    <a:pt x="2297" y="2479"/>
                  </a:lnTo>
                  <a:lnTo>
                    <a:pt x="2271" y="2482"/>
                  </a:lnTo>
                  <a:lnTo>
                    <a:pt x="2246" y="2479"/>
                  </a:lnTo>
                  <a:lnTo>
                    <a:pt x="2221" y="2472"/>
                  </a:lnTo>
                  <a:lnTo>
                    <a:pt x="2198" y="2459"/>
                  </a:lnTo>
                  <a:lnTo>
                    <a:pt x="2177" y="2443"/>
                  </a:lnTo>
                  <a:lnTo>
                    <a:pt x="1947" y="2213"/>
                  </a:lnTo>
                  <a:lnTo>
                    <a:pt x="1851" y="2117"/>
                  </a:lnTo>
                  <a:lnTo>
                    <a:pt x="1756" y="2022"/>
                  </a:lnTo>
                  <a:lnTo>
                    <a:pt x="1685" y="2068"/>
                  </a:lnTo>
                  <a:lnTo>
                    <a:pt x="1612" y="2107"/>
                  </a:lnTo>
                  <a:lnTo>
                    <a:pt x="1536" y="2142"/>
                  </a:lnTo>
                  <a:lnTo>
                    <a:pt x="1457" y="2172"/>
                  </a:lnTo>
                  <a:lnTo>
                    <a:pt x="1375" y="2196"/>
                  </a:lnTo>
                  <a:lnTo>
                    <a:pt x="1290" y="2212"/>
                  </a:lnTo>
                  <a:lnTo>
                    <a:pt x="1203" y="2222"/>
                  </a:lnTo>
                  <a:lnTo>
                    <a:pt x="1113" y="2225"/>
                  </a:lnTo>
                  <a:lnTo>
                    <a:pt x="1019" y="2222"/>
                  </a:lnTo>
                  <a:lnTo>
                    <a:pt x="927" y="2211"/>
                  </a:lnTo>
                  <a:lnTo>
                    <a:pt x="837" y="2191"/>
                  </a:lnTo>
                  <a:lnTo>
                    <a:pt x="750" y="2165"/>
                  </a:lnTo>
                  <a:lnTo>
                    <a:pt x="666" y="2132"/>
                  </a:lnTo>
                  <a:lnTo>
                    <a:pt x="586" y="2092"/>
                  </a:lnTo>
                  <a:lnTo>
                    <a:pt x="518" y="2053"/>
                  </a:lnTo>
                  <a:lnTo>
                    <a:pt x="453" y="2008"/>
                  </a:lnTo>
                  <a:lnTo>
                    <a:pt x="391" y="1958"/>
                  </a:lnTo>
                  <a:lnTo>
                    <a:pt x="329" y="1901"/>
                  </a:lnTo>
                  <a:lnTo>
                    <a:pt x="270" y="1838"/>
                  </a:lnTo>
                  <a:lnTo>
                    <a:pt x="217" y="1770"/>
                  </a:lnTo>
                  <a:lnTo>
                    <a:pt x="168" y="1700"/>
                  </a:lnTo>
                  <a:lnTo>
                    <a:pt x="126" y="1625"/>
                  </a:lnTo>
                  <a:lnTo>
                    <a:pt x="89" y="1547"/>
                  </a:lnTo>
                  <a:lnTo>
                    <a:pt x="58" y="1465"/>
                  </a:lnTo>
                  <a:lnTo>
                    <a:pt x="34" y="1380"/>
                  </a:lnTo>
                  <a:lnTo>
                    <a:pt x="15" y="1294"/>
                  </a:lnTo>
                  <a:lnTo>
                    <a:pt x="4" y="1205"/>
                  </a:lnTo>
                  <a:lnTo>
                    <a:pt x="0" y="1113"/>
                  </a:lnTo>
                  <a:lnTo>
                    <a:pt x="4" y="1022"/>
                  </a:lnTo>
                  <a:lnTo>
                    <a:pt x="15" y="933"/>
                  </a:lnTo>
                  <a:lnTo>
                    <a:pt x="34" y="846"/>
                  </a:lnTo>
                  <a:lnTo>
                    <a:pt x="58" y="761"/>
                  </a:lnTo>
                  <a:lnTo>
                    <a:pt x="89" y="680"/>
                  </a:lnTo>
                  <a:lnTo>
                    <a:pt x="126" y="602"/>
                  </a:lnTo>
                  <a:lnTo>
                    <a:pt x="168" y="526"/>
                  </a:lnTo>
                  <a:lnTo>
                    <a:pt x="217" y="455"/>
                  </a:lnTo>
                  <a:lnTo>
                    <a:pt x="270" y="388"/>
                  </a:lnTo>
                  <a:lnTo>
                    <a:pt x="329" y="326"/>
                  </a:lnTo>
                  <a:lnTo>
                    <a:pt x="391" y="267"/>
                  </a:lnTo>
                  <a:lnTo>
                    <a:pt x="453" y="219"/>
                  </a:lnTo>
                  <a:lnTo>
                    <a:pt x="518" y="174"/>
                  </a:lnTo>
                  <a:lnTo>
                    <a:pt x="586" y="134"/>
                  </a:lnTo>
                  <a:lnTo>
                    <a:pt x="666" y="95"/>
                  </a:lnTo>
                  <a:lnTo>
                    <a:pt x="750" y="61"/>
                  </a:lnTo>
                  <a:lnTo>
                    <a:pt x="837" y="35"/>
                  </a:lnTo>
                  <a:lnTo>
                    <a:pt x="927" y="16"/>
                  </a:lnTo>
                  <a:lnTo>
                    <a:pt x="1019" y="4"/>
                  </a:lnTo>
                  <a:lnTo>
                    <a:pt x="11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6"/>
            <p:cNvSpPr>
              <a:spLocks noEditPoints="1"/>
            </p:cNvSpPr>
            <p:nvPr/>
          </p:nvSpPr>
          <p:spPr bwMode="auto">
            <a:xfrm>
              <a:off x="4237" y="1318"/>
              <a:ext cx="712" cy="1157"/>
            </a:xfrm>
            <a:custGeom>
              <a:avLst/>
              <a:gdLst>
                <a:gd name="T0" fmla="*/ 355 w 712"/>
                <a:gd name="T1" fmla="*/ 267 h 1157"/>
                <a:gd name="T2" fmla="*/ 332 w 712"/>
                <a:gd name="T3" fmla="*/ 270 h 1157"/>
                <a:gd name="T4" fmla="*/ 311 w 712"/>
                <a:gd name="T5" fmla="*/ 278 h 1157"/>
                <a:gd name="T6" fmla="*/ 293 w 712"/>
                <a:gd name="T7" fmla="*/ 293 h 1157"/>
                <a:gd name="T8" fmla="*/ 280 w 712"/>
                <a:gd name="T9" fmla="*/ 311 h 1157"/>
                <a:gd name="T10" fmla="*/ 270 w 712"/>
                <a:gd name="T11" fmla="*/ 332 h 1157"/>
                <a:gd name="T12" fmla="*/ 267 w 712"/>
                <a:gd name="T13" fmla="*/ 355 h 1157"/>
                <a:gd name="T14" fmla="*/ 267 w 712"/>
                <a:gd name="T15" fmla="*/ 445 h 1157"/>
                <a:gd name="T16" fmla="*/ 445 w 712"/>
                <a:gd name="T17" fmla="*/ 445 h 1157"/>
                <a:gd name="T18" fmla="*/ 445 w 712"/>
                <a:gd name="T19" fmla="*/ 355 h 1157"/>
                <a:gd name="T20" fmla="*/ 441 w 712"/>
                <a:gd name="T21" fmla="*/ 332 h 1157"/>
                <a:gd name="T22" fmla="*/ 433 w 712"/>
                <a:gd name="T23" fmla="*/ 311 h 1157"/>
                <a:gd name="T24" fmla="*/ 419 w 712"/>
                <a:gd name="T25" fmla="*/ 293 h 1157"/>
                <a:gd name="T26" fmla="*/ 400 w 712"/>
                <a:gd name="T27" fmla="*/ 278 h 1157"/>
                <a:gd name="T28" fmla="*/ 379 w 712"/>
                <a:gd name="T29" fmla="*/ 270 h 1157"/>
                <a:gd name="T30" fmla="*/ 355 w 712"/>
                <a:gd name="T31" fmla="*/ 267 h 1157"/>
                <a:gd name="T32" fmla="*/ 355 w 712"/>
                <a:gd name="T33" fmla="*/ 0 h 1157"/>
                <a:gd name="T34" fmla="*/ 374 w 712"/>
                <a:gd name="T35" fmla="*/ 0 h 1157"/>
                <a:gd name="T36" fmla="*/ 424 w 712"/>
                <a:gd name="T37" fmla="*/ 6 h 1157"/>
                <a:gd name="T38" fmla="*/ 472 w 712"/>
                <a:gd name="T39" fmla="*/ 20 h 1157"/>
                <a:gd name="T40" fmla="*/ 517 w 712"/>
                <a:gd name="T41" fmla="*/ 38 h 1157"/>
                <a:gd name="T42" fmla="*/ 558 w 712"/>
                <a:gd name="T43" fmla="*/ 63 h 1157"/>
                <a:gd name="T44" fmla="*/ 597 w 712"/>
                <a:gd name="T45" fmla="*/ 93 h 1157"/>
                <a:gd name="T46" fmla="*/ 629 w 712"/>
                <a:gd name="T47" fmla="*/ 128 h 1157"/>
                <a:gd name="T48" fmla="*/ 658 w 712"/>
                <a:gd name="T49" fmla="*/ 168 h 1157"/>
                <a:gd name="T50" fmla="*/ 681 w 712"/>
                <a:gd name="T51" fmla="*/ 210 h 1157"/>
                <a:gd name="T52" fmla="*/ 697 w 712"/>
                <a:gd name="T53" fmla="*/ 256 h 1157"/>
                <a:gd name="T54" fmla="*/ 709 w 712"/>
                <a:gd name="T55" fmla="*/ 304 h 1157"/>
                <a:gd name="T56" fmla="*/ 712 w 712"/>
                <a:gd name="T57" fmla="*/ 355 h 1157"/>
                <a:gd name="T58" fmla="*/ 712 w 712"/>
                <a:gd name="T59" fmla="*/ 1023 h 1157"/>
                <a:gd name="T60" fmla="*/ 711 w 712"/>
                <a:gd name="T61" fmla="*/ 1034 h 1157"/>
                <a:gd name="T62" fmla="*/ 706 w 712"/>
                <a:gd name="T63" fmla="*/ 1063 h 1157"/>
                <a:gd name="T64" fmla="*/ 695 w 712"/>
                <a:gd name="T65" fmla="*/ 1089 h 1157"/>
                <a:gd name="T66" fmla="*/ 679 w 712"/>
                <a:gd name="T67" fmla="*/ 1111 h 1157"/>
                <a:gd name="T68" fmla="*/ 659 w 712"/>
                <a:gd name="T69" fmla="*/ 1130 h 1157"/>
                <a:gd name="T70" fmla="*/ 634 w 712"/>
                <a:gd name="T71" fmla="*/ 1145 h 1157"/>
                <a:gd name="T72" fmla="*/ 608 w 712"/>
                <a:gd name="T73" fmla="*/ 1153 h 1157"/>
                <a:gd name="T74" fmla="*/ 578 w 712"/>
                <a:gd name="T75" fmla="*/ 1157 h 1157"/>
                <a:gd name="T76" fmla="*/ 133 w 712"/>
                <a:gd name="T77" fmla="*/ 1157 h 1157"/>
                <a:gd name="T78" fmla="*/ 104 w 712"/>
                <a:gd name="T79" fmla="*/ 1153 h 1157"/>
                <a:gd name="T80" fmla="*/ 77 w 712"/>
                <a:gd name="T81" fmla="*/ 1145 h 1157"/>
                <a:gd name="T82" fmla="*/ 53 w 712"/>
                <a:gd name="T83" fmla="*/ 1130 h 1157"/>
                <a:gd name="T84" fmla="*/ 33 w 712"/>
                <a:gd name="T85" fmla="*/ 1111 h 1157"/>
                <a:gd name="T86" fmla="*/ 17 w 712"/>
                <a:gd name="T87" fmla="*/ 1089 h 1157"/>
                <a:gd name="T88" fmla="*/ 6 w 712"/>
                <a:gd name="T89" fmla="*/ 1063 h 1157"/>
                <a:gd name="T90" fmla="*/ 0 w 712"/>
                <a:gd name="T91" fmla="*/ 1034 h 1157"/>
                <a:gd name="T92" fmla="*/ 0 w 712"/>
                <a:gd name="T93" fmla="*/ 1023 h 1157"/>
                <a:gd name="T94" fmla="*/ 0 w 712"/>
                <a:gd name="T95" fmla="*/ 355 h 1157"/>
                <a:gd name="T96" fmla="*/ 3 w 712"/>
                <a:gd name="T97" fmla="*/ 304 h 1157"/>
                <a:gd name="T98" fmla="*/ 13 w 712"/>
                <a:gd name="T99" fmla="*/ 256 h 1157"/>
                <a:gd name="T100" fmla="*/ 31 w 712"/>
                <a:gd name="T101" fmla="*/ 210 h 1157"/>
                <a:gd name="T102" fmla="*/ 53 w 712"/>
                <a:gd name="T103" fmla="*/ 168 h 1157"/>
                <a:gd name="T104" fmla="*/ 82 w 712"/>
                <a:gd name="T105" fmla="*/ 128 h 1157"/>
                <a:gd name="T106" fmla="*/ 115 w 712"/>
                <a:gd name="T107" fmla="*/ 93 h 1157"/>
                <a:gd name="T108" fmla="*/ 153 w 712"/>
                <a:gd name="T109" fmla="*/ 63 h 1157"/>
                <a:gd name="T110" fmla="*/ 195 w 712"/>
                <a:gd name="T111" fmla="*/ 38 h 1157"/>
                <a:gd name="T112" fmla="*/ 240 w 712"/>
                <a:gd name="T113" fmla="*/ 20 h 1157"/>
                <a:gd name="T114" fmla="*/ 287 w 712"/>
                <a:gd name="T115" fmla="*/ 6 h 1157"/>
                <a:gd name="T116" fmla="*/ 338 w 712"/>
                <a:gd name="T117" fmla="*/ 0 h 1157"/>
                <a:gd name="T118" fmla="*/ 355 w 712"/>
                <a:gd name="T119" fmla="*/ 0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12" h="1157">
                  <a:moveTo>
                    <a:pt x="355" y="267"/>
                  </a:moveTo>
                  <a:lnTo>
                    <a:pt x="332" y="270"/>
                  </a:lnTo>
                  <a:lnTo>
                    <a:pt x="311" y="278"/>
                  </a:lnTo>
                  <a:lnTo>
                    <a:pt x="293" y="293"/>
                  </a:lnTo>
                  <a:lnTo>
                    <a:pt x="280" y="311"/>
                  </a:lnTo>
                  <a:lnTo>
                    <a:pt x="270" y="332"/>
                  </a:lnTo>
                  <a:lnTo>
                    <a:pt x="267" y="355"/>
                  </a:lnTo>
                  <a:lnTo>
                    <a:pt x="267" y="445"/>
                  </a:lnTo>
                  <a:lnTo>
                    <a:pt x="445" y="445"/>
                  </a:lnTo>
                  <a:lnTo>
                    <a:pt x="445" y="355"/>
                  </a:lnTo>
                  <a:lnTo>
                    <a:pt x="441" y="332"/>
                  </a:lnTo>
                  <a:lnTo>
                    <a:pt x="433" y="311"/>
                  </a:lnTo>
                  <a:lnTo>
                    <a:pt x="419" y="293"/>
                  </a:lnTo>
                  <a:lnTo>
                    <a:pt x="400" y="278"/>
                  </a:lnTo>
                  <a:lnTo>
                    <a:pt x="379" y="270"/>
                  </a:lnTo>
                  <a:lnTo>
                    <a:pt x="355" y="267"/>
                  </a:lnTo>
                  <a:close/>
                  <a:moveTo>
                    <a:pt x="355" y="0"/>
                  </a:moveTo>
                  <a:lnTo>
                    <a:pt x="374" y="0"/>
                  </a:lnTo>
                  <a:lnTo>
                    <a:pt x="424" y="6"/>
                  </a:lnTo>
                  <a:lnTo>
                    <a:pt x="472" y="20"/>
                  </a:lnTo>
                  <a:lnTo>
                    <a:pt x="517" y="38"/>
                  </a:lnTo>
                  <a:lnTo>
                    <a:pt x="558" y="63"/>
                  </a:lnTo>
                  <a:lnTo>
                    <a:pt x="597" y="93"/>
                  </a:lnTo>
                  <a:lnTo>
                    <a:pt x="629" y="128"/>
                  </a:lnTo>
                  <a:lnTo>
                    <a:pt x="658" y="168"/>
                  </a:lnTo>
                  <a:lnTo>
                    <a:pt x="681" y="210"/>
                  </a:lnTo>
                  <a:lnTo>
                    <a:pt x="697" y="256"/>
                  </a:lnTo>
                  <a:lnTo>
                    <a:pt x="709" y="304"/>
                  </a:lnTo>
                  <a:lnTo>
                    <a:pt x="712" y="355"/>
                  </a:lnTo>
                  <a:lnTo>
                    <a:pt x="712" y="1023"/>
                  </a:lnTo>
                  <a:lnTo>
                    <a:pt x="711" y="1034"/>
                  </a:lnTo>
                  <a:lnTo>
                    <a:pt x="706" y="1063"/>
                  </a:lnTo>
                  <a:lnTo>
                    <a:pt x="695" y="1089"/>
                  </a:lnTo>
                  <a:lnTo>
                    <a:pt x="679" y="1111"/>
                  </a:lnTo>
                  <a:lnTo>
                    <a:pt x="659" y="1130"/>
                  </a:lnTo>
                  <a:lnTo>
                    <a:pt x="634" y="1145"/>
                  </a:lnTo>
                  <a:lnTo>
                    <a:pt x="608" y="1153"/>
                  </a:lnTo>
                  <a:lnTo>
                    <a:pt x="578" y="1157"/>
                  </a:lnTo>
                  <a:lnTo>
                    <a:pt x="133" y="1157"/>
                  </a:lnTo>
                  <a:lnTo>
                    <a:pt x="104" y="1153"/>
                  </a:lnTo>
                  <a:lnTo>
                    <a:pt x="77" y="1145"/>
                  </a:lnTo>
                  <a:lnTo>
                    <a:pt x="53" y="1130"/>
                  </a:lnTo>
                  <a:lnTo>
                    <a:pt x="33" y="1111"/>
                  </a:lnTo>
                  <a:lnTo>
                    <a:pt x="17" y="1089"/>
                  </a:lnTo>
                  <a:lnTo>
                    <a:pt x="6" y="1063"/>
                  </a:lnTo>
                  <a:lnTo>
                    <a:pt x="0" y="1034"/>
                  </a:lnTo>
                  <a:lnTo>
                    <a:pt x="0" y="1023"/>
                  </a:lnTo>
                  <a:lnTo>
                    <a:pt x="0" y="355"/>
                  </a:lnTo>
                  <a:lnTo>
                    <a:pt x="3" y="304"/>
                  </a:lnTo>
                  <a:lnTo>
                    <a:pt x="13" y="256"/>
                  </a:lnTo>
                  <a:lnTo>
                    <a:pt x="31" y="210"/>
                  </a:lnTo>
                  <a:lnTo>
                    <a:pt x="53" y="168"/>
                  </a:lnTo>
                  <a:lnTo>
                    <a:pt x="82" y="128"/>
                  </a:lnTo>
                  <a:lnTo>
                    <a:pt x="115" y="93"/>
                  </a:lnTo>
                  <a:lnTo>
                    <a:pt x="153" y="63"/>
                  </a:lnTo>
                  <a:lnTo>
                    <a:pt x="195" y="38"/>
                  </a:lnTo>
                  <a:lnTo>
                    <a:pt x="240" y="20"/>
                  </a:lnTo>
                  <a:lnTo>
                    <a:pt x="287" y="6"/>
                  </a:lnTo>
                  <a:lnTo>
                    <a:pt x="338" y="0"/>
                  </a:lnTo>
                  <a:lnTo>
                    <a:pt x="3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8" name="Group 29"/>
          <p:cNvGrpSpPr>
            <a:grpSpLocks noChangeAspect="1"/>
          </p:cNvGrpSpPr>
          <p:nvPr/>
        </p:nvGrpSpPr>
        <p:grpSpPr bwMode="auto">
          <a:xfrm>
            <a:off x="6670999" y="4959066"/>
            <a:ext cx="461790" cy="548640"/>
            <a:chOff x="1347" y="-893"/>
            <a:chExt cx="2297" cy="2729"/>
          </a:xfrm>
          <a:solidFill>
            <a:schemeClr val="bg1"/>
          </a:solidFill>
        </p:grpSpPr>
        <p:sp>
          <p:nvSpPr>
            <p:cNvPr id="91" name="Freeform 31"/>
            <p:cNvSpPr>
              <a:spLocks/>
            </p:cNvSpPr>
            <p:nvPr/>
          </p:nvSpPr>
          <p:spPr bwMode="auto">
            <a:xfrm>
              <a:off x="1347" y="799"/>
              <a:ext cx="2297" cy="1037"/>
            </a:xfrm>
            <a:custGeom>
              <a:avLst/>
              <a:gdLst>
                <a:gd name="T0" fmla="*/ 3115 w 4593"/>
                <a:gd name="T1" fmla="*/ 30 h 2074"/>
                <a:gd name="T2" fmla="*/ 3175 w 4593"/>
                <a:gd name="T3" fmla="*/ 145 h 2074"/>
                <a:gd name="T4" fmla="*/ 3148 w 4593"/>
                <a:gd name="T5" fmla="*/ 310 h 2074"/>
                <a:gd name="T6" fmla="*/ 3013 w 4593"/>
                <a:gd name="T7" fmla="*/ 482 h 2074"/>
                <a:gd name="T8" fmla="*/ 2810 w 4593"/>
                <a:gd name="T9" fmla="*/ 604 h 2074"/>
                <a:gd name="T10" fmla="*/ 2647 w 4593"/>
                <a:gd name="T11" fmla="*/ 652 h 2074"/>
                <a:gd name="T12" fmla="*/ 2434 w 4593"/>
                <a:gd name="T13" fmla="*/ 712 h 2074"/>
                <a:gd name="T14" fmla="*/ 2263 w 4593"/>
                <a:gd name="T15" fmla="*/ 765 h 2074"/>
                <a:gd name="T16" fmla="*/ 2278 w 4593"/>
                <a:gd name="T17" fmla="*/ 785 h 2074"/>
                <a:gd name="T18" fmla="*/ 2439 w 4593"/>
                <a:gd name="T19" fmla="*/ 811 h 2074"/>
                <a:gd name="T20" fmla="*/ 2684 w 4593"/>
                <a:gd name="T21" fmla="*/ 833 h 2074"/>
                <a:gd name="T22" fmla="*/ 2968 w 4593"/>
                <a:gd name="T23" fmla="*/ 825 h 2074"/>
                <a:gd name="T24" fmla="*/ 3250 w 4593"/>
                <a:gd name="T25" fmla="*/ 765 h 2074"/>
                <a:gd name="T26" fmla="*/ 3554 w 4593"/>
                <a:gd name="T27" fmla="*/ 617 h 2074"/>
                <a:gd name="T28" fmla="*/ 3867 w 4593"/>
                <a:gd name="T29" fmla="*/ 446 h 2074"/>
                <a:gd name="T30" fmla="*/ 4157 w 4593"/>
                <a:gd name="T31" fmla="*/ 320 h 2074"/>
                <a:gd name="T32" fmla="*/ 4357 w 4593"/>
                <a:gd name="T33" fmla="*/ 298 h 2074"/>
                <a:gd name="T34" fmla="*/ 4490 w 4593"/>
                <a:gd name="T35" fmla="*/ 338 h 2074"/>
                <a:gd name="T36" fmla="*/ 4580 w 4593"/>
                <a:gd name="T37" fmla="*/ 431 h 2074"/>
                <a:gd name="T38" fmla="*/ 4583 w 4593"/>
                <a:gd name="T39" fmla="*/ 547 h 2074"/>
                <a:gd name="T40" fmla="*/ 4493 w 4593"/>
                <a:gd name="T41" fmla="*/ 644 h 2074"/>
                <a:gd name="T42" fmla="*/ 4308 w 4593"/>
                <a:gd name="T43" fmla="*/ 800 h 2074"/>
                <a:gd name="T44" fmla="*/ 4050 w 4593"/>
                <a:gd name="T45" fmla="*/ 989 h 2074"/>
                <a:gd name="T46" fmla="*/ 3741 w 4593"/>
                <a:gd name="T47" fmla="*/ 1184 h 2074"/>
                <a:gd name="T48" fmla="*/ 3403 w 4593"/>
                <a:gd name="T49" fmla="*/ 1360 h 2074"/>
                <a:gd name="T50" fmla="*/ 3105 w 4593"/>
                <a:gd name="T51" fmla="*/ 1476 h 2074"/>
                <a:gd name="T52" fmla="*/ 2977 w 4593"/>
                <a:gd name="T53" fmla="*/ 1508 h 2074"/>
                <a:gd name="T54" fmla="*/ 2802 w 4593"/>
                <a:gd name="T55" fmla="*/ 1526 h 2074"/>
                <a:gd name="T56" fmla="*/ 2486 w 4593"/>
                <a:gd name="T57" fmla="*/ 1543 h 2074"/>
                <a:gd name="T58" fmla="*/ 2243 w 4593"/>
                <a:gd name="T59" fmla="*/ 1556 h 2074"/>
                <a:gd name="T60" fmla="*/ 2016 w 4593"/>
                <a:gd name="T61" fmla="*/ 1563 h 2074"/>
                <a:gd name="T62" fmla="*/ 1708 w 4593"/>
                <a:gd name="T63" fmla="*/ 1566 h 2074"/>
                <a:gd name="T64" fmla="*/ 1492 w 4593"/>
                <a:gd name="T65" fmla="*/ 1591 h 2074"/>
                <a:gd name="T66" fmla="*/ 1312 w 4593"/>
                <a:gd name="T67" fmla="*/ 1687 h 2074"/>
                <a:gd name="T68" fmla="*/ 1129 w 4593"/>
                <a:gd name="T69" fmla="*/ 1820 h 2074"/>
                <a:gd name="T70" fmla="*/ 969 w 4593"/>
                <a:gd name="T71" fmla="*/ 1953 h 2074"/>
                <a:gd name="T72" fmla="*/ 864 w 4593"/>
                <a:gd name="T73" fmla="*/ 2049 h 2074"/>
                <a:gd name="T74" fmla="*/ 0 w 4593"/>
                <a:gd name="T75" fmla="*/ 1265 h 2074"/>
                <a:gd name="T76" fmla="*/ 37 w 4593"/>
                <a:gd name="T77" fmla="*/ 1210 h 2074"/>
                <a:gd name="T78" fmla="*/ 134 w 4593"/>
                <a:gd name="T79" fmla="*/ 1067 h 2074"/>
                <a:gd name="T80" fmla="*/ 273 w 4593"/>
                <a:gd name="T81" fmla="*/ 871 h 2074"/>
                <a:gd name="T82" fmla="*/ 441 w 4593"/>
                <a:gd name="T83" fmla="*/ 659 h 2074"/>
                <a:gd name="T84" fmla="*/ 621 w 4593"/>
                <a:gd name="T85" fmla="*/ 462 h 2074"/>
                <a:gd name="T86" fmla="*/ 798 w 4593"/>
                <a:gd name="T87" fmla="*/ 318 h 2074"/>
                <a:gd name="T88" fmla="*/ 1006 w 4593"/>
                <a:gd name="T89" fmla="*/ 241 h 2074"/>
                <a:gd name="T90" fmla="*/ 1340 w 4593"/>
                <a:gd name="T91" fmla="*/ 203 h 2074"/>
                <a:gd name="T92" fmla="*/ 1733 w 4593"/>
                <a:gd name="T93" fmla="*/ 178 h 2074"/>
                <a:gd name="T94" fmla="*/ 2144 w 4593"/>
                <a:gd name="T95" fmla="*/ 133 h 2074"/>
                <a:gd name="T96" fmla="*/ 2499 w 4593"/>
                <a:gd name="T97" fmla="*/ 74 h 2074"/>
                <a:gd name="T98" fmla="*/ 2749 w 4593"/>
                <a:gd name="T99" fmla="*/ 27 h 2074"/>
                <a:gd name="T100" fmla="*/ 2968 w 4593"/>
                <a:gd name="T101" fmla="*/ 2 h 2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593" h="2074">
                  <a:moveTo>
                    <a:pt x="3025" y="0"/>
                  </a:moveTo>
                  <a:lnTo>
                    <a:pt x="3058" y="4"/>
                  </a:lnTo>
                  <a:lnTo>
                    <a:pt x="3088" y="14"/>
                  </a:lnTo>
                  <a:lnTo>
                    <a:pt x="3115" y="30"/>
                  </a:lnTo>
                  <a:lnTo>
                    <a:pt x="3136" y="52"/>
                  </a:lnTo>
                  <a:lnTo>
                    <a:pt x="3155" y="79"/>
                  </a:lnTo>
                  <a:lnTo>
                    <a:pt x="3166" y="110"/>
                  </a:lnTo>
                  <a:lnTo>
                    <a:pt x="3175" y="145"/>
                  </a:lnTo>
                  <a:lnTo>
                    <a:pt x="3176" y="183"/>
                  </a:lnTo>
                  <a:lnTo>
                    <a:pt x="3173" y="223"/>
                  </a:lnTo>
                  <a:lnTo>
                    <a:pt x="3163" y="266"/>
                  </a:lnTo>
                  <a:lnTo>
                    <a:pt x="3148" y="310"/>
                  </a:lnTo>
                  <a:lnTo>
                    <a:pt x="3125" y="354"/>
                  </a:lnTo>
                  <a:lnTo>
                    <a:pt x="3095" y="398"/>
                  </a:lnTo>
                  <a:lnTo>
                    <a:pt x="3058" y="441"/>
                  </a:lnTo>
                  <a:lnTo>
                    <a:pt x="3013" y="482"/>
                  </a:lnTo>
                  <a:lnTo>
                    <a:pt x="2962" y="524"/>
                  </a:lnTo>
                  <a:lnTo>
                    <a:pt x="2902" y="560"/>
                  </a:lnTo>
                  <a:lnTo>
                    <a:pt x="2832" y="595"/>
                  </a:lnTo>
                  <a:lnTo>
                    <a:pt x="2810" y="604"/>
                  </a:lnTo>
                  <a:lnTo>
                    <a:pt x="2779" y="614"/>
                  </a:lnTo>
                  <a:lnTo>
                    <a:pt x="2740" y="625"/>
                  </a:lnTo>
                  <a:lnTo>
                    <a:pt x="2695" y="639"/>
                  </a:lnTo>
                  <a:lnTo>
                    <a:pt x="2647" y="652"/>
                  </a:lnTo>
                  <a:lnTo>
                    <a:pt x="2594" y="667"/>
                  </a:lnTo>
                  <a:lnTo>
                    <a:pt x="2541" y="682"/>
                  </a:lnTo>
                  <a:lnTo>
                    <a:pt x="2487" y="697"/>
                  </a:lnTo>
                  <a:lnTo>
                    <a:pt x="2434" y="712"/>
                  </a:lnTo>
                  <a:lnTo>
                    <a:pt x="2384" y="727"/>
                  </a:lnTo>
                  <a:lnTo>
                    <a:pt x="2337" y="740"/>
                  </a:lnTo>
                  <a:lnTo>
                    <a:pt x="2296" y="753"/>
                  </a:lnTo>
                  <a:lnTo>
                    <a:pt x="2263" y="765"/>
                  </a:lnTo>
                  <a:lnTo>
                    <a:pt x="2236" y="777"/>
                  </a:lnTo>
                  <a:lnTo>
                    <a:pt x="2241" y="778"/>
                  </a:lnTo>
                  <a:lnTo>
                    <a:pt x="2254" y="780"/>
                  </a:lnTo>
                  <a:lnTo>
                    <a:pt x="2278" y="785"/>
                  </a:lnTo>
                  <a:lnTo>
                    <a:pt x="2307" y="791"/>
                  </a:lnTo>
                  <a:lnTo>
                    <a:pt x="2346" y="798"/>
                  </a:lnTo>
                  <a:lnTo>
                    <a:pt x="2389" y="805"/>
                  </a:lnTo>
                  <a:lnTo>
                    <a:pt x="2439" y="811"/>
                  </a:lnTo>
                  <a:lnTo>
                    <a:pt x="2494" y="818"/>
                  </a:lnTo>
                  <a:lnTo>
                    <a:pt x="2554" y="825"/>
                  </a:lnTo>
                  <a:lnTo>
                    <a:pt x="2617" y="830"/>
                  </a:lnTo>
                  <a:lnTo>
                    <a:pt x="2684" y="833"/>
                  </a:lnTo>
                  <a:lnTo>
                    <a:pt x="2754" y="835"/>
                  </a:lnTo>
                  <a:lnTo>
                    <a:pt x="2824" y="835"/>
                  </a:lnTo>
                  <a:lnTo>
                    <a:pt x="2895" y="831"/>
                  </a:lnTo>
                  <a:lnTo>
                    <a:pt x="2968" y="825"/>
                  </a:lnTo>
                  <a:lnTo>
                    <a:pt x="3042" y="816"/>
                  </a:lnTo>
                  <a:lnTo>
                    <a:pt x="3111" y="803"/>
                  </a:lnTo>
                  <a:lnTo>
                    <a:pt x="3183" y="786"/>
                  </a:lnTo>
                  <a:lnTo>
                    <a:pt x="3250" y="765"/>
                  </a:lnTo>
                  <a:lnTo>
                    <a:pt x="3315" y="738"/>
                  </a:lnTo>
                  <a:lnTo>
                    <a:pt x="3394" y="702"/>
                  </a:lnTo>
                  <a:lnTo>
                    <a:pt x="3474" y="660"/>
                  </a:lnTo>
                  <a:lnTo>
                    <a:pt x="3554" y="617"/>
                  </a:lnTo>
                  <a:lnTo>
                    <a:pt x="3634" y="574"/>
                  </a:lnTo>
                  <a:lnTo>
                    <a:pt x="3712" y="529"/>
                  </a:lnTo>
                  <a:lnTo>
                    <a:pt x="3791" y="486"/>
                  </a:lnTo>
                  <a:lnTo>
                    <a:pt x="3867" y="446"/>
                  </a:lnTo>
                  <a:lnTo>
                    <a:pt x="3942" y="408"/>
                  </a:lnTo>
                  <a:lnTo>
                    <a:pt x="4015" y="373"/>
                  </a:lnTo>
                  <a:lnTo>
                    <a:pt x="4087" y="343"/>
                  </a:lnTo>
                  <a:lnTo>
                    <a:pt x="4157" y="320"/>
                  </a:lnTo>
                  <a:lnTo>
                    <a:pt x="4223" y="305"/>
                  </a:lnTo>
                  <a:lnTo>
                    <a:pt x="4288" y="296"/>
                  </a:lnTo>
                  <a:lnTo>
                    <a:pt x="4322" y="295"/>
                  </a:lnTo>
                  <a:lnTo>
                    <a:pt x="4357" y="298"/>
                  </a:lnTo>
                  <a:lnTo>
                    <a:pt x="4392" y="303"/>
                  </a:lnTo>
                  <a:lnTo>
                    <a:pt x="4425" y="311"/>
                  </a:lnTo>
                  <a:lnTo>
                    <a:pt x="4458" y="323"/>
                  </a:lnTo>
                  <a:lnTo>
                    <a:pt x="4490" y="338"/>
                  </a:lnTo>
                  <a:lnTo>
                    <a:pt x="4518" y="356"/>
                  </a:lnTo>
                  <a:lnTo>
                    <a:pt x="4543" y="378"/>
                  </a:lnTo>
                  <a:lnTo>
                    <a:pt x="4563" y="403"/>
                  </a:lnTo>
                  <a:lnTo>
                    <a:pt x="4580" y="431"/>
                  </a:lnTo>
                  <a:lnTo>
                    <a:pt x="4590" y="462"/>
                  </a:lnTo>
                  <a:lnTo>
                    <a:pt x="4593" y="496"/>
                  </a:lnTo>
                  <a:lnTo>
                    <a:pt x="4590" y="534"/>
                  </a:lnTo>
                  <a:lnTo>
                    <a:pt x="4583" y="547"/>
                  </a:lnTo>
                  <a:lnTo>
                    <a:pt x="4571" y="564"/>
                  </a:lnTo>
                  <a:lnTo>
                    <a:pt x="4551" y="587"/>
                  </a:lnTo>
                  <a:lnTo>
                    <a:pt x="4525" y="614"/>
                  </a:lnTo>
                  <a:lnTo>
                    <a:pt x="4493" y="644"/>
                  </a:lnTo>
                  <a:lnTo>
                    <a:pt x="4455" y="678"/>
                  </a:lnTo>
                  <a:lnTo>
                    <a:pt x="4412" y="717"/>
                  </a:lnTo>
                  <a:lnTo>
                    <a:pt x="4362" y="757"/>
                  </a:lnTo>
                  <a:lnTo>
                    <a:pt x="4308" y="800"/>
                  </a:lnTo>
                  <a:lnTo>
                    <a:pt x="4248" y="845"/>
                  </a:lnTo>
                  <a:lnTo>
                    <a:pt x="4187" y="891"/>
                  </a:lnTo>
                  <a:lnTo>
                    <a:pt x="4120" y="939"/>
                  </a:lnTo>
                  <a:lnTo>
                    <a:pt x="4050" y="989"/>
                  </a:lnTo>
                  <a:lnTo>
                    <a:pt x="3977" y="1037"/>
                  </a:lnTo>
                  <a:lnTo>
                    <a:pt x="3901" y="1087"/>
                  </a:lnTo>
                  <a:lnTo>
                    <a:pt x="3822" y="1135"/>
                  </a:lnTo>
                  <a:lnTo>
                    <a:pt x="3741" y="1184"/>
                  </a:lnTo>
                  <a:lnTo>
                    <a:pt x="3657" y="1230"/>
                  </a:lnTo>
                  <a:lnTo>
                    <a:pt x="3574" y="1277"/>
                  </a:lnTo>
                  <a:lnTo>
                    <a:pt x="3488" y="1320"/>
                  </a:lnTo>
                  <a:lnTo>
                    <a:pt x="3403" y="1360"/>
                  </a:lnTo>
                  <a:lnTo>
                    <a:pt x="3316" y="1398"/>
                  </a:lnTo>
                  <a:lnTo>
                    <a:pt x="3230" y="1433"/>
                  </a:lnTo>
                  <a:lnTo>
                    <a:pt x="3141" y="1464"/>
                  </a:lnTo>
                  <a:lnTo>
                    <a:pt x="3105" y="1476"/>
                  </a:lnTo>
                  <a:lnTo>
                    <a:pt x="3072" y="1486"/>
                  </a:lnTo>
                  <a:lnTo>
                    <a:pt x="3040" y="1494"/>
                  </a:lnTo>
                  <a:lnTo>
                    <a:pt x="3010" y="1503"/>
                  </a:lnTo>
                  <a:lnTo>
                    <a:pt x="2977" y="1508"/>
                  </a:lnTo>
                  <a:lnTo>
                    <a:pt x="2942" y="1514"/>
                  </a:lnTo>
                  <a:lnTo>
                    <a:pt x="2902" y="1518"/>
                  </a:lnTo>
                  <a:lnTo>
                    <a:pt x="2855" y="1523"/>
                  </a:lnTo>
                  <a:lnTo>
                    <a:pt x="2802" y="1526"/>
                  </a:lnTo>
                  <a:lnTo>
                    <a:pt x="2739" y="1529"/>
                  </a:lnTo>
                  <a:lnTo>
                    <a:pt x="2644" y="1534"/>
                  </a:lnTo>
                  <a:lnTo>
                    <a:pt x="2561" y="1539"/>
                  </a:lnTo>
                  <a:lnTo>
                    <a:pt x="2486" y="1543"/>
                  </a:lnTo>
                  <a:lnTo>
                    <a:pt x="2417" y="1548"/>
                  </a:lnTo>
                  <a:lnTo>
                    <a:pt x="2356" y="1551"/>
                  </a:lnTo>
                  <a:lnTo>
                    <a:pt x="2298" y="1554"/>
                  </a:lnTo>
                  <a:lnTo>
                    <a:pt x="2243" y="1556"/>
                  </a:lnTo>
                  <a:lnTo>
                    <a:pt x="2188" y="1558"/>
                  </a:lnTo>
                  <a:lnTo>
                    <a:pt x="2134" y="1561"/>
                  </a:lnTo>
                  <a:lnTo>
                    <a:pt x="2078" y="1563"/>
                  </a:lnTo>
                  <a:lnTo>
                    <a:pt x="2016" y="1563"/>
                  </a:lnTo>
                  <a:lnTo>
                    <a:pt x="1951" y="1564"/>
                  </a:lnTo>
                  <a:lnTo>
                    <a:pt x="1880" y="1564"/>
                  </a:lnTo>
                  <a:lnTo>
                    <a:pt x="1800" y="1566"/>
                  </a:lnTo>
                  <a:lnTo>
                    <a:pt x="1708" y="1566"/>
                  </a:lnTo>
                  <a:lnTo>
                    <a:pt x="1608" y="1566"/>
                  </a:lnTo>
                  <a:lnTo>
                    <a:pt x="1572" y="1569"/>
                  </a:lnTo>
                  <a:lnTo>
                    <a:pt x="1533" y="1577"/>
                  </a:lnTo>
                  <a:lnTo>
                    <a:pt x="1492" y="1591"/>
                  </a:lnTo>
                  <a:lnTo>
                    <a:pt x="1449" y="1611"/>
                  </a:lnTo>
                  <a:lnTo>
                    <a:pt x="1404" y="1632"/>
                  </a:lnTo>
                  <a:lnTo>
                    <a:pt x="1359" y="1659"/>
                  </a:lnTo>
                  <a:lnTo>
                    <a:pt x="1312" y="1687"/>
                  </a:lnTo>
                  <a:lnTo>
                    <a:pt x="1265" y="1719"/>
                  </a:lnTo>
                  <a:lnTo>
                    <a:pt x="1219" y="1752"/>
                  </a:lnTo>
                  <a:lnTo>
                    <a:pt x="1172" y="1785"/>
                  </a:lnTo>
                  <a:lnTo>
                    <a:pt x="1129" y="1820"/>
                  </a:lnTo>
                  <a:lnTo>
                    <a:pt x="1086" y="1855"/>
                  </a:lnTo>
                  <a:lnTo>
                    <a:pt x="1044" y="1888"/>
                  </a:lnTo>
                  <a:lnTo>
                    <a:pt x="1006" y="1921"/>
                  </a:lnTo>
                  <a:lnTo>
                    <a:pt x="969" y="1953"/>
                  </a:lnTo>
                  <a:lnTo>
                    <a:pt x="938" y="1981"/>
                  </a:lnTo>
                  <a:lnTo>
                    <a:pt x="909" y="2008"/>
                  </a:lnTo>
                  <a:lnTo>
                    <a:pt x="884" y="2031"/>
                  </a:lnTo>
                  <a:lnTo>
                    <a:pt x="864" y="2049"/>
                  </a:lnTo>
                  <a:lnTo>
                    <a:pt x="849" y="2063"/>
                  </a:lnTo>
                  <a:lnTo>
                    <a:pt x="841" y="2073"/>
                  </a:lnTo>
                  <a:lnTo>
                    <a:pt x="838" y="2074"/>
                  </a:lnTo>
                  <a:lnTo>
                    <a:pt x="0" y="1265"/>
                  </a:lnTo>
                  <a:lnTo>
                    <a:pt x="4" y="1262"/>
                  </a:lnTo>
                  <a:lnTo>
                    <a:pt x="10" y="1252"/>
                  </a:lnTo>
                  <a:lnTo>
                    <a:pt x="22" y="1234"/>
                  </a:lnTo>
                  <a:lnTo>
                    <a:pt x="37" y="1210"/>
                  </a:lnTo>
                  <a:lnTo>
                    <a:pt x="55" y="1182"/>
                  </a:lnTo>
                  <a:lnTo>
                    <a:pt x="79" y="1147"/>
                  </a:lnTo>
                  <a:lnTo>
                    <a:pt x="104" y="1109"/>
                  </a:lnTo>
                  <a:lnTo>
                    <a:pt x="134" y="1067"/>
                  </a:lnTo>
                  <a:lnTo>
                    <a:pt x="165" y="1022"/>
                  </a:lnTo>
                  <a:lnTo>
                    <a:pt x="198" y="974"/>
                  </a:lnTo>
                  <a:lnTo>
                    <a:pt x="235" y="923"/>
                  </a:lnTo>
                  <a:lnTo>
                    <a:pt x="273" y="871"/>
                  </a:lnTo>
                  <a:lnTo>
                    <a:pt x="313" y="818"/>
                  </a:lnTo>
                  <a:lnTo>
                    <a:pt x="355" y="765"/>
                  </a:lnTo>
                  <a:lnTo>
                    <a:pt x="398" y="712"/>
                  </a:lnTo>
                  <a:lnTo>
                    <a:pt x="441" y="659"/>
                  </a:lnTo>
                  <a:lnTo>
                    <a:pt x="486" y="605"/>
                  </a:lnTo>
                  <a:lnTo>
                    <a:pt x="531" y="555"/>
                  </a:lnTo>
                  <a:lnTo>
                    <a:pt x="576" y="507"/>
                  </a:lnTo>
                  <a:lnTo>
                    <a:pt x="621" y="462"/>
                  </a:lnTo>
                  <a:lnTo>
                    <a:pt x="666" y="419"/>
                  </a:lnTo>
                  <a:lnTo>
                    <a:pt x="711" y="381"/>
                  </a:lnTo>
                  <a:lnTo>
                    <a:pt x="754" y="346"/>
                  </a:lnTo>
                  <a:lnTo>
                    <a:pt x="798" y="318"/>
                  </a:lnTo>
                  <a:lnTo>
                    <a:pt x="838" y="293"/>
                  </a:lnTo>
                  <a:lnTo>
                    <a:pt x="878" y="275"/>
                  </a:lnTo>
                  <a:lnTo>
                    <a:pt x="938" y="256"/>
                  </a:lnTo>
                  <a:lnTo>
                    <a:pt x="1006" y="241"/>
                  </a:lnTo>
                  <a:lnTo>
                    <a:pt x="1081" y="228"/>
                  </a:lnTo>
                  <a:lnTo>
                    <a:pt x="1161" y="218"/>
                  </a:lnTo>
                  <a:lnTo>
                    <a:pt x="1249" y="210"/>
                  </a:lnTo>
                  <a:lnTo>
                    <a:pt x="1340" y="203"/>
                  </a:lnTo>
                  <a:lnTo>
                    <a:pt x="1435" y="197"/>
                  </a:lnTo>
                  <a:lnTo>
                    <a:pt x="1533" y="190"/>
                  </a:lnTo>
                  <a:lnTo>
                    <a:pt x="1633" y="185"/>
                  </a:lnTo>
                  <a:lnTo>
                    <a:pt x="1733" y="178"/>
                  </a:lnTo>
                  <a:lnTo>
                    <a:pt x="1835" y="170"/>
                  </a:lnTo>
                  <a:lnTo>
                    <a:pt x="1935" y="160"/>
                  </a:lnTo>
                  <a:lnTo>
                    <a:pt x="2031" y="148"/>
                  </a:lnTo>
                  <a:lnTo>
                    <a:pt x="2144" y="133"/>
                  </a:lnTo>
                  <a:lnTo>
                    <a:pt x="2246" y="117"/>
                  </a:lnTo>
                  <a:lnTo>
                    <a:pt x="2339" y="102"/>
                  </a:lnTo>
                  <a:lnTo>
                    <a:pt x="2422" y="87"/>
                  </a:lnTo>
                  <a:lnTo>
                    <a:pt x="2499" y="74"/>
                  </a:lnTo>
                  <a:lnTo>
                    <a:pt x="2567" y="60"/>
                  </a:lnTo>
                  <a:lnTo>
                    <a:pt x="2632" y="49"/>
                  </a:lnTo>
                  <a:lnTo>
                    <a:pt x="2692" y="37"/>
                  </a:lnTo>
                  <a:lnTo>
                    <a:pt x="2749" y="27"/>
                  </a:lnTo>
                  <a:lnTo>
                    <a:pt x="2804" y="19"/>
                  </a:lnTo>
                  <a:lnTo>
                    <a:pt x="2858" y="12"/>
                  </a:lnTo>
                  <a:lnTo>
                    <a:pt x="2912" y="7"/>
                  </a:lnTo>
                  <a:lnTo>
                    <a:pt x="2968" y="2"/>
                  </a:lnTo>
                  <a:lnTo>
                    <a:pt x="30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2"/>
            <p:cNvSpPr>
              <a:spLocks noEditPoints="1"/>
            </p:cNvSpPr>
            <p:nvPr/>
          </p:nvSpPr>
          <p:spPr bwMode="auto">
            <a:xfrm>
              <a:off x="1919" y="-893"/>
              <a:ext cx="1153" cy="1552"/>
            </a:xfrm>
            <a:custGeom>
              <a:avLst/>
              <a:gdLst>
                <a:gd name="T0" fmla="*/ 1060 w 2305"/>
                <a:gd name="T1" fmla="*/ 1339 h 3104"/>
                <a:gd name="T2" fmla="*/ 1047 w 2305"/>
                <a:gd name="T3" fmla="*/ 1497 h 3104"/>
                <a:gd name="T4" fmla="*/ 960 w 2305"/>
                <a:gd name="T5" fmla="*/ 1531 h 3104"/>
                <a:gd name="T6" fmla="*/ 811 w 2305"/>
                <a:gd name="T7" fmla="*/ 1727 h 3104"/>
                <a:gd name="T8" fmla="*/ 909 w 2305"/>
                <a:gd name="T9" fmla="*/ 1964 h 3104"/>
                <a:gd name="T10" fmla="*/ 1193 w 2305"/>
                <a:gd name="T11" fmla="*/ 2051 h 3104"/>
                <a:gd name="T12" fmla="*/ 1320 w 2305"/>
                <a:gd name="T13" fmla="*/ 2110 h 3104"/>
                <a:gd name="T14" fmla="*/ 1220 w 2305"/>
                <a:gd name="T15" fmla="*/ 2202 h 3104"/>
                <a:gd name="T16" fmla="*/ 1024 w 2305"/>
                <a:gd name="T17" fmla="*/ 2180 h 3104"/>
                <a:gd name="T18" fmla="*/ 960 w 2305"/>
                <a:gd name="T19" fmla="*/ 2087 h 3104"/>
                <a:gd name="T20" fmla="*/ 821 w 2305"/>
                <a:gd name="T21" fmla="*/ 2066 h 3104"/>
                <a:gd name="T22" fmla="*/ 771 w 2305"/>
                <a:gd name="T23" fmla="*/ 2227 h 3104"/>
                <a:gd name="T24" fmla="*/ 831 w 2305"/>
                <a:gd name="T25" fmla="*/ 2393 h 3104"/>
                <a:gd name="T26" fmla="*/ 947 w 2305"/>
                <a:gd name="T27" fmla="*/ 2380 h 3104"/>
                <a:gd name="T28" fmla="*/ 1035 w 2305"/>
                <a:gd name="T29" fmla="*/ 2408 h 3104"/>
                <a:gd name="T30" fmla="*/ 1047 w 2305"/>
                <a:gd name="T31" fmla="*/ 2526 h 3104"/>
                <a:gd name="T32" fmla="*/ 1137 w 2305"/>
                <a:gd name="T33" fmla="*/ 2642 h 3104"/>
                <a:gd name="T34" fmla="*/ 1255 w 2305"/>
                <a:gd name="T35" fmla="*/ 2561 h 3104"/>
                <a:gd name="T36" fmla="*/ 1283 w 2305"/>
                <a:gd name="T37" fmla="*/ 2406 h 3104"/>
                <a:gd name="T38" fmla="*/ 1458 w 2305"/>
                <a:gd name="T39" fmla="*/ 2308 h 3104"/>
                <a:gd name="T40" fmla="*/ 1530 w 2305"/>
                <a:gd name="T41" fmla="*/ 2069 h 3104"/>
                <a:gd name="T42" fmla="*/ 1458 w 2305"/>
                <a:gd name="T43" fmla="*/ 1936 h 3104"/>
                <a:gd name="T44" fmla="*/ 1463 w 2305"/>
                <a:gd name="T45" fmla="*/ 1941 h 3104"/>
                <a:gd name="T46" fmla="*/ 1446 w 2305"/>
                <a:gd name="T47" fmla="*/ 1926 h 3104"/>
                <a:gd name="T48" fmla="*/ 1435 w 2305"/>
                <a:gd name="T49" fmla="*/ 1918 h 3104"/>
                <a:gd name="T50" fmla="*/ 1375 w 2305"/>
                <a:gd name="T51" fmla="*/ 1884 h 3104"/>
                <a:gd name="T52" fmla="*/ 1107 w 2305"/>
                <a:gd name="T53" fmla="*/ 1820 h 3104"/>
                <a:gd name="T54" fmla="*/ 1025 w 2305"/>
                <a:gd name="T55" fmla="*/ 1753 h 3104"/>
                <a:gd name="T56" fmla="*/ 1160 w 2305"/>
                <a:gd name="T57" fmla="*/ 1703 h 3104"/>
                <a:gd name="T58" fmla="*/ 1295 w 2305"/>
                <a:gd name="T59" fmla="*/ 1755 h 3104"/>
                <a:gd name="T60" fmla="*/ 1407 w 2305"/>
                <a:gd name="T61" fmla="*/ 1821 h 3104"/>
                <a:gd name="T62" fmla="*/ 1500 w 2305"/>
                <a:gd name="T63" fmla="*/ 1708 h 3104"/>
                <a:gd name="T64" fmla="*/ 1486 w 2305"/>
                <a:gd name="T65" fmla="*/ 1544 h 3104"/>
                <a:gd name="T66" fmla="*/ 1345 w 2305"/>
                <a:gd name="T67" fmla="*/ 1497 h 3104"/>
                <a:gd name="T68" fmla="*/ 1303 w 2305"/>
                <a:gd name="T69" fmla="*/ 1511 h 3104"/>
                <a:gd name="T70" fmla="*/ 1268 w 2305"/>
                <a:gd name="T71" fmla="*/ 1502 h 3104"/>
                <a:gd name="T72" fmla="*/ 1260 w 2305"/>
                <a:gd name="T73" fmla="*/ 1386 h 3104"/>
                <a:gd name="T74" fmla="*/ 1160 w 2305"/>
                <a:gd name="T75" fmla="*/ 1280 h 3104"/>
                <a:gd name="T76" fmla="*/ 859 w 2305"/>
                <a:gd name="T77" fmla="*/ 32 h 3104"/>
                <a:gd name="T78" fmla="*/ 1009 w 2305"/>
                <a:gd name="T79" fmla="*/ 68 h 3104"/>
                <a:gd name="T80" fmla="*/ 1312 w 2305"/>
                <a:gd name="T81" fmla="*/ 131 h 3104"/>
                <a:gd name="T82" fmla="*/ 1558 w 2305"/>
                <a:gd name="T83" fmla="*/ 120 h 3104"/>
                <a:gd name="T84" fmla="*/ 1681 w 2305"/>
                <a:gd name="T85" fmla="*/ 100 h 3104"/>
                <a:gd name="T86" fmla="*/ 1813 w 2305"/>
                <a:gd name="T87" fmla="*/ 101 h 3104"/>
                <a:gd name="T88" fmla="*/ 1966 w 2305"/>
                <a:gd name="T89" fmla="*/ 204 h 3104"/>
                <a:gd name="T90" fmla="*/ 1894 w 2305"/>
                <a:gd name="T91" fmla="*/ 447 h 3104"/>
                <a:gd name="T92" fmla="*/ 1625 w 2305"/>
                <a:gd name="T93" fmla="*/ 716 h 3104"/>
                <a:gd name="T94" fmla="*/ 1828 w 2305"/>
                <a:gd name="T95" fmla="*/ 1039 h 3104"/>
                <a:gd name="T96" fmla="*/ 2194 w 2305"/>
                <a:gd name="T97" fmla="*/ 1589 h 3104"/>
                <a:gd name="T98" fmla="*/ 2302 w 2305"/>
                <a:gd name="T99" fmla="*/ 2262 h 3104"/>
                <a:gd name="T100" fmla="*/ 2184 w 2305"/>
                <a:gd name="T101" fmla="*/ 2734 h 3104"/>
                <a:gd name="T102" fmla="*/ 1878 w 2305"/>
                <a:gd name="T103" fmla="*/ 2996 h 3104"/>
                <a:gd name="T104" fmla="*/ 1370 w 2305"/>
                <a:gd name="T105" fmla="*/ 3098 h 3104"/>
                <a:gd name="T106" fmla="*/ 744 w 2305"/>
                <a:gd name="T107" fmla="*/ 3079 h 3104"/>
                <a:gd name="T108" fmla="*/ 305 w 2305"/>
                <a:gd name="T109" fmla="*/ 2930 h 3104"/>
                <a:gd name="T110" fmla="*/ 62 w 2305"/>
                <a:gd name="T111" fmla="*/ 2602 h 3104"/>
                <a:gd name="T112" fmla="*/ 5 w 2305"/>
                <a:gd name="T113" fmla="*/ 2041 h 3104"/>
                <a:gd name="T114" fmla="*/ 210 w 2305"/>
                <a:gd name="T115" fmla="*/ 1384 h 3104"/>
                <a:gd name="T116" fmla="*/ 637 w 2305"/>
                <a:gd name="T117" fmla="*/ 909 h 3104"/>
                <a:gd name="T118" fmla="*/ 792 w 2305"/>
                <a:gd name="T119" fmla="*/ 621 h 3104"/>
                <a:gd name="T120" fmla="*/ 566 w 2305"/>
                <a:gd name="T121" fmla="*/ 381 h 3104"/>
                <a:gd name="T122" fmla="*/ 446 w 2305"/>
                <a:gd name="T123" fmla="*/ 103 h 3104"/>
                <a:gd name="T124" fmla="*/ 544 w 2305"/>
                <a:gd name="T125" fmla="*/ 7 h 3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5" h="3104">
                  <a:moveTo>
                    <a:pt x="1160" y="1280"/>
                  </a:moveTo>
                  <a:lnTo>
                    <a:pt x="1135" y="1281"/>
                  </a:lnTo>
                  <a:lnTo>
                    <a:pt x="1109" y="1288"/>
                  </a:lnTo>
                  <a:lnTo>
                    <a:pt x="1089" y="1301"/>
                  </a:lnTo>
                  <a:lnTo>
                    <a:pt x="1072" y="1318"/>
                  </a:lnTo>
                  <a:lnTo>
                    <a:pt x="1060" y="1339"/>
                  </a:lnTo>
                  <a:lnTo>
                    <a:pt x="1052" y="1363"/>
                  </a:lnTo>
                  <a:lnTo>
                    <a:pt x="1047" y="1388"/>
                  </a:lnTo>
                  <a:lnTo>
                    <a:pt x="1045" y="1432"/>
                  </a:lnTo>
                  <a:lnTo>
                    <a:pt x="1047" y="1476"/>
                  </a:lnTo>
                  <a:lnTo>
                    <a:pt x="1047" y="1494"/>
                  </a:lnTo>
                  <a:lnTo>
                    <a:pt x="1047" y="1497"/>
                  </a:lnTo>
                  <a:lnTo>
                    <a:pt x="1047" y="1501"/>
                  </a:lnTo>
                  <a:lnTo>
                    <a:pt x="1045" y="1501"/>
                  </a:lnTo>
                  <a:lnTo>
                    <a:pt x="1044" y="1502"/>
                  </a:lnTo>
                  <a:lnTo>
                    <a:pt x="1039" y="1502"/>
                  </a:lnTo>
                  <a:lnTo>
                    <a:pt x="999" y="1514"/>
                  </a:lnTo>
                  <a:lnTo>
                    <a:pt x="960" y="1531"/>
                  </a:lnTo>
                  <a:lnTo>
                    <a:pt x="925" y="1552"/>
                  </a:lnTo>
                  <a:lnTo>
                    <a:pt x="894" y="1577"/>
                  </a:lnTo>
                  <a:lnTo>
                    <a:pt x="866" y="1607"/>
                  </a:lnTo>
                  <a:lnTo>
                    <a:pt x="842" y="1640"/>
                  </a:lnTo>
                  <a:lnTo>
                    <a:pt x="821" y="1682"/>
                  </a:lnTo>
                  <a:lnTo>
                    <a:pt x="811" y="1727"/>
                  </a:lnTo>
                  <a:lnTo>
                    <a:pt x="807" y="1771"/>
                  </a:lnTo>
                  <a:lnTo>
                    <a:pt x="812" y="1816"/>
                  </a:lnTo>
                  <a:lnTo>
                    <a:pt x="826" y="1861"/>
                  </a:lnTo>
                  <a:lnTo>
                    <a:pt x="847" y="1901"/>
                  </a:lnTo>
                  <a:lnTo>
                    <a:pt x="876" y="1938"/>
                  </a:lnTo>
                  <a:lnTo>
                    <a:pt x="909" y="1964"/>
                  </a:lnTo>
                  <a:lnTo>
                    <a:pt x="944" y="1986"/>
                  </a:lnTo>
                  <a:lnTo>
                    <a:pt x="982" y="2004"/>
                  </a:lnTo>
                  <a:lnTo>
                    <a:pt x="1022" y="2016"/>
                  </a:lnTo>
                  <a:lnTo>
                    <a:pt x="1062" y="2026"/>
                  </a:lnTo>
                  <a:lnTo>
                    <a:pt x="1104" y="2034"/>
                  </a:lnTo>
                  <a:lnTo>
                    <a:pt x="1193" y="2051"/>
                  </a:lnTo>
                  <a:lnTo>
                    <a:pt x="1225" y="2057"/>
                  </a:lnTo>
                  <a:lnTo>
                    <a:pt x="1255" y="2064"/>
                  </a:lnTo>
                  <a:lnTo>
                    <a:pt x="1287" y="2074"/>
                  </a:lnTo>
                  <a:lnTo>
                    <a:pt x="1302" y="2082"/>
                  </a:lnTo>
                  <a:lnTo>
                    <a:pt x="1313" y="2096"/>
                  </a:lnTo>
                  <a:lnTo>
                    <a:pt x="1320" y="2110"/>
                  </a:lnTo>
                  <a:lnTo>
                    <a:pt x="1320" y="2127"/>
                  </a:lnTo>
                  <a:lnTo>
                    <a:pt x="1317" y="2144"/>
                  </a:lnTo>
                  <a:lnTo>
                    <a:pt x="1307" y="2159"/>
                  </a:lnTo>
                  <a:lnTo>
                    <a:pt x="1282" y="2179"/>
                  </a:lnTo>
                  <a:lnTo>
                    <a:pt x="1252" y="2194"/>
                  </a:lnTo>
                  <a:lnTo>
                    <a:pt x="1220" y="2202"/>
                  </a:lnTo>
                  <a:lnTo>
                    <a:pt x="1187" y="2207"/>
                  </a:lnTo>
                  <a:lnTo>
                    <a:pt x="1154" y="2209"/>
                  </a:lnTo>
                  <a:lnTo>
                    <a:pt x="1107" y="2205"/>
                  </a:lnTo>
                  <a:lnTo>
                    <a:pt x="1060" y="2194"/>
                  </a:lnTo>
                  <a:lnTo>
                    <a:pt x="1042" y="2189"/>
                  </a:lnTo>
                  <a:lnTo>
                    <a:pt x="1024" y="2180"/>
                  </a:lnTo>
                  <a:lnTo>
                    <a:pt x="1007" y="2170"/>
                  </a:lnTo>
                  <a:lnTo>
                    <a:pt x="994" y="2157"/>
                  </a:lnTo>
                  <a:lnTo>
                    <a:pt x="985" y="2140"/>
                  </a:lnTo>
                  <a:lnTo>
                    <a:pt x="979" y="2122"/>
                  </a:lnTo>
                  <a:lnTo>
                    <a:pt x="970" y="2104"/>
                  </a:lnTo>
                  <a:lnTo>
                    <a:pt x="960" y="2087"/>
                  </a:lnTo>
                  <a:lnTo>
                    <a:pt x="942" y="2069"/>
                  </a:lnTo>
                  <a:lnTo>
                    <a:pt x="920" y="2057"/>
                  </a:lnTo>
                  <a:lnTo>
                    <a:pt x="895" y="2051"/>
                  </a:lnTo>
                  <a:lnTo>
                    <a:pt x="869" y="2049"/>
                  </a:lnTo>
                  <a:lnTo>
                    <a:pt x="844" y="2054"/>
                  </a:lnTo>
                  <a:lnTo>
                    <a:pt x="821" y="2066"/>
                  </a:lnTo>
                  <a:lnTo>
                    <a:pt x="802" y="2081"/>
                  </a:lnTo>
                  <a:lnTo>
                    <a:pt x="787" y="2102"/>
                  </a:lnTo>
                  <a:lnTo>
                    <a:pt x="777" y="2127"/>
                  </a:lnTo>
                  <a:lnTo>
                    <a:pt x="772" y="2159"/>
                  </a:lnTo>
                  <a:lnTo>
                    <a:pt x="771" y="2194"/>
                  </a:lnTo>
                  <a:lnTo>
                    <a:pt x="771" y="2227"/>
                  </a:lnTo>
                  <a:lnTo>
                    <a:pt x="771" y="2260"/>
                  </a:lnTo>
                  <a:lnTo>
                    <a:pt x="772" y="2293"/>
                  </a:lnTo>
                  <a:lnTo>
                    <a:pt x="777" y="2327"/>
                  </a:lnTo>
                  <a:lnTo>
                    <a:pt x="789" y="2355"/>
                  </a:lnTo>
                  <a:lnTo>
                    <a:pt x="807" y="2376"/>
                  </a:lnTo>
                  <a:lnTo>
                    <a:pt x="831" y="2393"/>
                  </a:lnTo>
                  <a:lnTo>
                    <a:pt x="859" y="2401"/>
                  </a:lnTo>
                  <a:lnTo>
                    <a:pt x="889" y="2403"/>
                  </a:lnTo>
                  <a:lnTo>
                    <a:pt x="909" y="2400"/>
                  </a:lnTo>
                  <a:lnTo>
                    <a:pt x="927" y="2391"/>
                  </a:lnTo>
                  <a:lnTo>
                    <a:pt x="937" y="2386"/>
                  </a:lnTo>
                  <a:lnTo>
                    <a:pt x="947" y="2380"/>
                  </a:lnTo>
                  <a:lnTo>
                    <a:pt x="974" y="2390"/>
                  </a:lnTo>
                  <a:lnTo>
                    <a:pt x="1020" y="2405"/>
                  </a:lnTo>
                  <a:lnTo>
                    <a:pt x="1022" y="2405"/>
                  </a:lnTo>
                  <a:lnTo>
                    <a:pt x="1025" y="2406"/>
                  </a:lnTo>
                  <a:lnTo>
                    <a:pt x="1030" y="2408"/>
                  </a:lnTo>
                  <a:lnTo>
                    <a:pt x="1035" y="2408"/>
                  </a:lnTo>
                  <a:lnTo>
                    <a:pt x="1039" y="2410"/>
                  </a:lnTo>
                  <a:lnTo>
                    <a:pt x="1044" y="2411"/>
                  </a:lnTo>
                  <a:lnTo>
                    <a:pt x="1045" y="2411"/>
                  </a:lnTo>
                  <a:lnTo>
                    <a:pt x="1047" y="2413"/>
                  </a:lnTo>
                  <a:lnTo>
                    <a:pt x="1047" y="2498"/>
                  </a:lnTo>
                  <a:lnTo>
                    <a:pt x="1047" y="2526"/>
                  </a:lnTo>
                  <a:lnTo>
                    <a:pt x="1050" y="2554"/>
                  </a:lnTo>
                  <a:lnTo>
                    <a:pt x="1057" y="2581"/>
                  </a:lnTo>
                  <a:lnTo>
                    <a:pt x="1072" y="2604"/>
                  </a:lnTo>
                  <a:lnTo>
                    <a:pt x="1090" y="2622"/>
                  </a:lnTo>
                  <a:lnTo>
                    <a:pt x="1112" y="2636"/>
                  </a:lnTo>
                  <a:lnTo>
                    <a:pt x="1137" y="2642"/>
                  </a:lnTo>
                  <a:lnTo>
                    <a:pt x="1163" y="2642"/>
                  </a:lnTo>
                  <a:lnTo>
                    <a:pt x="1188" y="2637"/>
                  </a:lnTo>
                  <a:lnTo>
                    <a:pt x="1212" y="2626"/>
                  </a:lnTo>
                  <a:lnTo>
                    <a:pt x="1233" y="2607"/>
                  </a:lnTo>
                  <a:lnTo>
                    <a:pt x="1247" y="2586"/>
                  </a:lnTo>
                  <a:lnTo>
                    <a:pt x="1255" y="2561"/>
                  </a:lnTo>
                  <a:lnTo>
                    <a:pt x="1260" y="2534"/>
                  </a:lnTo>
                  <a:lnTo>
                    <a:pt x="1260" y="2508"/>
                  </a:lnTo>
                  <a:lnTo>
                    <a:pt x="1260" y="2413"/>
                  </a:lnTo>
                  <a:lnTo>
                    <a:pt x="1265" y="2411"/>
                  </a:lnTo>
                  <a:lnTo>
                    <a:pt x="1273" y="2410"/>
                  </a:lnTo>
                  <a:lnTo>
                    <a:pt x="1283" y="2406"/>
                  </a:lnTo>
                  <a:lnTo>
                    <a:pt x="1293" y="2403"/>
                  </a:lnTo>
                  <a:lnTo>
                    <a:pt x="1298" y="2401"/>
                  </a:lnTo>
                  <a:lnTo>
                    <a:pt x="1338" y="2388"/>
                  </a:lnTo>
                  <a:lnTo>
                    <a:pt x="1375" y="2371"/>
                  </a:lnTo>
                  <a:lnTo>
                    <a:pt x="1420" y="2343"/>
                  </a:lnTo>
                  <a:lnTo>
                    <a:pt x="1458" y="2308"/>
                  </a:lnTo>
                  <a:lnTo>
                    <a:pt x="1491" y="2268"/>
                  </a:lnTo>
                  <a:lnTo>
                    <a:pt x="1511" y="2232"/>
                  </a:lnTo>
                  <a:lnTo>
                    <a:pt x="1526" y="2192"/>
                  </a:lnTo>
                  <a:lnTo>
                    <a:pt x="1533" y="2150"/>
                  </a:lnTo>
                  <a:lnTo>
                    <a:pt x="1535" y="2109"/>
                  </a:lnTo>
                  <a:lnTo>
                    <a:pt x="1530" y="2069"/>
                  </a:lnTo>
                  <a:lnTo>
                    <a:pt x="1518" y="2029"/>
                  </a:lnTo>
                  <a:lnTo>
                    <a:pt x="1501" y="1991"/>
                  </a:lnTo>
                  <a:lnTo>
                    <a:pt x="1476" y="1958"/>
                  </a:lnTo>
                  <a:lnTo>
                    <a:pt x="1446" y="1928"/>
                  </a:lnTo>
                  <a:lnTo>
                    <a:pt x="1453" y="1933"/>
                  </a:lnTo>
                  <a:lnTo>
                    <a:pt x="1458" y="1936"/>
                  </a:lnTo>
                  <a:lnTo>
                    <a:pt x="1461" y="1939"/>
                  </a:lnTo>
                  <a:lnTo>
                    <a:pt x="1463" y="1941"/>
                  </a:lnTo>
                  <a:lnTo>
                    <a:pt x="1465" y="1943"/>
                  </a:lnTo>
                  <a:lnTo>
                    <a:pt x="1465" y="1943"/>
                  </a:lnTo>
                  <a:lnTo>
                    <a:pt x="1465" y="1943"/>
                  </a:lnTo>
                  <a:lnTo>
                    <a:pt x="1463" y="1941"/>
                  </a:lnTo>
                  <a:lnTo>
                    <a:pt x="1461" y="1939"/>
                  </a:lnTo>
                  <a:lnTo>
                    <a:pt x="1458" y="1936"/>
                  </a:lnTo>
                  <a:lnTo>
                    <a:pt x="1455" y="1934"/>
                  </a:lnTo>
                  <a:lnTo>
                    <a:pt x="1451" y="1931"/>
                  </a:lnTo>
                  <a:lnTo>
                    <a:pt x="1448" y="1929"/>
                  </a:lnTo>
                  <a:lnTo>
                    <a:pt x="1446" y="1926"/>
                  </a:lnTo>
                  <a:lnTo>
                    <a:pt x="1443" y="1924"/>
                  </a:lnTo>
                  <a:lnTo>
                    <a:pt x="1440" y="1921"/>
                  </a:lnTo>
                  <a:lnTo>
                    <a:pt x="1438" y="1919"/>
                  </a:lnTo>
                  <a:lnTo>
                    <a:pt x="1436" y="1918"/>
                  </a:lnTo>
                  <a:lnTo>
                    <a:pt x="1435" y="1918"/>
                  </a:lnTo>
                  <a:lnTo>
                    <a:pt x="1435" y="1918"/>
                  </a:lnTo>
                  <a:lnTo>
                    <a:pt x="1436" y="1918"/>
                  </a:lnTo>
                  <a:lnTo>
                    <a:pt x="1438" y="1921"/>
                  </a:lnTo>
                  <a:lnTo>
                    <a:pt x="1441" y="1923"/>
                  </a:lnTo>
                  <a:lnTo>
                    <a:pt x="1446" y="1928"/>
                  </a:lnTo>
                  <a:lnTo>
                    <a:pt x="1413" y="1903"/>
                  </a:lnTo>
                  <a:lnTo>
                    <a:pt x="1375" y="1884"/>
                  </a:lnTo>
                  <a:lnTo>
                    <a:pt x="1337" y="1870"/>
                  </a:lnTo>
                  <a:lnTo>
                    <a:pt x="1295" y="1858"/>
                  </a:lnTo>
                  <a:lnTo>
                    <a:pt x="1253" y="1848"/>
                  </a:lnTo>
                  <a:lnTo>
                    <a:pt x="1213" y="1840"/>
                  </a:lnTo>
                  <a:lnTo>
                    <a:pt x="1132" y="1825"/>
                  </a:lnTo>
                  <a:lnTo>
                    <a:pt x="1107" y="1820"/>
                  </a:lnTo>
                  <a:lnTo>
                    <a:pt x="1082" y="1813"/>
                  </a:lnTo>
                  <a:lnTo>
                    <a:pt x="1059" y="1806"/>
                  </a:lnTo>
                  <a:lnTo>
                    <a:pt x="1037" y="1793"/>
                  </a:lnTo>
                  <a:lnTo>
                    <a:pt x="1024" y="1780"/>
                  </a:lnTo>
                  <a:lnTo>
                    <a:pt x="1022" y="1766"/>
                  </a:lnTo>
                  <a:lnTo>
                    <a:pt x="1025" y="1753"/>
                  </a:lnTo>
                  <a:lnTo>
                    <a:pt x="1037" y="1740"/>
                  </a:lnTo>
                  <a:lnTo>
                    <a:pt x="1050" y="1728"/>
                  </a:lnTo>
                  <a:lnTo>
                    <a:pt x="1065" y="1720"/>
                  </a:lnTo>
                  <a:lnTo>
                    <a:pt x="1080" y="1713"/>
                  </a:lnTo>
                  <a:lnTo>
                    <a:pt x="1120" y="1707"/>
                  </a:lnTo>
                  <a:lnTo>
                    <a:pt x="1160" y="1703"/>
                  </a:lnTo>
                  <a:lnTo>
                    <a:pt x="1203" y="1705"/>
                  </a:lnTo>
                  <a:lnTo>
                    <a:pt x="1247" y="1715"/>
                  </a:lnTo>
                  <a:lnTo>
                    <a:pt x="1280" y="1730"/>
                  </a:lnTo>
                  <a:lnTo>
                    <a:pt x="1288" y="1733"/>
                  </a:lnTo>
                  <a:lnTo>
                    <a:pt x="1292" y="1743"/>
                  </a:lnTo>
                  <a:lnTo>
                    <a:pt x="1295" y="1755"/>
                  </a:lnTo>
                  <a:lnTo>
                    <a:pt x="1298" y="1765"/>
                  </a:lnTo>
                  <a:lnTo>
                    <a:pt x="1313" y="1786"/>
                  </a:lnTo>
                  <a:lnTo>
                    <a:pt x="1333" y="1805"/>
                  </a:lnTo>
                  <a:lnTo>
                    <a:pt x="1355" y="1816"/>
                  </a:lnTo>
                  <a:lnTo>
                    <a:pt x="1382" y="1821"/>
                  </a:lnTo>
                  <a:lnTo>
                    <a:pt x="1407" y="1821"/>
                  </a:lnTo>
                  <a:lnTo>
                    <a:pt x="1431" y="1815"/>
                  </a:lnTo>
                  <a:lnTo>
                    <a:pt x="1455" y="1803"/>
                  </a:lnTo>
                  <a:lnTo>
                    <a:pt x="1473" y="1786"/>
                  </a:lnTo>
                  <a:lnTo>
                    <a:pt x="1488" y="1763"/>
                  </a:lnTo>
                  <a:lnTo>
                    <a:pt x="1496" y="1737"/>
                  </a:lnTo>
                  <a:lnTo>
                    <a:pt x="1500" y="1708"/>
                  </a:lnTo>
                  <a:lnTo>
                    <a:pt x="1501" y="1678"/>
                  </a:lnTo>
                  <a:lnTo>
                    <a:pt x="1500" y="1650"/>
                  </a:lnTo>
                  <a:lnTo>
                    <a:pt x="1500" y="1624"/>
                  </a:lnTo>
                  <a:lnTo>
                    <a:pt x="1498" y="1597"/>
                  </a:lnTo>
                  <a:lnTo>
                    <a:pt x="1495" y="1570"/>
                  </a:lnTo>
                  <a:lnTo>
                    <a:pt x="1486" y="1544"/>
                  </a:lnTo>
                  <a:lnTo>
                    <a:pt x="1473" y="1522"/>
                  </a:lnTo>
                  <a:lnTo>
                    <a:pt x="1451" y="1504"/>
                  </a:lnTo>
                  <a:lnTo>
                    <a:pt x="1426" y="1492"/>
                  </a:lnTo>
                  <a:lnTo>
                    <a:pt x="1400" y="1487"/>
                  </a:lnTo>
                  <a:lnTo>
                    <a:pt x="1372" y="1489"/>
                  </a:lnTo>
                  <a:lnTo>
                    <a:pt x="1345" y="1497"/>
                  </a:lnTo>
                  <a:lnTo>
                    <a:pt x="1322" y="1512"/>
                  </a:lnTo>
                  <a:lnTo>
                    <a:pt x="1318" y="1514"/>
                  </a:lnTo>
                  <a:lnTo>
                    <a:pt x="1315" y="1514"/>
                  </a:lnTo>
                  <a:lnTo>
                    <a:pt x="1310" y="1512"/>
                  </a:lnTo>
                  <a:lnTo>
                    <a:pt x="1307" y="1512"/>
                  </a:lnTo>
                  <a:lnTo>
                    <a:pt x="1303" y="1511"/>
                  </a:lnTo>
                  <a:lnTo>
                    <a:pt x="1300" y="1509"/>
                  </a:lnTo>
                  <a:lnTo>
                    <a:pt x="1288" y="1506"/>
                  </a:lnTo>
                  <a:lnTo>
                    <a:pt x="1277" y="1504"/>
                  </a:lnTo>
                  <a:lnTo>
                    <a:pt x="1275" y="1502"/>
                  </a:lnTo>
                  <a:lnTo>
                    <a:pt x="1272" y="1502"/>
                  </a:lnTo>
                  <a:lnTo>
                    <a:pt x="1268" y="1502"/>
                  </a:lnTo>
                  <a:lnTo>
                    <a:pt x="1265" y="1501"/>
                  </a:lnTo>
                  <a:lnTo>
                    <a:pt x="1262" y="1501"/>
                  </a:lnTo>
                  <a:lnTo>
                    <a:pt x="1260" y="1501"/>
                  </a:lnTo>
                  <a:lnTo>
                    <a:pt x="1260" y="1454"/>
                  </a:lnTo>
                  <a:lnTo>
                    <a:pt x="1262" y="1419"/>
                  </a:lnTo>
                  <a:lnTo>
                    <a:pt x="1260" y="1386"/>
                  </a:lnTo>
                  <a:lnTo>
                    <a:pt x="1253" y="1353"/>
                  </a:lnTo>
                  <a:lnTo>
                    <a:pt x="1243" y="1329"/>
                  </a:lnTo>
                  <a:lnTo>
                    <a:pt x="1227" y="1309"/>
                  </a:lnTo>
                  <a:lnTo>
                    <a:pt x="1208" y="1295"/>
                  </a:lnTo>
                  <a:lnTo>
                    <a:pt x="1185" y="1285"/>
                  </a:lnTo>
                  <a:lnTo>
                    <a:pt x="1160" y="1280"/>
                  </a:lnTo>
                  <a:close/>
                  <a:moveTo>
                    <a:pt x="624" y="0"/>
                  </a:moveTo>
                  <a:lnTo>
                    <a:pt x="649" y="0"/>
                  </a:lnTo>
                  <a:lnTo>
                    <a:pt x="672" y="2"/>
                  </a:lnTo>
                  <a:lnTo>
                    <a:pt x="779" y="15"/>
                  </a:lnTo>
                  <a:lnTo>
                    <a:pt x="847" y="27"/>
                  </a:lnTo>
                  <a:lnTo>
                    <a:pt x="859" y="32"/>
                  </a:lnTo>
                  <a:lnTo>
                    <a:pt x="869" y="43"/>
                  </a:lnTo>
                  <a:lnTo>
                    <a:pt x="877" y="53"/>
                  </a:lnTo>
                  <a:lnTo>
                    <a:pt x="979" y="151"/>
                  </a:lnTo>
                  <a:lnTo>
                    <a:pt x="1002" y="78"/>
                  </a:lnTo>
                  <a:lnTo>
                    <a:pt x="1005" y="73"/>
                  </a:lnTo>
                  <a:lnTo>
                    <a:pt x="1009" y="68"/>
                  </a:lnTo>
                  <a:lnTo>
                    <a:pt x="1014" y="65"/>
                  </a:lnTo>
                  <a:lnTo>
                    <a:pt x="1020" y="65"/>
                  </a:lnTo>
                  <a:lnTo>
                    <a:pt x="1027" y="65"/>
                  </a:lnTo>
                  <a:lnTo>
                    <a:pt x="1122" y="88"/>
                  </a:lnTo>
                  <a:lnTo>
                    <a:pt x="1217" y="111"/>
                  </a:lnTo>
                  <a:lnTo>
                    <a:pt x="1312" y="131"/>
                  </a:lnTo>
                  <a:lnTo>
                    <a:pt x="1372" y="136"/>
                  </a:lnTo>
                  <a:lnTo>
                    <a:pt x="1428" y="135"/>
                  </a:lnTo>
                  <a:lnTo>
                    <a:pt x="1486" y="128"/>
                  </a:lnTo>
                  <a:lnTo>
                    <a:pt x="1545" y="118"/>
                  </a:lnTo>
                  <a:lnTo>
                    <a:pt x="1551" y="118"/>
                  </a:lnTo>
                  <a:lnTo>
                    <a:pt x="1558" y="120"/>
                  </a:lnTo>
                  <a:lnTo>
                    <a:pt x="1563" y="121"/>
                  </a:lnTo>
                  <a:lnTo>
                    <a:pt x="1566" y="126"/>
                  </a:lnTo>
                  <a:lnTo>
                    <a:pt x="1570" y="133"/>
                  </a:lnTo>
                  <a:lnTo>
                    <a:pt x="1588" y="188"/>
                  </a:lnTo>
                  <a:lnTo>
                    <a:pt x="1671" y="106"/>
                  </a:lnTo>
                  <a:lnTo>
                    <a:pt x="1681" y="100"/>
                  </a:lnTo>
                  <a:lnTo>
                    <a:pt x="1696" y="98"/>
                  </a:lnTo>
                  <a:lnTo>
                    <a:pt x="1711" y="96"/>
                  </a:lnTo>
                  <a:lnTo>
                    <a:pt x="1724" y="98"/>
                  </a:lnTo>
                  <a:lnTo>
                    <a:pt x="1738" y="98"/>
                  </a:lnTo>
                  <a:lnTo>
                    <a:pt x="1776" y="98"/>
                  </a:lnTo>
                  <a:lnTo>
                    <a:pt x="1813" y="101"/>
                  </a:lnTo>
                  <a:lnTo>
                    <a:pt x="1846" y="108"/>
                  </a:lnTo>
                  <a:lnTo>
                    <a:pt x="1878" y="118"/>
                  </a:lnTo>
                  <a:lnTo>
                    <a:pt x="1906" y="133"/>
                  </a:lnTo>
                  <a:lnTo>
                    <a:pt x="1931" y="151"/>
                  </a:lnTo>
                  <a:lnTo>
                    <a:pt x="1951" y="176"/>
                  </a:lnTo>
                  <a:lnTo>
                    <a:pt x="1966" y="204"/>
                  </a:lnTo>
                  <a:lnTo>
                    <a:pt x="1972" y="239"/>
                  </a:lnTo>
                  <a:lnTo>
                    <a:pt x="1971" y="284"/>
                  </a:lnTo>
                  <a:lnTo>
                    <a:pt x="1961" y="327"/>
                  </a:lnTo>
                  <a:lnTo>
                    <a:pt x="1944" y="369"/>
                  </a:lnTo>
                  <a:lnTo>
                    <a:pt x="1921" y="409"/>
                  </a:lnTo>
                  <a:lnTo>
                    <a:pt x="1894" y="447"/>
                  </a:lnTo>
                  <a:lnTo>
                    <a:pt x="1864" y="482"/>
                  </a:lnTo>
                  <a:lnTo>
                    <a:pt x="1834" y="517"/>
                  </a:lnTo>
                  <a:lnTo>
                    <a:pt x="1804" y="548"/>
                  </a:lnTo>
                  <a:lnTo>
                    <a:pt x="1748" y="607"/>
                  </a:lnTo>
                  <a:lnTo>
                    <a:pt x="1688" y="663"/>
                  </a:lnTo>
                  <a:lnTo>
                    <a:pt x="1625" y="716"/>
                  </a:lnTo>
                  <a:lnTo>
                    <a:pt x="1560" y="766"/>
                  </a:lnTo>
                  <a:lnTo>
                    <a:pt x="1491" y="811"/>
                  </a:lnTo>
                  <a:lnTo>
                    <a:pt x="1580" y="854"/>
                  </a:lnTo>
                  <a:lnTo>
                    <a:pt x="1666" y="907"/>
                  </a:lnTo>
                  <a:lnTo>
                    <a:pt x="1748" y="969"/>
                  </a:lnTo>
                  <a:lnTo>
                    <a:pt x="1828" y="1039"/>
                  </a:lnTo>
                  <a:lnTo>
                    <a:pt x="1901" y="1115"/>
                  </a:lnTo>
                  <a:lnTo>
                    <a:pt x="1971" y="1198"/>
                  </a:lnTo>
                  <a:lnTo>
                    <a:pt x="2036" y="1288"/>
                  </a:lnTo>
                  <a:lnTo>
                    <a:pt x="2096" y="1383"/>
                  </a:lnTo>
                  <a:lnTo>
                    <a:pt x="2147" y="1484"/>
                  </a:lnTo>
                  <a:lnTo>
                    <a:pt x="2194" y="1589"/>
                  </a:lnTo>
                  <a:lnTo>
                    <a:pt x="2232" y="1697"/>
                  </a:lnTo>
                  <a:lnTo>
                    <a:pt x="2264" y="1808"/>
                  </a:lnTo>
                  <a:lnTo>
                    <a:pt x="2287" y="1924"/>
                  </a:lnTo>
                  <a:lnTo>
                    <a:pt x="2300" y="2041"/>
                  </a:lnTo>
                  <a:lnTo>
                    <a:pt x="2305" y="2159"/>
                  </a:lnTo>
                  <a:lnTo>
                    <a:pt x="2302" y="2262"/>
                  </a:lnTo>
                  <a:lnTo>
                    <a:pt x="2295" y="2356"/>
                  </a:lnTo>
                  <a:lnTo>
                    <a:pt x="2284" y="2445"/>
                  </a:lnTo>
                  <a:lnTo>
                    <a:pt x="2265" y="2526"/>
                  </a:lnTo>
                  <a:lnTo>
                    <a:pt x="2244" y="2602"/>
                  </a:lnTo>
                  <a:lnTo>
                    <a:pt x="2217" y="2671"/>
                  </a:lnTo>
                  <a:lnTo>
                    <a:pt x="2184" y="2734"/>
                  </a:lnTo>
                  <a:lnTo>
                    <a:pt x="2147" y="2790"/>
                  </a:lnTo>
                  <a:lnTo>
                    <a:pt x="2104" y="2842"/>
                  </a:lnTo>
                  <a:lnTo>
                    <a:pt x="2056" y="2888"/>
                  </a:lnTo>
                  <a:lnTo>
                    <a:pt x="2001" y="2930"/>
                  </a:lnTo>
                  <a:lnTo>
                    <a:pt x="1943" y="2965"/>
                  </a:lnTo>
                  <a:lnTo>
                    <a:pt x="1878" y="2996"/>
                  </a:lnTo>
                  <a:lnTo>
                    <a:pt x="1808" y="3023"/>
                  </a:lnTo>
                  <a:lnTo>
                    <a:pt x="1731" y="3046"/>
                  </a:lnTo>
                  <a:lnTo>
                    <a:pt x="1650" y="3064"/>
                  </a:lnTo>
                  <a:lnTo>
                    <a:pt x="1561" y="3079"/>
                  </a:lnTo>
                  <a:lnTo>
                    <a:pt x="1468" y="3091"/>
                  </a:lnTo>
                  <a:lnTo>
                    <a:pt x="1370" y="3098"/>
                  </a:lnTo>
                  <a:lnTo>
                    <a:pt x="1263" y="3103"/>
                  </a:lnTo>
                  <a:lnTo>
                    <a:pt x="1154" y="3104"/>
                  </a:lnTo>
                  <a:lnTo>
                    <a:pt x="1042" y="3103"/>
                  </a:lnTo>
                  <a:lnTo>
                    <a:pt x="937" y="3098"/>
                  </a:lnTo>
                  <a:lnTo>
                    <a:pt x="837" y="3091"/>
                  </a:lnTo>
                  <a:lnTo>
                    <a:pt x="744" y="3079"/>
                  </a:lnTo>
                  <a:lnTo>
                    <a:pt x="656" y="3064"/>
                  </a:lnTo>
                  <a:lnTo>
                    <a:pt x="574" y="3046"/>
                  </a:lnTo>
                  <a:lnTo>
                    <a:pt x="499" y="3023"/>
                  </a:lnTo>
                  <a:lnTo>
                    <a:pt x="428" y="2996"/>
                  </a:lnTo>
                  <a:lnTo>
                    <a:pt x="363" y="2965"/>
                  </a:lnTo>
                  <a:lnTo>
                    <a:pt x="305" y="2930"/>
                  </a:lnTo>
                  <a:lnTo>
                    <a:pt x="251" y="2888"/>
                  </a:lnTo>
                  <a:lnTo>
                    <a:pt x="203" y="2842"/>
                  </a:lnTo>
                  <a:lnTo>
                    <a:pt x="160" y="2790"/>
                  </a:lnTo>
                  <a:lnTo>
                    <a:pt x="121" y="2734"/>
                  </a:lnTo>
                  <a:lnTo>
                    <a:pt x="90" y="2671"/>
                  </a:lnTo>
                  <a:lnTo>
                    <a:pt x="62" y="2602"/>
                  </a:lnTo>
                  <a:lnTo>
                    <a:pt x="40" y="2526"/>
                  </a:lnTo>
                  <a:lnTo>
                    <a:pt x="22" y="2445"/>
                  </a:lnTo>
                  <a:lnTo>
                    <a:pt x="10" y="2356"/>
                  </a:lnTo>
                  <a:lnTo>
                    <a:pt x="3" y="2262"/>
                  </a:lnTo>
                  <a:lnTo>
                    <a:pt x="0" y="2159"/>
                  </a:lnTo>
                  <a:lnTo>
                    <a:pt x="5" y="2041"/>
                  </a:lnTo>
                  <a:lnTo>
                    <a:pt x="20" y="1924"/>
                  </a:lnTo>
                  <a:lnTo>
                    <a:pt x="42" y="1810"/>
                  </a:lnTo>
                  <a:lnTo>
                    <a:pt x="73" y="1698"/>
                  </a:lnTo>
                  <a:lnTo>
                    <a:pt x="111" y="1589"/>
                  </a:lnTo>
                  <a:lnTo>
                    <a:pt x="158" y="1484"/>
                  </a:lnTo>
                  <a:lnTo>
                    <a:pt x="210" y="1384"/>
                  </a:lnTo>
                  <a:lnTo>
                    <a:pt x="270" y="1290"/>
                  </a:lnTo>
                  <a:lnTo>
                    <a:pt x="333" y="1200"/>
                  </a:lnTo>
                  <a:lnTo>
                    <a:pt x="403" y="1117"/>
                  </a:lnTo>
                  <a:lnTo>
                    <a:pt x="478" y="1040"/>
                  </a:lnTo>
                  <a:lnTo>
                    <a:pt x="556" y="970"/>
                  </a:lnTo>
                  <a:lnTo>
                    <a:pt x="637" y="909"/>
                  </a:lnTo>
                  <a:lnTo>
                    <a:pt x="724" y="856"/>
                  </a:lnTo>
                  <a:lnTo>
                    <a:pt x="812" y="813"/>
                  </a:lnTo>
                  <a:lnTo>
                    <a:pt x="902" y="778"/>
                  </a:lnTo>
                  <a:lnTo>
                    <a:pt x="871" y="723"/>
                  </a:lnTo>
                  <a:lnTo>
                    <a:pt x="834" y="671"/>
                  </a:lnTo>
                  <a:lnTo>
                    <a:pt x="792" y="621"/>
                  </a:lnTo>
                  <a:lnTo>
                    <a:pt x="749" y="575"/>
                  </a:lnTo>
                  <a:lnTo>
                    <a:pt x="706" y="530"/>
                  </a:lnTo>
                  <a:lnTo>
                    <a:pt x="672" y="495"/>
                  </a:lnTo>
                  <a:lnTo>
                    <a:pt x="637" y="459"/>
                  </a:lnTo>
                  <a:lnTo>
                    <a:pt x="601" y="420"/>
                  </a:lnTo>
                  <a:lnTo>
                    <a:pt x="566" y="381"/>
                  </a:lnTo>
                  <a:lnTo>
                    <a:pt x="534" y="339"/>
                  </a:lnTo>
                  <a:lnTo>
                    <a:pt x="504" y="296"/>
                  </a:lnTo>
                  <a:lnTo>
                    <a:pt x="481" y="251"/>
                  </a:lnTo>
                  <a:lnTo>
                    <a:pt x="461" y="203"/>
                  </a:lnTo>
                  <a:lnTo>
                    <a:pt x="449" y="155"/>
                  </a:lnTo>
                  <a:lnTo>
                    <a:pt x="446" y="103"/>
                  </a:lnTo>
                  <a:lnTo>
                    <a:pt x="451" y="76"/>
                  </a:lnTo>
                  <a:lnTo>
                    <a:pt x="461" y="55"/>
                  </a:lnTo>
                  <a:lnTo>
                    <a:pt x="478" y="37"/>
                  </a:lnTo>
                  <a:lnTo>
                    <a:pt x="496" y="23"/>
                  </a:lnTo>
                  <a:lnTo>
                    <a:pt x="519" y="13"/>
                  </a:lnTo>
                  <a:lnTo>
                    <a:pt x="544" y="7"/>
                  </a:lnTo>
                  <a:lnTo>
                    <a:pt x="571" y="3"/>
                  </a:lnTo>
                  <a:lnTo>
                    <a:pt x="598" y="0"/>
                  </a:lnTo>
                  <a:lnTo>
                    <a:pt x="62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3" name="Group 35"/>
          <p:cNvGrpSpPr>
            <a:grpSpLocks noChangeAspect="1"/>
          </p:cNvGrpSpPr>
          <p:nvPr/>
        </p:nvGrpSpPr>
        <p:grpSpPr bwMode="auto">
          <a:xfrm>
            <a:off x="4189882" y="3623370"/>
            <a:ext cx="581778" cy="457200"/>
            <a:chOff x="-1483" y="697"/>
            <a:chExt cx="934" cy="734"/>
          </a:xfrm>
          <a:solidFill>
            <a:schemeClr val="bg1"/>
          </a:solidFill>
        </p:grpSpPr>
        <p:sp>
          <p:nvSpPr>
            <p:cNvPr id="96" name="Freeform 37"/>
            <p:cNvSpPr>
              <a:spLocks/>
            </p:cNvSpPr>
            <p:nvPr/>
          </p:nvSpPr>
          <p:spPr bwMode="auto">
            <a:xfrm>
              <a:off x="-1483" y="697"/>
              <a:ext cx="734" cy="600"/>
            </a:xfrm>
            <a:custGeom>
              <a:avLst/>
              <a:gdLst>
                <a:gd name="T0" fmla="*/ 1582 w 2936"/>
                <a:gd name="T1" fmla="*/ 2 h 2402"/>
                <a:gd name="T2" fmla="*/ 1904 w 2936"/>
                <a:gd name="T3" fmla="*/ 46 h 2402"/>
                <a:gd name="T4" fmla="*/ 2206 w 2936"/>
                <a:gd name="T5" fmla="*/ 143 h 2402"/>
                <a:gd name="T6" fmla="*/ 2439 w 2936"/>
                <a:gd name="T7" fmla="*/ 264 h 2402"/>
                <a:gd name="T8" fmla="*/ 2633 w 2936"/>
                <a:gd name="T9" fmla="*/ 415 h 2402"/>
                <a:gd name="T10" fmla="*/ 2786 w 2936"/>
                <a:gd name="T11" fmla="*/ 593 h 2402"/>
                <a:gd name="T12" fmla="*/ 2887 w 2936"/>
                <a:gd name="T13" fmla="*/ 788 h 2402"/>
                <a:gd name="T14" fmla="*/ 2934 w 2936"/>
                <a:gd name="T15" fmla="*/ 996 h 2402"/>
                <a:gd name="T16" fmla="*/ 2925 w 2936"/>
                <a:gd name="T17" fmla="*/ 1209 h 2402"/>
                <a:gd name="T18" fmla="*/ 2860 w 2936"/>
                <a:gd name="T19" fmla="*/ 1412 h 2402"/>
                <a:gd name="T20" fmla="*/ 2741 w 2936"/>
                <a:gd name="T21" fmla="*/ 1603 h 2402"/>
                <a:gd name="T22" fmla="*/ 2573 w 2936"/>
                <a:gd name="T23" fmla="*/ 1773 h 2402"/>
                <a:gd name="T24" fmla="*/ 2367 w 2936"/>
                <a:gd name="T25" fmla="*/ 1915 h 2402"/>
                <a:gd name="T26" fmla="*/ 2108 w 2936"/>
                <a:gd name="T27" fmla="*/ 2031 h 2402"/>
                <a:gd name="T28" fmla="*/ 1799 w 2936"/>
                <a:gd name="T29" fmla="*/ 2109 h 2402"/>
                <a:gd name="T30" fmla="*/ 1468 w 2936"/>
                <a:gd name="T31" fmla="*/ 2135 h 2402"/>
                <a:gd name="T32" fmla="*/ 1195 w 2936"/>
                <a:gd name="T33" fmla="*/ 2117 h 2402"/>
                <a:gd name="T34" fmla="*/ 922 w 2936"/>
                <a:gd name="T35" fmla="*/ 2213 h 2402"/>
                <a:gd name="T36" fmla="*/ 626 w 2936"/>
                <a:gd name="T37" fmla="*/ 2338 h 2402"/>
                <a:gd name="T38" fmla="*/ 408 w 2936"/>
                <a:gd name="T39" fmla="*/ 2391 h 2402"/>
                <a:gd name="T40" fmla="*/ 321 w 2936"/>
                <a:gd name="T41" fmla="*/ 2401 h 2402"/>
                <a:gd name="T42" fmla="*/ 281 w 2936"/>
                <a:gd name="T43" fmla="*/ 2373 h 2402"/>
                <a:gd name="T44" fmla="*/ 268 w 2936"/>
                <a:gd name="T45" fmla="*/ 2335 h 2402"/>
                <a:gd name="T46" fmla="*/ 268 w 2936"/>
                <a:gd name="T47" fmla="*/ 2314 h 2402"/>
                <a:gd name="T48" fmla="*/ 277 w 2936"/>
                <a:gd name="T49" fmla="*/ 2292 h 2402"/>
                <a:gd name="T50" fmla="*/ 280 w 2936"/>
                <a:gd name="T51" fmla="*/ 2288 h 2402"/>
                <a:gd name="T52" fmla="*/ 287 w 2936"/>
                <a:gd name="T53" fmla="*/ 2276 h 2402"/>
                <a:gd name="T54" fmla="*/ 293 w 2936"/>
                <a:gd name="T55" fmla="*/ 2270 h 2402"/>
                <a:gd name="T56" fmla="*/ 295 w 2936"/>
                <a:gd name="T57" fmla="*/ 2269 h 2402"/>
                <a:gd name="T58" fmla="*/ 303 w 2936"/>
                <a:gd name="T59" fmla="*/ 2260 h 2402"/>
                <a:gd name="T60" fmla="*/ 310 w 2936"/>
                <a:gd name="T61" fmla="*/ 2251 h 2402"/>
                <a:gd name="T62" fmla="*/ 318 w 2936"/>
                <a:gd name="T63" fmla="*/ 2242 h 2402"/>
                <a:gd name="T64" fmla="*/ 359 w 2936"/>
                <a:gd name="T65" fmla="*/ 2197 h 2402"/>
                <a:gd name="T66" fmla="*/ 413 w 2936"/>
                <a:gd name="T67" fmla="*/ 2136 h 2402"/>
                <a:gd name="T68" fmla="*/ 459 w 2936"/>
                <a:gd name="T69" fmla="*/ 2076 h 2402"/>
                <a:gd name="T70" fmla="*/ 533 w 2936"/>
                <a:gd name="T71" fmla="*/ 1952 h 2402"/>
                <a:gd name="T72" fmla="*/ 416 w 2936"/>
                <a:gd name="T73" fmla="*/ 1813 h 2402"/>
                <a:gd name="T74" fmla="*/ 242 w 2936"/>
                <a:gd name="T75" fmla="*/ 1654 h 2402"/>
                <a:gd name="T76" fmla="*/ 109 w 2936"/>
                <a:gd name="T77" fmla="*/ 1471 h 2402"/>
                <a:gd name="T78" fmla="*/ 27 w 2936"/>
                <a:gd name="T79" fmla="*/ 1275 h 2402"/>
                <a:gd name="T80" fmla="*/ 0 w 2936"/>
                <a:gd name="T81" fmla="*/ 1067 h 2402"/>
                <a:gd name="T82" fmla="*/ 27 w 2936"/>
                <a:gd name="T83" fmla="*/ 856 h 2402"/>
                <a:gd name="T84" fmla="*/ 110 w 2936"/>
                <a:gd name="T85" fmla="*/ 657 h 2402"/>
                <a:gd name="T86" fmla="*/ 247 w 2936"/>
                <a:gd name="T87" fmla="*/ 472 h 2402"/>
                <a:gd name="T88" fmla="*/ 428 w 2936"/>
                <a:gd name="T89" fmla="*/ 311 h 2402"/>
                <a:gd name="T90" fmla="*/ 649 w 2936"/>
                <a:gd name="T91" fmla="*/ 180 h 2402"/>
                <a:gd name="T92" fmla="*/ 929 w 2936"/>
                <a:gd name="T93" fmla="*/ 72 h 2402"/>
                <a:gd name="T94" fmla="*/ 1246 w 2936"/>
                <a:gd name="T95" fmla="*/ 11 h 2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36" h="2402">
                  <a:moveTo>
                    <a:pt x="1468" y="0"/>
                  </a:moveTo>
                  <a:lnTo>
                    <a:pt x="1468" y="0"/>
                  </a:lnTo>
                  <a:lnTo>
                    <a:pt x="1582" y="2"/>
                  </a:lnTo>
                  <a:lnTo>
                    <a:pt x="1692" y="11"/>
                  </a:lnTo>
                  <a:lnTo>
                    <a:pt x="1799" y="26"/>
                  </a:lnTo>
                  <a:lnTo>
                    <a:pt x="1904" y="46"/>
                  </a:lnTo>
                  <a:lnTo>
                    <a:pt x="2007" y="72"/>
                  </a:lnTo>
                  <a:lnTo>
                    <a:pt x="2108" y="104"/>
                  </a:lnTo>
                  <a:lnTo>
                    <a:pt x="2206" y="143"/>
                  </a:lnTo>
                  <a:lnTo>
                    <a:pt x="2288" y="180"/>
                  </a:lnTo>
                  <a:lnTo>
                    <a:pt x="2367" y="220"/>
                  </a:lnTo>
                  <a:lnTo>
                    <a:pt x="2439" y="264"/>
                  </a:lnTo>
                  <a:lnTo>
                    <a:pt x="2508" y="311"/>
                  </a:lnTo>
                  <a:lnTo>
                    <a:pt x="2573" y="362"/>
                  </a:lnTo>
                  <a:lnTo>
                    <a:pt x="2633" y="415"/>
                  </a:lnTo>
                  <a:lnTo>
                    <a:pt x="2689" y="472"/>
                  </a:lnTo>
                  <a:lnTo>
                    <a:pt x="2741" y="532"/>
                  </a:lnTo>
                  <a:lnTo>
                    <a:pt x="2786" y="593"/>
                  </a:lnTo>
                  <a:lnTo>
                    <a:pt x="2826" y="657"/>
                  </a:lnTo>
                  <a:lnTo>
                    <a:pt x="2860" y="723"/>
                  </a:lnTo>
                  <a:lnTo>
                    <a:pt x="2887" y="788"/>
                  </a:lnTo>
                  <a:lnTo>
                    <a:pt x="2909" y="856"/>
                  </a:lnTo>
                  <a:lnTo>
                    <a:pt x="2925" y="926"/>
                  </a:lnTo>
                  <a:lnTo>
                    <a:pt x="2934" y="996"/>
                  </a:lnTo>
                  <a:lnTo>
                    <a:pt x="2936" y="1067"/>
                  </a:lnTo>
                  <a:lnTo>
                    <a:pt x="2934" y="1139"/>
                  </a:lnTo>
                  <a:lnTo>
                    <a:pt x="2925" y="1209"/>
                  </a:lnTo>
                  <a:lnTo>
                    <a:pt x="2909" y="1278"/>
                  </a:lnTo>
                  <a:lnTo>
                    <a:pt x="2887" y="1347"/>
                  </a:lnTo>
                  <a:lnTo>
                    <a:pt x="2860" y="1412"/>
                  </a:lnTo>
                  <a:lnTo>
                    <a:pt x="2826" y="1478"/>
                  </a:lnTo>
                  <a:lnTo>
                    <a:pt x="2786" y="1542"/>
                  </a:lnTo>
                  <a:lnTo>
                    <a:pt x="2741" y="1603"/>
                  </a:lnTo>
                  <a:lnTo>
                    <a:pt x="2689" y="1663"/>
                  </a:lnTo>
                  <a:lnTo>
                    <a:pt x="2633" y="1720"/>
                  </a:lnTo>
                  <a:lnTo>
                    <a:pt x="2573" y="1773"/>
                  </a:lnTo>
                  <a:lnTo>
                    <a:pt x="2508" y="1824"/>
                  </a:lnTo>
                  <a:lnTo>
                    <a:pt x="2439" y="1871"/>
                  </a:lnTo>
                  <a:lnTo>
                    <a:pt x="2367" y="1915"/>
                  </a:lnTo>
                  <a:lnTo>
                    <a:pt x="2288" y="1955"/>
                  </a:lnTo>
                  <a:lnTo>
                    <a:pt x="2206" y="1992"/>
                  </a:lnTo>
                  <a:lnTo>
                    <a:pt x="2108" y="2031"/>
                  </a:lnTo>
                  <a:lnTo>
                    <a:pt x="2007" y="2062"/>
                  </a:lnTo>
                  <a:lnTo>
                    <a:pt x="1904" y="2089"/>
                  </a:lnTo>
                  <a:lnTo>
                    <a:pt x="1799" y="2109"/>
                  </a:lnTo>
                  <a:lnTo>
                    <a:pt x="1692" y="2124"/>
                  </a:lnTo>
                  <a:lnTo>
                    <a:pt x="1582" y="2133"/>
                  </a:lnTo>
                  <a:lnTo>
                    <a:pt x="1468" y="2135"/>
                  </a:lnTo>
                  <a:lnTo>
                    <a:pt x="1378" y="2133"/>
                  </a:lnTo>
                  <a:lnTo>
                    <a:pt x="1287" y="2127"/>
                  </a:lnTo>
                  <a:lnTo>
                    <a:pt x="1195" y="2117"/>
                  </a:lnTo>
                  <a:lnTo>
                    <a:pt x="1102" y="2102"/>
                  </a:lnTo>
                  <a:lnTo>
                    <a:pt x="1013" y="2160"/>
                  </a:lnTo>
                  <a:lnTo>
                    <a:pt x="922" y="2213"/>
                  </a:lnTo>
                  <a:lnTo>
                    <a:pt x="827" y="2260"/>
                  </a:lnTo>
                  <a:lnTo>
                    <a:pt x="728" y="2302"/>
                  </a:lnTo>
                  <a:lnTo>
                    <a:pt x="626" y="2338"/>
                  </a:lnTo>
                  <a:lnTo>
                    <a:pt x="522" y="2369"/>
                  </a:lnTo>
                  <a:lnTo>
                    <a:pt x="469" y="2381"/>
                  </a:lnTo>
                  <a:lnTo>
                    <a:pt x="408" y="2391"/>
                  </a:lnTo>
                  <a:lnTo>
                    <a:pt x="343" y="2402"/>
                  </a:lnTo>
                  <a:lnTo>
                    <a:pt x="336" y="2402"/>
                  </a:lnTo>
                  <a:lnTo>
                    <a:pt x="321" y="2401"/>
                  </a:lnTo>
                  <a:lnTo>
                    <a:pt x="306" y="2395"/>
                  </a:lnTo>
                  <a:lnTo>
                    <a:pt x="293" y="2386"/>
                  </a:lnTo>
                  <a:lnTo>
                    <a:pt x="281" y="2373"/>
                  </a:lnTo>
                  <a:lnTo>
                    <a:pt x="273" y="2359"/>
                  </a:lnTo>
                  <a:lnTo>
                    <a:pt x="269" y="2342"/>
                  </a:lnTo>
                  <a:lnTo>
                    <a:pt x="268" y="2335"/>
                  </a:lnTo>
                  <a:lnTo>
                    <a:pt x="267" y="2328"/>
                  </a:lnTo>
                  <a:lnTo>
                    <a:pt x="268" y="2321"/>
                  </a:lnTo>
                  <a:lnTo>
                    <a:pt x="268" y="2314"/>
                  </a:lnTo>
                  <a:lnTo>
                    <a:pt x="270" y="2309"/>
                  </a:lnTo>
                  <a:lnTo>
                    <a:pt x="272" y="2302"/>
                  </a:lnTo>
                  <a:lnTo>
                    <a:pt x="277" y="2292"/>
                  </a:lnTo>
                  <a:lnTo>
                    <a:pt x="278" y="2292"/>
                  </a:lnTo>
                  <a:lnTo>
                    <a:pt x="279" y="2291"/>
                  </a:lnTo>
                  <a:lnTo>
                    <a:pt x="280" y="2288"/>
                  </a:lnTo>
                  <a:lnTo>
                    <a:pt x="283" y="2285"/>
                  </a:lnTo>
                  <a:lnTo>
                    <a:pt x="285" y="2280"/>
                  </a:lnTo>
                  <a:lnTo>
                    <a:pt x="287" y="2276"/>
                  </a:lnTo>
                  <a:lnTo>
                    <a:pt x="289" y="2274"/>
                  </a:lnTo>
                  <a:lnTo>
                    <a:pt x="292" y="2271"/>
                  </a:lnTo>
                  <a:lnTo>
                    <a:pt x="293" y="2270"/>
                  </a:lnTo>
                  <a:lnTo>
                    <a:pt x="293" y="2270"/>
                  </a:lnTo>
                  <a:lnTo>
                    <a:pt x="294" y="2270"/>
                  </a:lnTo>
                  <a:lnTo>
                    <a:pt x="295" y="2269"/>
                  </a:lnTo>
                  <a:lnTo>
                    <a:pt x="297" y="2267"/>
                  </a:lnTo>
                  <a:lnTo>
                    <a:pt x="300" y="2263"/>
                  </a:lnTo>
                  <a:lnTo>
                    <a:pt x="303" y="2260"/>
                  </a:lnTo>
                  <a:lnTo>
                    <a:pt x="305" y="2255"/>
                  </a:lnTo>
                  <a:lnTo>
                    <a:pt x="307" y="2252"/>
                  </a:lnTo>
                  <a:lnTo>
                    <a:pt x="310" y="2251"/>
                  </a:lnTo>
                  <a:lnTo>
                    <a:pt x="311" y="2250"/>
                  </a:lnTo>
                  <a:lnTo>
                    <a:pt x="311" y="2250"/>
                  </a:lnTo>
                  <a:lnTo>
                    <a:pt x="318" y="2242"/>
                  </a:lnTo>
                  <a:lnTo>
                    <a:pt x="328" y="2230"/>
                  </a:lnTo>
                  <a:lnTo>
                    <a:pt x="341" y="2216"/>
                  </a:lnTo>
                  <a:lnTo>
                    <a:pt x="359" y="2197"/>
                  </a:lnTo>
                  <a:lnTo>
                    <a:pt x="381" y="2174"/>
                  </a:lnTo>
                  <a:lnTo>
                    <a:pt x="399" y="2153"/>
                  </a:lnTo>
                  <a:lnTo>
                    <a:pt x="413" y="2136"/>
                  </a:lnTo>
                  <a:lnTo>
                    <a:pt x="425" y="2120"/>
                  </a:lnTo>
                  <a:lnTo>
                    <a:pt x="441" y="2100"/>
                  </a:lnTo>
                  <a:lnTo>
                    <a:pt x="459" y="2076"/>
                  </a:lnTo>
                  <a:lnTo>
                    <a:pt x="488" y="2036"/>
                  </a:lnTo>
                  <a:lnTo>
                    <a:pt x="512" y="1996"/>
                  </a:lnTo>
                  <a:lnTo>
                    <a:pt x="533" y="1952"/>
                  </a:lnTo>
                  <a:lnTo>
                    <a:pt x="555" y="1904"/>
                  </a:lnTo>
                  <a:lnTo>
                    <a:pt x="483" y="1859"/>
                  </a:lnTo>
                  <a:lnTo>
                    <a:pt x="416" y="1813"/>
                  </a:lnTo>
                  <a:lnTo>
                    <a:pt x="354" y="1763"/>
                  </a:lnTo>
                  <a:lnTo>
                    <a:pt x="295" y="1710"/>
                  </a:lnTo>
                  <a:lnTo>
                    <a:pt x="242" y="1654"/>
                  </a:lnTo>
                  <a:lnTo>
                    <a:pt x="193" y="1596"/>
                  </a:lnTo>
                  <a:lnTo>
                    <a:pt x="149" y="1535"/>
                  </a:lnTo>
                  <a:lnTo>
                    <a:pt x="109" y="1471"/>
                  </a:lnTo>
                  <a:lnTo>
                    <a:pt x="76" y="1407"/>
                  </a:lnTo>
                  <a:lnTo>
                    <a:pt x="49" y="1342"/>
                  </a:lnTo>
                  <a:lnTo>
                    <a:pt x="27" y="1275"/>
                  </a:lnTo>
                  <a:lnTo>
                    <a:pt x="12" y="1207"/>
                  </a:lnTo>
                  <a:lnTo>
                    <a:pt x="3" y="1138"/>
                  </a:lnTo>
                  <a:lnTo>
                    <a:pt x="0" y="1067"/>
                  </a:lnTo>
                  <a:lnTo>
                    <a:pt x="3" y="996"/>
                  </a:lnTo>
                  <a:lnTo>
                    <a:pt x="12" y="926"/>
                  </a:lnTo>
                  <a:lnTo>
                    <a:pt x="27" y="856"/>
                  </a:lnTo>
                  <a:lnTo>
                    <a:pt x="49" y="788"/>
                  </a:lnTo>
                  <a:lnTo>
                    <a:pt x="77" y="723"/>
                  </a:lnTo>
                  <a:lnTo>
                    <a:pt x="110" y="657"/>
                  </a:lnTo>
                  <a:lnTo>
                    <a:pt x="150" y="593"/>
                  </a:lnTo>
                  <a:lnTo>
                    <a:pt x="196" y="532"/>
                  </a:lnTo>
                  <a:lnTo>
                    <a:pt x="247" y="472"/>
                  </a:lnTo>
                  <a:lnTo>
                    <a:pt x="303" y="415"/>
                  </a:lnTo>
                  <a:lnTo>
                    <a:pt x="363" y="362"/>
                  </a:lnTo>
                  <a:lnTo>
                    <a:pt x="428" y="311"/>
                  </a:lnTo>
                  <a:lnTo>
                    <a:pt x="497" y="264"/>
                  </a:lnTo>
                  <a:lnTo>
                    <a:pt x="571" y="220"/>
                  </a:lnTo>
                  <a:lnTo>
                    <a:pt x="649" y="180"/>
                  </a:lnTo>
                  <a:lnTo>
                    <a:pt x="731" y="143"/>
                  </a:lnTo>
                  <a:lnTo>
                    <a:pt x="829" y="104"/>
                  </a:lnTo>
                  <a:lnTo>
                    <a:pt x="929" y="72"/>
                  </a:lnTo>
                  <a:lnTo>
                    <a:pt x="1032" y="46"/>
                  </a:lnTo>
                  <a:lnTo>
                    <a:pt x="1138" y="26"/>
                  </a:lnTo>
                  <a:lnTo>
                    <a:pt x="1246" y="11"/>
                  </a:lnTo>
                  <a:lnTo>
                    <a:pt x="1356" y="2"/>
                  </a:lnTo>
                  <a:lnTo>
                    <a:pt x="1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8"/>
            <p:cNvSpPr>
              <a:spLocks/>
            </p:cNvSpPr>
            <p:nvPr/>
          </p:nvSpPr>
          <p:spPr bwMode="auto">
            <a:xfrm>
              <a:off x="-1162" y="884"/>
              <a:ext cx="613" cy="547"/>
            </a:xfrm>
            <a:custGeom>
              <a:avLst/>
              <a:gdLst>
                <a:gd name="T0" fmla="*/ 2016 w 2453"/>
                <a:gd name="T1" fmla="*/ 91 h 2186"/>
                <a:gd name="T2" fmla="*/ 2199 w 2453"/>
                <a:gd name="T3" fmla="*/ 251 h 2186"/>
                <a:gd name="T4" fmla="*/ 2339 w 2453"/>
                <a:gd name="T5" fmla="*/ 435 h 2186"/>
                <a:gd name="T6" fmla="*/ 2425 w 2453"/>
                <a:gd name="T7" fmla="*/ 637 h 2186"/>
                <a:gd name="T8" fmla="*/ 2453 w 2453"/>
                <a:gd name="T9" fmla="*/ 852 h 2186"/>
                <a:gd name="T10" fmla="*/ 2426 w 2453"/>
                <a:gd name="T11" fmla="*/ 1059 h 2186"/>
                <a:gd name="T12" fmla="*/ 2344 w 2453"/>
                <a:gd name="T13" fmla="*/ 1257 h 2186"/>
                <a:gd name="T14" fmla="*/ 2212 w 2453"/>
                <a:gd name="T15" fmla="*/ 1438 h 2186"/>
                <a:gd name="T16" fmla="*/ 2038 w 2453"/>
                <a:gd name="T17" fmla="*/ 1596 h 2186"/>
                <a:gd name="T18" fmla="*/ 1920 w 2453"/>
                <a:gd name="T19" fmla="*/ 1736 h 2186"/>
                <a:gd name="T20" fmla="*/ 1994 w 2453"/>
                <a:gd name="T21" fmla="*/ 1860 h 2186"/>
                <a:gd name="T22" fmla="*/ 2040 w 2453"/>
                <a:gd name="T23" fmla="*/ 1921 h 2186"/>
                <a:gd name="T24" fmla="*/ 2095 w 2453"/>
                <a:gd name="T25" fmla="*/ 1982 h 2186"/>
                <a:gd name="T26" fmla="*/ 2136 w 2453"/>
                <a:gd name="T27" fmla="*/ 2026 h 2186"/>
                <a:gd name="T28" fmla="*/ 2148 w 2453"/>
                <a:gd name="T29" fmla="*/ 2040 h 2186"/>
                <a:gd name="T30" fmla="*/ 2158 w 2453"/>
                <a:gd name="T31" fmla="*/ 2051 h 2186"/>
                <a:gd name="T32" fmla="*/ 2166 w 2453"/>
                <a:gd name="T33" fmla="*/ 2060 h 2186"/>
                <a:gd name="T34" fmla="*/ 2174 w 2453"/>
                <a:gd name="T35" fmla="*/ 2073 h 2186"/>
                <a:gd name="T36" fmla="*/ 2182 w 2453"/>
                <a:gd name="T37" fmla="*/ 2087 h 2186"/>
                <a:gd name="T38" fmla="*/ 2185 w 2453"/>
                <a:gd name="T39" fmla="*/ 2099 h 2186"/>
                <a:gd name="T40" fmla="*/ 2188 w 2453"/>
                <a:gd name="T41" fmla="*/ 2110 h 2186"/>
                <a:gd name="T42" fmla="*/ 2185 w 2453"/>
                <a:gd name="T43" fmla="*/ 2113 h 2186"/>
                <a:gd name="T44" fmla="*/ 2184 w 2453"/>
                <a:gd name="T45" fmla="*/ 2126 h 2186"/>
                <a:gd name="T46" fmla="*/ 2157 w 2453"/>
                <a:gd name="T47" fmla="*/ 2171 h 2186"/>
                <a:gd name="T48" fmla="*/ 2112 w 2453"/>
                <a:gd name="T49" fmla="*/ 2186 h 2186"/>
                <a:gd name="T50" fmla="*/ 1932 w 2453"/>
                <a:gd name="T51" fmla="*/ 2153 h 2186"/>
                <a:gd name="T52" fmla="*/ 1626 w 2453"/>
                <a:gd name="T53" fmla="*/ 2044 h 2186"/>
                <a:gd name="T54" fmla="*/ 1353 w 2453"/>
                <a:gd name="T55" fmla="*/ 1885 h 2186"/>
                <a:gd name="T56" fmla="*/ 1076 w 2453"/>
                <a:gd name="T57" fmla="*/ 1917 h 2186"/>
                <a:gd name="T58" fmla="*/ 765 w 2453"/>
                <a:gd name="T59" fmla="*/ 1908 h 2186"/>
                <a:gd name="T60" fmla="*/ 456 w 2453"/>
                <a:gd name="T61" fmla="*/ 1850 h 2186"/>
                <a:gd name="T62" fmla="*/ 174 w 2453"/>
                <a:gd name="T63" fmla="*/ 1744 h 2186"/>
                <a:gd name="T64" fmla="*/ 57 w 2453"/>
                <a:gd name="T65" fmla="*/ 1647 h 2186"/>
                <a:gd name="T66" fmla="*/ 184 w 2453"/>
                <a:gd name="T67" fmla="*/ 1652 h 2186"/>
                <a:gd name="T68" fmla="*/ 513 w 2453"/>
                <a:gd name="T69" fmla="*/ 1629 h 2186"/>
                <a:gd name="T70" fmla="*/ 829 w 2453"/>
                <a:gd name="T71" fmla="*/ 1559 h 2186"/>
                <a:gd name="T72" fmla="*/ 1121 w 2453"/>
                <a:gd name="T73" fmla="*/ 1444 h 2186"/>
                <a:gd name="T74" fmla="*/ 1380 w 2453"/>
                <a:gd name="T75" fmla="*/ 1290 h 2186"/>
                <a:gd name="T76" fmla="*/ 1581 w 2453"/>
                <a:gd name="T77" fmla="*/ 1114 h 2186"/>
                <a:gd name="T78" fmla="*/ 1737 w 2453"/>
                <a:gd name="T79" fmla="*/ 918 h 2186"/>
                <a:gd name="T80" fmla="*/ 1848 w 2453"/>
                <a:gd name="T81" fmla="*/ 702 h 2186"/>
                <a:gd name="T82" fmla="*/ 1909 w 2453"/>
                <a:gd name="T83" fmla="*/ 475 h 2186"/>
                <a:gd name="T84" fmla="*/ 1917 w 2453"/>
                <a:gd name="T85" fmla="*/ 237 h 2186"/>
                <a:gd name="T86" fmla="*/ 1871 w 2453"/>
                <a:gd name="T87" fmla="*/ 0 h 2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53" h="2186">
                  <a:moveTo>
                    <a:pt x="1871" y="0"/>
                  </a:moveTo>
                  <a:lnTo>
                    <a:pt x="1946" y="44"/>
                  </a:lnTo>
                  <a:lnTo>
                    <a:pt x="2016" y="91"/>
                  </a:lnTo>
                  <a:lnTo>
                    <a:pt x="2081" y="142"/>
                  </a:lnTo>
                  <a:lnTo>
                    <a:pt x="2142" y="194"/>
                  </a:lnTo>
                  <a:lnTo>
                    <a:pt x="2199" y="251"/>
                  </a:lnTo>
                  <a:lnTo>
                    <a:pt x="2250" y="310"/>
                  </a:lnTo>
                  <a:lnTo>
                    <a:pt x="2297" y="372"/>
                  </a:lnTo>
                  <a:lnTo>
                    <a:pt x="2339" y="435"/>
                  </a:lnTo>
                  <a:lnTo>
                    <a:pt x="2374" y="501"/>
                  </a:lnTo>
                  <a:lnTo>
                    <a:pt x="2402" y="569"/>
                  </a:lnTo>
                  <a:lnTo>
                    <a:pt x="2425" y="637"/>
                  </a:lnTo>
                  <a:lnTo>
                    <a:pt x="2441" y="708"/>
                  </a:lnTo>
                  <a:lnTo>
                    <a:pt x="2451" y="779"/>
                  </a:lnTo>
                  <a:lnTo>
                    <a:pt x="2453" y="852"/>
                  </a:lnTo>
                  <a:lnTo>
                    <a:pt x="2451" y="922"/>
                  </a:lnTo>
                  <a:lnTo>
                    <a:pt x="2442" y="991"/>
                  </a:lnTo>
                  <a:lnTo>
                    <a:pt x="2426" y="1059"/>
                  </a:lnTo>
                  <a:lnTo>
                    <a:pt x="2406" y="1126"/>
                  </a:lnTo>
                  <a:lnTo>
                    <a:pt x="2378" y="1192"/>
                  </a:lnTo>
                  <a:lnTo>
                    <a:pt x="2344" y="1257"/>
                  </a:lnTo>
                  <a:lnTo>
                    <a:pt x="2306" y="1319"/>
                  </a:lnTo>
                  <a:lnTo>
                    <a:pt x="2261" y="1381"/>
                  </a:lnTo>
                  <a:lnTo>
                    <a:pt x="2212" y="1438"/>
                  </a:lnTo>
                  <a:lnTo>
                    <a:pt x="2158" y="1494"/>
                  </a:lnTo>
                  <a:lnTo>
                    <a:pt x="2100" y="1546"/>
                  </a:lnTo>
                  <a:lnTo>
                    <a:pt x="2038" y="1596"/>
                  </a:lnTo>
                  <a:lnTo>
                    <a:pt x="1971" y="1644"/>
                  </a:lnTo>
                  <a:lnTo>
                    <a:pt x="1898" y="1688"/>
                  </a:lnTo>
                  <a:lnTo>
                    <a:pt x="1920" y="1736"/>
                  </a:lnTo>
                  <a:lnTo>
                    <a:pt x="1942" y="1780"/>
                  </a:lnTo>
                  <a:lnTo>
                    <a:pt x="1965" y="1821"/>
                  </a:lnTo>
                  <a:lnTo>
                    <a:pt x="1994" y="1860"/>
                  </a:lnTo>
                  <a:lnTo>
                    <a:pt x="2012" y="1884"/>
                  </a:lnTo>
                  <a:lnTo>
                    <a:pt x="2028" y="1904"/>
                  </a:lnTo>
                  <a:lnTo>
                    <a:pt x="2040" y="1921"/>
                  </a:lnTo>
                  <a:lnTo>
                    <a:pt x="2054" y="1938"/>
                  </a:lnTo>
                  <a:lnTo>
                    <a:pt x="2072" y="1958"/>
                  </a:lnTo>
                  <a:lnTo>
                    <a:pt x="2095" y="1982"/>
                  </a:lnTo>
                  <a:lnTo>
                    <a:pt x="2112" y="2000"/>
                  </a:lnTo>
                  <a:lnTo>
                    <a:pt x="2125" y="2015"/>
                  </a:lnTo>
                  <a:lnTo>
                    <a:pt x="2136" y="2026"/>
                  </a:lnTo>
                  <a:lnTo>
                    <a:pt x="2142" y="2034"/>
                  </a:lnTo>
                  <a:lnTo>
                    <a:pt x="2145" y="2036"/>
                  </a:lnTo>
                  <a:lnTo>
                    <a:pt x="2148" y="2040"/>
                  </a:lnTo>
                  <a:lnTo>
                    <a:pt x="2151" y="2043"/>
                  </a:lnTo>
                  <a:lnTo>
                    <a:pt x="2155" y="2048"/>
                  </a:lnTo>
                  <a:lnTo>
                    <a:pt x="2158" y="2051"/>
                  </a:lnTo>
                  <a:lnTo>
                    <a:pt x="2160" y="2053"/>
                  </a:lnTo>
                  <a:lnTo>
                    <a:pt x="2163" y="2057"/>
                  </a:lnTo>
                  <a:lnTo>
                    <a:pt x="2166" y="2060"/>
                  </a:lnTo>
                  <a:lnTo>
                    <a:pt x="2168" y="2065"/>
                  </a:lnTo>
                  <a:lnTo>
                    <a:pt x="2172" y="2069"/>
                  </a:lnTo>
                  <a:lnTo>
                    <a:pt x="2174" y="2073"/>
                  </a:lnTo>
                  <a:lnTo>
                    <a:pt x="2176" y="2076"/>
                  </a:lnTo>
                  <a:lnTo>
                    <a:pt x="2181" y="2086"/>
                  </a:lnTo>
                  <a:lnTo>
                    <a:pt x="2182" y="2087"/>
                  </a:lnTo>
                  <a:lnTo>
                    <a:pt x="2182" y="2090"/>
                  </a:lnTo>
                  <a:lnTo>
                    <a:pt x="2184" y="2093"/>
                  </a:lnTo>
                  <a:lnTo>
                    <a:pt x="2185" y="2099"/>
                  </a:lnTo>
                  <a:lnTo>
                    <a:pt x="2187" y="2103"/>
                  </a:lnTo>
                  <a:lnTo>
                    <a:pt x="2188" y="2107"/>
                  </a:lnTo>
                  <a:lnTo>
                    <a:pt x="2188" y="2110"/>
                  </a:lnTo>
                  <a:lnTo>
                    <a:pt x="2188" y="2111"/>
                  </a:lnTo>
                  <a:lnTo>
                    <a:pt x="2187" y="2112"/>
                  </a:lnTo>
                  <a:lnTo>
                    <a:pt x="2185" y="2113"/>
                  </a:lnTo>
                  <a:lnTo>
                    <a:pt x="2184" y="2116"/>
                  </a:lnTo>
                  <a:lnTo>
                    <a:pt x="2184" y="2120"/>
                  </a:lnTo>
                  <a:lnTo>
                    <a:pt x="2184" y="2126"/>
                  </a:lnTo>
                  <a:lnTo>
                    <a:pt x="2179" y="2144"/>
                  </a:lnTo>
                  <a:lnTo>
                    <a:pt x="2170" y="2159"/>
                  </a:lnTo>
                  <a:lnTo>
                    <a:pt x="2157" y="2171"/>
                  </a:lnTo>
                  <a:lnTo>
                    <a:pt x="2143" y="2180"/>
                  </a:lnTo>
                  <a:lnTo>
                    <a:pt x="2128" y="2185"/>
                  </a:lnTo>
                  <a:lnTo>
                    <a:pt x="2112" y="2186"/>
                  </a:lnTo>
                  <a:lnTo>
                    <a:pt x="2045" y="2176"/>
                  </a:lnTo>
                  <a:lnTo>
                    <a:pt x="1986" y="2165"/>
                  </a:lnTo>
                  <a:lnTo>
                    <a:pt x="1932" y="2153"/>
                  </a:lnTo>
                  <a:lnTo>
                    <a:pt x="1827" y="2123"/>
                  </a:lnTo>
                  <a:lnTo>
                    <a:pt x="1725" y="2086"/>
                  </a:lnTo>
                  <a:lnTo>
                    <a:pt x="1626" y="2044"/>
                  </a:lnTo>
                  <a:lnTo>
                    <a:pt x="1532" y="1997"/>
                  </a:lnTo>
                  <a:lnTo>
                    <a:pt x="1440" y="1944"/>
                  </a:lnTo>
                  <a:lnTo>
                    <a:pt x="1353" y="1885"/>
                  </a:lnTo>
                  <a:lnTo>
                    <a:pt x="1259" y="1900"/>
                  </a:lnTo>
                  <a:lnTo>
                    <a:pt x="1167" y="1910"/>
                  </a:lnTo>
                  <a:lnTo>
                    <a:pt x="1076" y="1917"/>
                  </a:lnTo>
                  <a:lnTo>
                    <a:pt x="985" y="1919"/>
                  </a:lnTo>
                  <a:lnTo>
                    <a:pt x="874" y="1916"/>
                  </a:lnTo>
                  <a:lnTo>
                    <a:pt x="765" y="1908"/>
                  </a:lnTo>
                  <a:lnTo>
                    <a:pt x="659" y="1895"/>
                  </a:lnTo>
                  <a:lnTo>
                    <a:pt x="556" y="1875"/>
                  </a:lnTo>
                  <a:lnTo>
                    <a:pt x="456" y="1850"/>
                  </a:lnTo>
                  <a:lnTo>
                    <a:pt x="360" y="1820"/>
                  </a:lnTo>
                  <a:lnTo>
                    <a:pt x="266" y="1784"/>
                  </a:lnTo>
                  <a:lnTo>
                    <a:pt x="174" y="1744"/>
                  </a:lnTo>
                  <a:lnTo>
                    <a:pt x="87" y="1696"/>
                  </a:lnTo>
                  <a:lnTo>
                    <a:pt x="0" y="1644"/>
                  </a:lnTo>
                  <a:lnTo>
                    <a:pt x="57" y="1647"/>
                  </a:lnTo>
                  <a:lnTo>
                    <a:pt x="107" y="1651"/>
                  </a:lnTo>
                  <a:lnTo>
                    <a:pt x="149" y="1652"/>
                  </a:lnTo>
                  <a:lnTo>
                    <a:pt x="184" y="1652"/>
                  </a:lnTo>
                  <a:lnTo>
                    <a:pt x="295" y="1649"/>
                  </a:lnTo>
                  <a:lnTo>
                    <a:pt x="405" y="1641"/>
                  </a:lnTo>
                  <a:lnTo>
                    <a:pt x="513" y="1629"/>
                  </a:lnTo>
                  <a:lnTo>
                    <a:pt x="620" y="1611"/>
                  </a:lnTo>
                  <a:lnTo>
                    <a:pt x="725" y="1587"/>
                  </a:lnTo>
                  <a:lnTo>
                    <a:pt x="829" y="1559"/>
                  </a:lnTo>
                  <a:lnTo>
                    <a:pt x="929" y="1525"/>
                  </a:lnTo>
                  <a:lnTo>
                    <a:pt x="1027" y="1487"/>
                  </a:lnTo>
                  <a:lnTo>
                    <a:pt x="1121" y="1444"/>
                  </a:lnTo>
                  <a:lnTo>
                    <a:pt x="1211" y="1398"/>
                  </a:lnTo>
                  <a:lnTo>
                    <a:pt x="1297" y="1345"/>
                  </a:lnTo>
                  <a:lnTo>
                    <a:pt x="1380" y="1290"/>
                  </a:lnTo>
                  <a:lnTo>
                    <a:pt x="1451" y="1233"/>
                  </a:lnTo>
                  <a:lnTo>
                    <a:pt x="1518" y="1175"/>
                  </a:lnTo>
                  <a:lnTo>
                    <a:pt x="1581" y="1114"/>
                  </a:lnTo>
                  <a:lnTo>
                    <a:pt x="1637" y="1050"/>
                  </a:lnTo>
                  <a:lnTo>
                    <a:pt x="1690" y="986"/>
                  </a:lnTo>
                  <a:lnTo>
                    <a:pt x="1737" y="918"/>
                  </a:lnTo>
                  <a:lnTo>
                    <a:pt x="1780" y="847"/>
                  </a:lnTo>
                  <a:lnTo>
                    <a:pt x="1817" y="775"/>
                  </a:lnTo>
                  <a:lnTo>
                    <a:pt x="1848" y="702"/>
                  </a:lnTo>
                  <a:lnTo>
                    <a:pt x="1875" y="627"/>
                  </a:lnTo>
                  <a:lnTo>
                    <a:pt x="1894" y="551"/>
                  </a:lnTo>
                  <a:lnTo>
                    <a:pt x="1909" y="475"/>
                  </a:lnTo>
                  <a:lnTo>
                    <a:pt x="1917" y="397"/>
                  </a:lnTo>
                  <a:lnTo>
                    <a:pt x="1920" y="317"/>
                  </a:lnTo>
                  <a:lnTo>
                    <a:pt x="1917" y="237"/>
                  </a:lnTo>
                  <a:lnTo>
                    <a:pt x="1907" y="157"/>
                  </a:lnTo>
                  <a:lnTo>
                    <a:pt x="1893" y="79"/>
                  </a:lnTo>
                  <a:lnTo>
                    <a:pt x="18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9" name="Group 41"/>
          <p:cNvGrpSpPr>
            <a:grpSpLocks noChangeAspect="1"/>
          </p:cNvGrpSpPr>
          <p:nvPr/>
        </p:nvGrpSpPr>
        <p:grpSpPr bwMode="auto">
          <a:xfrm>
            <a:off x="5028459" y="5004786"/>
            <a:ext cx="454499" cy="457200"/>
            <a:chOff x="3501" y="1820"/>
            <a:chExt cx="673" cy="677"/>
          </a:xfrm>
          <a:solidFill>
            <a:schemeClr val="bg1"/>
          </a:solidFill>
        </p:grpSpPr>
        <p:sp>
          <p:nvSpPr>
            <p:cNvPr id="102" name="Freeform 43"/>
            <p:cNvSpPr>
              <a:spLocks/>
            </p:cNvSpPr>
            <p:nvPr/>
          </p:nvSpPr>
          <p:spPr bwMode="auto">
            <a:xfrm>
              <a:off x="3978" y="2035"/>
              <a:ext cx="196" cy="393"/>
            </a:xfrm>
            <a:custGeom>
              <a:avLst/>
              <a:gdLst>
                <a:gd name="T0" fmla="*/ 835 w 980"/>
                <a:gd name="T1" fmla="*/ 0 h 1963"/>
                <a:gd name="T2" fmla="*/ 871 w 980"/>
                <a:gd name="T3" fmla="*/ 84 h 1963"/>
                <a:gd name="T4" fmla="*/ 902 w 980"/>
                <a:gd name="T5" fmla="*/ 170 h 1963"/>
                <a:gd name="T6" fmla="*/ 928 w 980"/>
                <a:gd name="T7" fmla="*/ 258 h 1963"/>
                <a:gd name="T8" fmla="*/ 949 w 980"/>
                <a:gd name="T9" fmla="*/ 347 h 1963"/>
                <a:gd name="T10" fmla="*/ 965 w 980"/>
                <a:gd name="T11" fmla="*/ 436 h 1963"/>
                <a:gd name="T12" fmla="*/ 975 w 980"/>
                <a:gd name="T13" fmla="*/ 526 h 1963"/>
                <a:gd name="T14" fmla="*/ 980 w 980"/>
                <a:gd name="T15" fmla="*/ 617 h 1963"/>
                <a:gd name="T16" fmla="*/ 980 w 980"/>
                <a:gd name="T17" fmla="*/ 708 h 1963"/>
                <a:gd name="T18" fmla="*/ 975 w 980"/>
                <a:gd name="T19" fmla="*/ 798 h 1963"/>
                <a:gd name="T20" fmla="*/ 966 w 980"/>
                <a:gd name="T21" fmla="*/ 889 h 1963"/>
                <a:gd name="T22" fmla="*/ 950 w 980"/>
                <a:gd name="T23" fmla="*/ 977 h 1963"/>
                <a:gd name="T24" fmla="*/ 929 w 980"/>
                <a:gd name="T25" fmla="*/ 1066 h 1963"/>
                <a:gd name="T26" fmla="*/ 904 w 980"/>
                <a:gd name="T27" fmla="*/ 1154 h 1963"/>
                <a:gd name="T28" fmla="*/ 873 w 980"/>
                <a:gd name="T29" fmla="*/ 1241 h 1963"/>
                <a:gd name="T30" fmla="*/ 837 w 980"/>
                <a:gd name="T31" fmla="*/ 1326 h 1963"/>
                <a:gd name="T32" fmla="*/ 796 w 980"/>
                <a:gd name="T33" fmla="*/ 1408 h 1963"/>
                <a:gd name="T34" fmla="*/ 749 w 980"/>
                <a:gd name="T35" fmla="*/ 1489 h 1963"/>
                <a:gd name="T36" fmla="*/ 697 w 980"/>
                <a:gd name="T37" fmla="*/ 1567 h 1963"/>
                <a:gd name="T38" fmla="*/ 641 w 980"/>
                <a:gd name="T39" fmla="*/ 1643 h 1963"/>
                <a:gd name="T40" fmla="*/ 579 w 980"/>
                <a:gd name="T41" fmla="*/ 1717 h 1963"/>
                <a:gd name="T42" fmla="*/ 824 w 980"/>
                <a:gd name="T43" fmla="*/ 1963 h 1963"/>
                <a:gd name="T44" fmla="*/ 0 w 980"/>
                <a:gd name="T45" fmla="*/ 1963 h 1963"/>
                <a:gd name="T46" fmla="*/ 0 w 980"/>
                <a:gd name="T47" fmla="*/ 1134 h 1963"/>
                <a:gd name="T48" fmla="*/ 237 w 980"/>
                <a:gd name="T49" fmla="*/ 1373 h 1963"/>
                <a:gd name="T50" fmla="*/ 285 w 980"/>
                <a:gd name="T51" fmla="*/ 1313 h 1963"/>
                <a:gd name="T52" fmla="*/ 327 w 980"/>
                <a:gd name="T53" fmla="*/ 1251 h 1963"/>
                <a:gd name="T54" fmla="*/ 366 w 980"/>
                <a:gd name="T55" fmla="*/ 1188 h 1963"/>
                <a:gd name="T56" fmla="*/ 399 w 980"/>
                <a:gd name="T57" fmla="*/ 1122 h 1963"/>
                <a:gd name="T58" fmla="*/ 427 w 980"/>
                <a:gd name="T59" fmla="*/ 1054 h 1963"/>
                <a:gd name="T60" fmla="*/ 451 w 980"/>
                <a:gd name="T61" fmla="*/ 985 h 1963"/>
                <a:gd name="T62" fmla="*/ 470 w 980"/>
                <a:gd name="T63" fmla="*/ 915 h 1963"/>
                <a:gd name="T64" fmla="*/ 484 w 980"/>
                <a:gd name="T65" fmla="*/ 844 h 1963"/>
                <a:gd name="T66" fmla="*/ 494 w 980"/>
                <a:gd name="T67" fmla="*/ 773 h 1963"/>
                <a:gd name="T68" fmla="*/ 498 w 980"/>
                <a:gd name="T69" fmla="*/ 700 h 1963"/>
                <a:gd name="T70" fmla="*/ 499 w 980"/>
                <a:gd name="T71" fmla="*/ 628 h 1963"/>
                <a:gd name="T72" fmla="*/ 494 w 980"/>
                <a:gd name="T73" fmla="*/ 556 h 1963"/>
                <a:gd name="T74" fmla="*/ 484 w 980"/>
                <a:gd name="T75" fmla="*/ 484 h 1963"/>
                <a:gd name="T76" fmla="*/ 470 w 980"/>
                <a:gd name="T77" fmla="*/ 413 h 1963"/>
                <a:gd name="T78" fmla="*/ 451 w 980"/>
                <a:gd name="T79" fmla="*/ 343 h 1963"/>
                <a:gd name="T80" fmla="*/ 427 w 980"/>
                <a:gd name="T81" fmla="*/ 274 h 1963"/>
                <a:gd name="T82" fmla="*/ 399 w 980"/>
                <a:gd name="T83" fmla="*/ 207 h 1963"/>
                <a:gd name="T84" fmla="*/ 835 w 980"/>
                <a:gd name="T8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0" h="1963">
                  <a:moveTo>
                    <a:pt x="835" y="0"/>
                  </a:moveTo>
                  <a:lnTo>
                    <a:pt x="871" y="84"/>
                  </a:lnTo>
                  <a:lnTo>
                    <a:pt x="902" y="170"/>
                  </a:lnTo>
                  <a:lnTo>
                    <a:pt x="928" y="258"/>
                  </a:lnTo>
                  <a:lnTo>
                    <a:pt x="949" y="347"/>
                  </a:lnTo>
                  <a:lnTo>
                    <a:pt x="965" y="436"/>
                  </a:lnTo>
                  <a:lnTo>
                    <a:pt x="975" y="526"/>
                  </a:lnTo>
                  <a:lnTo>
                    <a:pt x="980" y="617"/>
                  </a:lnTo>
                  <a:lnTo>
                    <a:pt x="980" y="708"/>
                  </a:lnTo>
                  <a:lnTo>
                    <a:pt x="975" y="798"/>
                  </a:lnTo>
                  <a:lnTo>
                    <a:pt x="966" y="889"/>
                  </a:lnTo>
                  <a:lnTo>
                    <a:pt x="950" y="977"/>
                  </a:lnTo>
                  <a:lnTo>
                    <a:pt x="929" y="1066"/>
                  </a:lnTo>
                  <a:lnTo>
                    <a:pt x="904" y="1154"/>
                  </a:lnTo>
                  <a:lnTo>
                    <a:pt x="873" y="1241"/>
                  </a:lnTo>
                  <a:lnTo>
                    <a:pt x="837" y="1326"/>
                  </a:lnTo>
                  <a:lnTo>
                    <a:pt x="796" y="1408"/>
                  </a:lnTo>
                  <a:lnTo>
                    <a:pt x="749" y="1489"/>
                  </a:lnTo>
                  <a:lnTo>
                    <a:pt x="697" y="1567"/>
                  </a:lnTo>
                  <a:lnTo>
                    <a:pt x="641" y="1643"/>
                  </a:lnTo>
                  <a:lnTo>
                    <a:pt x="579" y="1717"/>
                  </a:lnTo>
                  <a:lnTo>
                    <a:pt x="824" y="1963"/>
                  </a:lnTo>
                  <a:lnTo>
                    <a:pt x="0" y="1963"/>
                  </a:lnTo>
                  <a:lnTo>
                    <a:pt x="0" y="1134"/>
                  </a:lnTo>
                  <a:lnTo>
                    <a:pt x="237" y="1373"/>
                  </a:lnTo>
                  <a:lnTo>
                    <a:pt x="285" y="1313"/>
                  </a:lnTo>
                  <a:lnTo>
                    <a:pt x="327" y="1251"/>
                  </a:lnTo>
                  <a:lnTo>
                    <a:pt x="366" y="1188"/>
                  </a:lnTo>
                  <a:lnTo>
                    <a:pt x="399" y="1122"/>
                  </a:lnTo>
                  <a:lnTo>
                    <a:pt x="427" y="1054"/>
                  </a:lnTo>
                  <a:lnTo>
                    <a:pt x="451" y="985"/>
                  </a:lnTo>
                  <a:lnTo>
                    <a:pt x="470" y="915"/>
                  </a:lnTo>
                  <a:lnTo>
                    <a:pt x="484" y="844"/>
                  </a:lnTo>
                  <a:lnTo>
                    <a:pt x="494" y="773"/>
                  </a:lnTo>
                  <a:lnTo>
                    <a:pt x="498" y="700"/>
                  </a:lnTo>
                  <a:lnTo>
                    <a:pt x="499" y="628"/>
                  </a:lnTo>
                  <a:lnTo>
                    <a:pt x="494" y="556"/>
                  </a:lnTo>
                  <a:lnTo>
                    <a:pt x="484" y="484"/>
                  </a:lnTo>
                  <a:lnTo>
                    <a:pt x="470" y="413"/>
                  </a:lnTo>
                  <a:lnTo>
                    <a:pt x="451" y="343"/>
                  </a:lnTo>
                  <a:lnTo>
                    <a:pt x="427" y="274"/>
                  </a:lnTo>
                  <a:lnTo>
                    <a:pt x="399" y="207"/>
                  </a:lnTo>
                  <a:lnTo>
                    <a:pt x="83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4"/>
            <p:cNvSpPr>
              <a:spLocks/>
            </p:cNvSpPr>
            <p:nvPr/>
          </p:nvSpPr>
          <p:spPr bwMode="auto">
            <a:xfrm>
              <a:off x="3569" y="2300"/>
              <a:ext cx="391" cy="197"/>
            </a:xfrm>
            <a:custGeom>
              <a:avLst/>
              <a:gdLst>
                <a:gd name="T0" fmla="*/ 0 w 1953"/>
                <a:gd name="T1" fmla="*/ 0 h 986"/>
                <a:gd name="T2" fmla="*/ 825 w 1953"/>
                <a:gd name="T3" fmla="*/ 0 h 986"/>
                <a:gd name="T4" fmla="*/ 588 w 1953"/>
                <a:gd name="T5" fmla="*/ 239 h 986"/>
                <a:gd name="T6" fmla="*/ 648 w 1953"/>
                <a:gd name="T7" fmla="*/ 287 h 986"/>
                <a:gd name="T8" fmla="*/ 709 w 1953"/>
                <a:gd name="T9" fmla="*/ 330 h 986"/>
                <a:gd name="T10" fmla="*/ 772 w 1953"/>
                <a:gd name="T11" fmla="*/ 367 h 986"/>
                <a:gd name="T12" fmla="*/ 838 w 1953"/>
                <a:gd name="T13" fmla="*/ 401 h 986"/>
                <a:gd name="T14" fmla="*/ 905 w 1953"/>
                <a:gd name="T15" fmla="*/ 430 h 986"/>
                <a:gd name="T16" fmla="*/ 974 w 1953"/>
                <a:gd name="T17" fmla="*/ 454 h 986"/>
                <a:gd name="T18" fmla="*/ 1044 w 1953"/>
                <a:gd name="T19" fmla="*/ 473 h 986"/>
                <a:gd name="T20" fmla="*/ 1114 w 1953"/>
                <a:gd name="T21" fmla="*/ 488 h 986"/>
                <a:gd name="T22" fmla="*/ 1185 w 1953"/>
                <a:gd name="T23" fmla="*/ 497 h 986"/>
                <a:gd name="T24" fmla="*/ 1257 w 1953"/>
                <a:gd name="T25" fmla="*/ 502 h 986"/>
                <a:gd name="T26" fmla="*/ 1329 w 1953"/>
                <a:gd name="T27" fmla="*/ 502 h 986"/>
                <a:gd name="T28" fmla="*/ 1400 w 1953"/>
                <a:gd name="T29" fmla="*/ 497 h 986"/>
                <a:gd name="T30" fmla="*/ 1471 w 1953"/>
                <a:gd name="T31" fmla="*/ 488 h 986"/>
                <a:gd name="T32" fmla="*/ 1542 w 1953"/>
                <a:gd name="T33" fmla="*/ 473 h 986"/>
                <a:gd name="T34" fmla="*/ 1611 w 1953"/>
                <a:gd name="T35" fmla="*/ 454 h 986"/>
                <a:gd name="T36" fmla="*/ 1680 w 1953"/>
                <a:gd name="T37" fmla="*/ 430 h 986"/>
                <a:gd name="T38" fmla="*/ 1747 w 1953"/>
                <a:gd name="T39" fmla="*/ 402 h 986"/>
                <a:gd name="T40" fmla="*/ 1953 w 1953"/>
                <a:gd name="T41" fmla="*/ 839 h 986"/>
                <a:gd name="T42" fmla="*/ 1869 w 1953"/>
                <a:gd name="T43" fmla="*/ 875 h 986"/>
                <a:gd name="T44" fmla="*/ 1784 w 1953"/>
                <a:gd name="T45" fmla="*/ 907 h 986"/>
                <a:gd name="T46" fmla="*/ 1697 w 1953"/>
                <a:gd name="T47" fmla="*/ 933 h 986"/>
                <a:gd name="T48" fmla="*/ 1608 w 1953"/>
                <a:gd name="T49" fmla="*/ 955 h 986"/>
                <a:gd name="T50" fmla="*/ 1520 w 1953"/>
                <a:gd name="T51" fmla="*/ 971 h 986"/>
                <a:gd name="T52" fmla="*/ 1429 w 1953"/>
                <a:gd name="T53" fmla="*/ 981 h 986"/>
                <a:gd name="T54" fmla="*/ 1340 w 1953"/>
                <a:gd name="T55" fmla="*/ 986 h 986"/>
                <a:gd name="T56" fmla="*/ 1250 w 1953"/>
                <a:gd name="T57" fmla="*/ 986 h 986"/>
                <a:gd name="T58" fmla="*/ 1159 w 1953"/>
                <a:gd name="T59" fmla="*/ 981 h 986"/>
                <a:gd name="T60" fmla="*/ 1070 w 1953"/>
                <a:gd name="T61" fmla="*/ 972 h 986"/>
                <a:gd name="T62" fmla="*/ 980 w 1953"/>
                <a:gd name="T63" fmla="*/ 956 h 986"/>
                <a:gd name="T64" fmla="*/ 892 w 1953"/>
                <a:gd name="T65" fmla="*/ 935 h 986"/>
                <a:gd name="T66" fmla="*/ 806 w 1953"/>
                <a:gd name="T67" fmla="*/ 909 h 986"/>
                <a:gd name="T68" fmla="*/ 719 w 1953"/>
                <a:gd name="T69" fmla="*/ 879 h 986"/>
                <a:gd name="T70" fmla="*/ 635 w 1953"/>
                <a:gd name="T71" fmla="*/ 842 h 986"/>
                <a:gd name="T72" fmla="*/ 553 w 1953"/>
                <a:gd name="T73" fmla="*/ 801 h 986"/>
                <a:gd name="T74" fmla="*/ 472 w 1953"/>
                <a:gd name="T75" fmla="*/ 754 h 986"/>
                <a:gd name="T76" fmla="*/ 394 w 1953"/>
                <a:gd name="T77" fmla="*/ 702 h 986"/>
                <a:gd name="T78" fmla="*/ 319 w 1953"/>
                <a:gd name="T79" fmla="*/ 645 h 986"/>
                <a:gd name="T80" fmla="*/ 246 w 1953"/>
                <a:gd name="T81" fmla="*/ 583 h 986"/>
                <a:gd name="T82" fmla="*/ 0 w 1953"/>
                <a:gd name="T83" fmla="*/ 829 h 986"/>
                <a:gd name="T84" fmla="*/ 0 w 1953"/>
                <a:gd name="T85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53" h="986">
                  <a:moveTo>
                    <a:pt x="0" y="0"/>
                  </a:moveTo>
                  <a:lnTo>
                    <a:pt x="825" y="0"/>
                  </a:lnTo>
                  <a:lnTo>
                    <a:pt x="588" y="239"/>
                  </a:lnTo>
                  <a:lnTo>
                    <a:pt x="648" y="287"/>
                  </a:lnTo>
                  <a:lnTo>
                    <a:pt x="709" y="330"/>
                  </a:lnTo>
                  <a:lnTo>
                    <a:pt x="772" y="367"/>
                  </a:lnTo>
                  <a:lnTo>
                    <a:pt x="838" y="401"/>
                  </a:lnTo>
                  <a:lnTo>
                    <a:pt x="905" y="430"/>
                  </a:lnTo>
                  <a:lnTo>
                    <a:pt x="974" y="454"/>
                  </a:lnTo>
                  <a:lnTo>
                    <a:pt x="1044" y="473"/>
                  </a:lnTo>
                  <a:lnTo>
                    <a:pt x="1114" y="488"/>
                  </a:lnTo>
                  <a:lnTo>
                    <a:pt x="1185" y="497"/>
                  </a:lnTo>
                  <a:lnTo>
                    <a:pt x="1257" y="502"/>
                  </a:lnTo>
                  <a:lnTo>
                    <a:pt x="1329" y="502"/>
                  </a:lnTo>
                  <a:lnTo>
                    <a:pt x="1400" y="497"/>
                  </a:lnTo>
                  <a:lnTo>
                    <a:pt x="1471" y="488"/>
                  </a:lnTo>
                  <a:lnTo>
                    <a:pt x="1542" y="473"/>
                  </a:lnTo>
                  <a:lnTo>
                    <a:pt x="1611" y="454"/>
                  </a:lnTo>
                  <a:lnTo>
                    <a:pt x="1680" y="430"/>
                  </a:lnTo>
                  <a:lnTo>
                    <a:pt x="1747" y="402"/>
                  </a:lnTo>
                  <a:lnTo>
                    <a:pt x="1953" y="839"/>
                  </a:lnTo>
                  <a:lnTo>
                    <a:pt x="1869" y="875"/>
                  </a:lnTo>
                  <a:lnTo>
                    <a:pt x="1784" y="907"/>
                  </a:lnTo>
                  <a:lnTo>
                    <a:pt x="1697" y="933"/>
                  </a:lnTo>
                  <a:lnTo>
                    <a:pt x="1608" y="955"/>
                  </a:lnTo>
                  <a:lnTo>
                    <a:pt x="1520" y="971"/>
                  </a:lnTo>
                  <a:lnTo>
                    <a:pt x="1429" y="981"/>
                  </a:lnTo>
                  <a:lnTo>
                    <a:pt x="1340" y="986"/>
                  </a:lnTo>
                  <a:lnTo>
                    <a:pt x="1250" y="986"/>
                  </a:lnTo>
                  <a:lnTo>
                    <a:pt x="1159" y="981"/>
                  </a:lnTo>
                  <a:lnTo>
                    <a:pt x="1070" y="972"/>
                  </a:lnTo>
                  <a:lnTo>
                    <a:pt x="980" y="956"/>
                  </a:lnTo>
                  <a:lnTo>
                    <a:pt x="892" y="935"/>
                  </a:lnTo>
                  <a:lnTo>
                    <a:pt x="806" y="909"/>
                  </a:lnTo>
                  <a:lnTo>
                    <a:pt x="719" y="879"/>
                  </a:lnTo>
                  <a:lnTo>
                    <a:pt x="635" y="842"/>
                  </a:lnTo>
                  <a:lnTo>
                    <a:pt x="553" y="801"/>
                  </a:lnTo>
                  <a:lnTo>
                    <a:pt x="472" y="754"/>
                  </a:lnTo>
                  <a:lnTo>
                    <a:pt x="394" y="702"/>
                  </a:lnTo>
                  <a:lnTo>
                    <a:pt x="319" y="645"/>
                  </a:lnTo>
                  <a:lnTo>
                    <a:pt x="246" y="583"/>
                  </a:lnTo>
                  <a:lnTo>
                    <a:pt x="0" y="8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45"/>
            <p:cNvSpPr>
              <a:spLocks/>
            </p:cNvSpPr>
            <p:nvPr/>
          </p:nvSpPr>
          <p:spPr bwMode="auto">
            <a:xfrm>
              <a:off x="3501" y="1888"/>
              <a:ext cx="196" cy="393"/>
            </a:xfrm>
            <a:custGeom>
              <a:avLst/>
              <a:gdLst>
                <a:gd name="T0" fmla="*/ 155 w 980"/>
                <a:gd name="T1" fmla="*/ 0 h 1964"/>
                <a:gd name="T2" fmla="*/ 980 w 980"/>
                <a:gd name="T3" fmla="*/ 0 h 1964"/>
                <a:gd name="T4" fmla="*/ 980 w 980"/>
                <a:gd name="T5" fmla="*/ 830 h 1964"/>
                <a:gd name="T6" fmla="*/ 743 w 980"/>
                <a:gd name="T7" fmla="*/ 592 h 1964"/>
                <a:gd name="T8" fmla="*/ 695 w 980"/>
                <a:gd name="T9" fmla="*/ 651 h 1964"/>
                <a:gd name="T10" fmla="*/ 653 w 980"/>
                <a:gd name="T11" fmla="*/ 713 h 1964"/>
                <a:gd name="T12" fmla="*/ 614 w 980"/>
                <a:gd name="T13" fmla="*/ 777 h 1964"/>
                <a:gd name="T14" fmla="*/ 581 w 980"/>
                <a:gd name="T15" fmla="*/ 843 h 1964"/>
                <a:gd name="T16" fmla="*/ 553 w 980"/>
                <a:gd name="T17" fmla="*/ 909 h 1964"/>
                <a:gd name="T18" fmla="*/ 529 w 980"/>
                <a:gd name="T19" fmla="*/ 978 h 1964"/>
                <a:gd name="T20" fmla="*/ 510 w 980"/>
                <a:gd name="T21" fmla="*/ 1050 h 1964"/>
                <a:gd name="T22" fmla="*/ 496 w 980"/>
                <a:gd name="T23" fmla="*/ 1120 h 1964"/>
                <a:gd name="T24" fmla="*/ 487 w 980"/>
                <a:gd name="T25" fmla="*/ 1192 h 1964"/>
                <a:gd name="T26" fmla="*/ 481 w 980"/>
                <a:gd name="T27" fmla="*/ 1264 h 1964"/>
                <a:gd name="T28" fmla="*/ 481 w 980"/>
                <a:gd name="T29" fmla="*/ 1336 h 1964"/>
                <a:gd name="T30" fmla="*/ 487 w 980"/>
                <a:gd name="T31" fmla="*/ 1408 h 1964"/>
                <a:gd name="T32" fmla="*/ 496 w 980"/>
                <a:gd name="T33" fmla="*/ 1479 h 1964"/>
                <a:gd name="T34" fmla="*/ 509 w 980"/>
                <a:gd name="T35" fmla="*/ 1550 h 1964"/>
                <a:gd name="T36" fmla="*/ 529 w 980"/>
                <a:gd name="T37" fmla="*/ 1620 h 1964"/>
                <a:gd name="T38" fmla="*/ 552 w 980"/>
                <a:gd name="T39" fmla="*/ 1689 h 1964"/>
                <a:gd name="T40" fmla="*/ 581 w 980"/>
                <a:gd name="T41" fmla="*/ 1757 h 1964"/>
                <a:gd name="T42" fmla="*/ 146 w 980"/>
                <a:gd name="T43" fmla="*/ 1964 h 1964"/>
                <a:gd name="T44" fmla="*/ 109 w 980"/>
                <a:gd name="T45" fmla="*/ 1880 h 1964"/>
                <a:gd name="T46" fmla="*/ 78 w 980"/>
                <a:gd name="T47" fmla="*/ 1794 h 1964"/>
                <a:gd name="T48" fmla="*/ 52 w 980"/>
                <a:gd name="T49" fmla="*/ 1706 h 1964"/>
                <a:gd name="T50" fmla="*/ 31 w 980"/>
                <a:gd name="T51" fmla="*/ 1617 h 1964"/>
                <a:gd name="T52" fmla="*/ 16 w 980"/>
                <a:gd name="T53" fmla="*/ 1528 h 1964"/>
                <a:gd name="T54" fmla="*/ 5 w 980"/>
                <a:gd name="T55" fmla="*/ 1437 h 1964"/>
                <a:gd name="T56" fmla="*/ 0 w 980"/>
                <a:gd name="T57" fmla="*/ 1348 h 1964"/>
                <a:gd name="T58" fmla="*/ 0 w 980"/>
                <a:gd name="T59" fmla="*/ 1257 h 1964"/>
                <a:gd name="T60" fmla="*/ 4 w 980"/>
                <a:gd name="T61" fmla="*/ 1166 h 1964"/>
                <a:gd name="T62" fmla="*/ 15 w 980"/>
                <a:gd name="T63" fmla="*/ 1076 h 1964"/>
                <a:gd name="T64" fmla="*/ 30 w 980"/>
                <a:gd name="T65" fmla="*/ 986 h 1964"/>
                <a:gd name="T66" fmla="*/ 51 w 980"/>
                <a:gd name="T67" fmla="*/ 897 h 1964"/>
                <a:gd name="T68" fmla="*/ 76 w 980"/>
                <a:gd name="T69" fmla="*/ 810 h 1964"/>
                <a:gd name="T70" fmla="*/ 107 w 980"/>
                <a:gd name="T71" fmla="*/ 723 h 1964"/>
                <a:gd name="T72" fmla="*/ 143 w 980"/>
                <a:gd name="T73" fmla="*/ 639 h 1964"/>
                <a:gd name="T74" fmla="*/ 184 w 980"/>
                <a:gd name="T75" fmla="*/ 556 h 1964"/>
                <a:gd name="T76" fmla="*/ 231 w 980"/>
                <a:gd name="T77" fmla="*/ 475 h 1964"/>
                <a:gd name="T78" fmla="*/ 282 w 980"/>
                <a:gd name="T79" fmla="*/ 396 h 1964"/>
                <a:gd name="T80" fmla="*/ 339 w 980"/>
                <a:gd name="T81" fmla="*/ 320 h 1964"/>
                <a:gd name="T82" fmla="*/ 400 w 980"/>
                <a:gd name="T83" fmla="*/ 247 h 1964"/>
                <a:gd name="T84" fmla="*/ 155 w 980"/>
                <a:gd name="T85" fmla="*/ 0 h 1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0" h="1964">
                  <a:moveTo>
                    <a:pt x="155" y="0"/>
                  </a:moveTo>
                  <a:lnTo>
                    <a:pt x="980" y="0"/>
                  </a:lnTo>
                  <a:lnTo>
                    <a:pt x="980" y="830"/>
                  </a:lnTo>
                  <a:lnTo>
                    <a:pt x="743" y="592"/>
                  </a:lnTo>
                  <a:lnTo>
                    <a:pt x="695" y="651"/>
                  </a:lnTo>
                  <a:lnTo>
                    <a:pt x="653" y="713"/>
                  </a:lnTo>
                  <a:lnTo>
                    <a:pt x="614" y="777"/>
                  </a:lnTo>
                  <a:lnTo>
                    <a:pt x="581" y="843"/>
                  </a:lnTo>
                  <a:lnTo>
                    <a:pt x="553" y="909"/>
                  </a:lnTo>
                  <a:lnTo>
                    <a:pt x="529" y="978"/>
                  </a:lnTo>
                  <a:lnTo>
                    <a:pt x="510" y="1050"/>
                  </a:lnTo>
                  <a:lnTo>
                    <a:pt x="496" y="1120"/>
                  </a:lnTo>
                  <a:lnTo>
                    <a:pt x="487" y="1192"/>
                  </a:lnTo>
                  <a:lnTo>
                    <a:pt x="481" y="1264"/>
                  </a:lnTo>
                  <a:lnTo>
                    <a:pt x="481" y="1336"/>
                  </a:lnTo>
                  <a:lnTo>
                    <a:pt x="487" y="1408"/>
                  </a:lnTo>
                  <a:lnTo>
                    <a:pt x="496" y="1479"/>
                  </a:lnTo>
                  <a:lnTo>
                    <a:pt x="509" y="1550"/>
                  </a:lnTo>
                  <a:lnTo>
                    <a:pt x="529" y="1620"/>
                  </a:lnTo>
                  <a:lnTo>
                    <a:pt x="552" y="1689"/>
                  </a:lnTo>
                  <a:lnTo>
                    <a:pt x="581" y="1757"/>
                  </a:lnTo>
                  <a:lnTo>
                    <a:pt x="146" y="1964"/>
                  </a:lnTo>
                  <a:lnTo>
                    <a:pt x="109" y="1880"/>
                  </a:lnTo>
                  <a:lnTo>
                    <a:pt x="78" y="1794"/>
                  </a:lnTo>
                  <a:lnTo>
                    <a:pt x="52" y="1706"/>
                  </a:lnTo>
                  <a:lnTo>
                    <a:pt x="31" y="1617"/>
                  </a:lnTo>
                  <a:lnTo>
                    <a:pt x="16" y="1528"/>
                  </a:lnTo>
                  <a:lnTo>
                    <a:pt x="5" y="1437"/>
                  </a:lnTo>
                  <a:lnTo>
                    <a:pt x="0" y="1348"/>
                  </a:lnTo>
                  <a:lnTo>
                    <a:pt x="0" y="1257"/>
                  </a:lnTo>
                  <a:lnTo>
                    <a:pt x="4" y="1166"/>
                  </a:lnTo>
                  <a:lnTo>
                    <a:pt x="15" y="1076"/>
                  </a:lnTo>
                  <a:lnTo>
                    <a:pt x="30" y="986"/>
                  </a:lnTo>
                  <a:lnTo>
                    <a:pt x="51" y="897"/>
                  </a:lnTo>
                  <a:lnTo>
                    <a:pt x="76" y="810"/>
                  </a:lnTo>
                  <a:lnTo>
                    <a:pt x="107" y="723"/>
                  </a:lnTo>
                  <a:lnTo>
                    <a:pt x="143" y="639"/>
                  </a:lnTo>
                  <a:lnTo>
                    <a:pt x="184" y="556"/>
                  </a:lnTo>
                  <a:lnTo>
                    <a:pt x="231" y="475"/>
                  </a:lnTo>
                  <a:lnTo>
                    <a:pt x="282" y="396"/>
                  </a:lnTo>
                  <a:lnTo>
                    <a:pt x="339" y="320"/>
                  </a:lnTo>
                  <a:lnTo>
                    <a:pt x="400" y="247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46"/>
            <p:cNvSpPr>
              <a:spLocks/>
            </p:cNvSpPr>
            <p:nvPr/>
          </p:nvSpPr>
          <p:spPr bwMode="auto">
            <a:xfrm>
              <a:off x="3715" y="1820"/>
              <a:ext cx="391" cy="197"/>
            </a:xfrm>
            <a:custGeom>
              <a:avLst/>
              <a:gdLst>
                <a:gd name="T0" fmla="*/ 705 w 1953"/>
                <a:gd name="T1" fmla="*/ 0 h 986"/>
                <a:gd name="T2" fmla="*/ 794 w 1953"/>
                <a:gd name="T3" fmla="*/ 4 h 986"/>
                <a:gd name="T4" fmla="*/ 884 w 1953"/>
                <a:gd name="T5" fmla="*/ 15 h 986"/>
                <a:gd name="T6" fmla="*/ 973 w 1953"/>
                <a:gd name="T7" fmla="*/ 30 h 986"/>
                <a:gd name="T8" fmla="*/ 1061 w 1953"/>
                <a:gd name="T9" fmla="*/ 51 h 986"/>
                <a:gd name="T10" fmla="*/ 1148 w 1953"/>
                <a:gd name="T11" fmla="*/ 76 h 986"/>
                <a:gd name="T12" fmla="*/ 1235 w 1953"/>
                <a:gd name="T13" fmla="*/ 108 h 986"/>
                <a:gd name="T14" fmla="*/ 1319 w 1953"/>
                <a:gd name="T15" fmla="*/ 144 h 986"/>
                <a:gd name="T16" fmla="*/ 1401 w 1953"/>
                <a:gd name="T17" fmla="*/ 185 h 986"/>
                <a:gd name="T18" fmla="*/ 1482 w 1953"/>
                <a:gd name="T19" fmla="*/ 232 h 986"/>
                <a:gd name="T20" fmla="*/ 1560 w 1953"/>
                <a:gd name="T21" fmla="*/ 283 h 986"/>
                <a:gd name="T22" fmla="*/ 1635 w 1953"/>
                <a:gd name="T23" fmla="*/ 341 h 986"/>
                <a:gd name="T24" fmla="*/ 1708 w 1953"/>
                <a:gd name="T25" fmla="*/ 403 h 986"/>
                <a:gd name="T26" fmla="*/ 1953 w 1953"/>
                <a:gd name="T27" fmla="*/ 156 h 986"/>
                <a:gd name="T28" fmla="*/ 1953 w 1953"/>
                <a:gd name="T29" fmla="*/ 986 h 986"/>
                <a:gd name="T30" fmla="*/ 1129 w 1953"/>
                <a:gd name="T31" fmla="*/ 986 h 986"/>
                <a:gd name="T32" fmla="*/ 1366 w 1953"/>
                <a:gd name="T33" fmla="*/ 748 h 986"/>
                <a:gd name="T34" fmla="*/ 1307 w 1953"/>
                <a:gd name="T35" fmla="*/ 699 h 986"/>
                <a:gd name="T36" fmla="*/ 1245 w 1953"/>
                <a:gd name="T37" fmla="*/ 657 h 986"/>
                <a:gd name="T38" fmla="*/ 1182 w 1953"/>
                <a:gd name="T39" fmla="*/ 618 h 986"/>
                <a:gd name="T40" fmla="*/ 1116 w 1953"/>
                <a:gd name="T41" fmla="*/ 584 h 986"/>
                <a:gd name="T42" fmla="*/ 1049 w 1953"/>
                <a:gd name="T43" fmla="*/ 556 h 986"/>
                <a:gd name="T44" fmla="*/ 980 w 1953"/>
                <a:gd name="T45" fmla="*/ 532 h 986"/>
                <a:gd name="T46" fmla="*/ 910 w 1953"/>
                <a:gd name="T47" fmla="*/ 513 h 986"/>
                <a:gd name="T48" fmla="*/ 840 w 1953"/>
                <a:gd name="T49" fmla="*/ 499 h 986"/>
                <a:gd name="T50" fmla="*/ 769 w 1953"/>
                <a:gd name="T51" fmla="*/ 489 h 986"/>
                <a:gd name="T52" fmla="*/ 697 w 1953"/>
                <a:gd name="T53" fmla="*/ 484 h 986"/>
                <a:gd name="T54" fmla="*/ 626 w 1953"/>
                <a:gd name="T55" fmla="*/ 484 h 986"/>
                <a:gd name="T56" fmla="*/ 554 w 1953"/>
                <a:gd name="T57" fmla="*/ 489 h 986"/>
                <a:gd name="T58" fmla="*/ 482 w 1953"/>
                <a:gd name="T59" fmla="*/ 499 h 986"/>
                <a:gd name="T60" fmla="*/ 412 w 1953"/>
                <a:gd name="T61" fmla="*/ 512 h 986"/>
                <a:gd name="T62" fmla="*/ 342 w 1953"/>
                <a:gd name="T63" fmla="*/ 532 h 986"/>
                <a:gd name="T64" fmla="*/ 273 w 1953"/>
                <a:gd name="T65" fmla="*/ 555 h 986"/>
                <a:gd name="T66" fmla="*/ 207 w 1953"/>
                <a:gd name="T67" fmla="*/ 584 h 986"/>
                <a:gd name="T68" fmla="*/ 0 w 1953"/>
                <a:gd name="T69" fmla="*/ 146 h 986"/>
                <a:gd name="T70" fmla="*/ 84 w 1953"/>
                <a:gd name="T71" fmla="*/ 110 h 986"/>
                <a:gd name="T72" fmla="*/ 170 w 1953"/>
                <a:gd name="T73" fmla="*/ 78 h 986"/>
                <a:gd name="T74" fmla="*/ 258 w 1953"/>
                <a:gd name="T75" fmla="*/ 52 h 986"/>
                <a:gd name="T76" fmla="*/ 346 w 1953"/>
                <a:gd name="T77" fmla="*/ 31 h 986"/>
                <a:gd name="T78" fmla="*/ 434 w 1953"/>
                <a:gd name="T79" fmla="*/ 16 h 986"/>
                <a:gd name="T80" fmla="*/ 524 w 1953"/>
                <a:gd name="T81" fmla="*/ 5 h 986"/>
                <a:gd name="T82" fmla="*/ 614 w 1953"/>
                <a:gd name="T83" fmla="*/ 0 h 986"/>
                <a:gd name="T84" fmla="*/ 705 w 1953"/>
                <a:gd name="T85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53" h="986">
                  <a:moveTo>
                    <a:pt x="705" y="0"/>
                  </a:moveTo>
                  <a:lnTo>
                    <a:pt x="794" y="4"/>
                  </a:lnTo>
                  <a:lnTo>
                    <a:pt x="884" y="15"/>
                  </a:lnTo>
                  <a:lnTo>
                    <a:pt x="973" y="30"/>
                  </a:lnTo>
                  <a:lnTo>
                    <a:pt x="1061" y="51"/>
                  </a:lnTo>
                  <a:lnTo>
                    <a:pt x="1148" y="76"/>
                  </a:lnTo>
                  <a:lnTo>
                    <a:pt x="1235" y="108"/>
                  </a:lnTo>
                  <a:lnTo>
                    <a:pt x="1319" y="144"/>
                  </a:lnTo>
                  <a:lnTo>
                    <a:pt x="1401" y="185"/>
                  </a:lnTo>
                  <a:lnTo>
                    <a:pt x="1482" y="232"/>
                  </a:lnTo>
                  <a:lnTo>
                    <a:pt x="1560" y="283"/>
                  </a:lnTo>
                  <a:lnTo>
                    <a:pt x="1635" y="341"/>
                  </a:lnTo>
                  <a:lnTo>
                    <a:pt x="1708" y="403"/>
                  </a:lnTo>
                  <a:lnTo>
                    <a:pt x="1953" y="156"/>
                  </a:lnTo>
                  <a:lnTo>
                    <a:pt x="1953" y="986"/>
                  </a:lnTo>
                  <a:lnTo>
                    <a:pt x="1129" y="986"/>
                  </a:lnTo>
                  <a:lnTo>
                    <a:pt x="1366" y="748"/>
                  </a:lnTo>
                  <a:lnTo>
                    <a:pt x="1307" y="699"/>
                  </a:lnTo>
                  <a:lnTo>
                    <a:pt x="1245" y="657"/>
                  </a:lnTo>
                  <a:lnTo>
                    <a:pt x="1182" y="618"/>
                  </a:lnTo>
                  <a:lnTo>
                    <a:pt x="1116" y="584"/>
                  </a:lnTo>
                  <a:lnTo>
                    <a:pt x="1049" y="556"/>
                  </a:lnTo>
                  <a:lnTo>
                    <a:pt x="980" y="532"/>
                  </a:lnTo>
                  <a:lnTo>
                    <a:pt x="910" y="513"/>
                  </a:lnTo>
                  <a:lnTo>
                    <a:pt x="840" y="499"/>
                  </a:lnTo>
                  <a:lnTo>
                    <a:pt x="769" y="489"/>
                  </a:lnTo>
                  <a:lnTo>
                    <a:pt x="697" y="484"/>
                  </a:lnTo>
                  <a:lnTo>
                    <a:pt x="626" y="484"/>
                  </a:lnTo>
                  <a:lnTo>
                    <a:pt x="554" y="489"/>
                  </a:lnTo>
                  <a:lnTo>
                    <a:pt x="482" y="499"/>
                  </a:lnTo>
                  <a:lnTo>
                    <a:pt x="412" y="512"/>
                  </a:lnTo>
                  <a:lnTo>
                    <a:pt x="342" y="532"/>
                  </a:lnTo>
                  <a:lnTo>
                    <a:pt x="273" y="555"/>
                  </a:lnTo>
                  <a:lnTo>
                    <a:pt x="207" y="584"/>
                  </a:lnTo>
                  <a:lnTo>
                    <a:pt x="0" y="146"/>
                  </a:lnTo>
                  <a:lnTo>
                    <a:pt x="84" y="110"/>
                  </a:lnTo>
                  <a:lnTo>
                    <a:pt x="170" y="78"/>
                  </a:lnTo>
                  <a:lnTo>
                    <a:pt x="258" y="52"/>
                  </a:lnTo>
                  <a:lnTo>
                    <a:pt x="346" y="31"/>
                  </a:lnTo>
                  <a:lnTo>
                    <a:pt x="434" y="16"/>
                  </a:lnTo>
                  <a:lnTo>
                    <a:pt x="524" y="5"/>
                  </a:lnTo>
                  <a:lnTo>
                    <a:pt x="614" y="0"/>
                  </a:lnTo>
                  <a:lnTo>
                    <a:pt x="70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47"/>
            <p:cNvSpPr>
              <a:spLocks/>
            </p:cNvSpPr>
            <p:nvPr/>
          </p:nvSpPr>
          <p:spPr bwMode="auto">
            <a:xfrm>
              <a:off x="3706" y="2026"/>
              <a:ext cx="263" cy="265"/>
            </a:xfrm>
            <a:custGeom>
              <a:avLst/>
              <a:gdLst>
                <a:gd name="T0" fmla="*/ 722 w 1318"/>
                <a:gd name="T1" fmla="*/ 3 h 1325"/>
                <a:gd name="T2" fmla="*/ 844 w 1318"/>
                <a:gd name="T3" fmla="*/ 27 h 1325"/>
                <a:gd name="T4" fmla="*/ 957 w 1318"/>
                <a:gd name="T5" fmla="*/ 71 h 1325"/>
                <a:gd name="T6" fmla="*/ 1058 w 1318"/>
                <a:gd name="T7" fmla="*/ 136 h 1325"/>
                <a:gd name="T8" fmla="*/ 1146 w 1318"/>
                <a:gd name="T9" fmla="*/ 216 h 1325"/>
                <a:gd name="T10" fmla="*/ 1218 w 1318"/>
                <a:gd name="T11" fmla="*/ 311 h 1325"/>
                <a:gd name="T12" fmla="*/ 1272 w 1318"/>
                <a:gd name="T13" fmla="*/ 419 h 1325"/>
                <a:gd name="T14" fmla="*/ 1307 w 1318"/>
                <a:gd name="T15" fmla="*/ 537 h 1325"/>
                <a:gd name="T16" fmla="*/ 1318 w 1318"/>
                <a:gd name="T17" fmla="*/ 663 h 1325"/>
                <a:gd name="T18" fmla="*/ 1307 w 1318"/>
                <a:gd name="T19" fmla="*/ 789 h 1325"/>
                <a:gd name="T20" fmla="*/ 1272 w 1318"/>
                <a:gd name="T21" fmla="*/ 907 h 1325"/>
                <a:gd name="T22" fmla="*/ 1218 w 1318"/>
                <a:gd name="T23" fmla="*/ 1015 h 1325"/>
                <a:gd name="T24" fmla="*/ 1146 w 1318"/>
                <a:gd name="T25" fmla="*/ 1110 h 1325"/>
                <a:gd name="T26" fmla="*/ 1058 w 1318"/>
                <a:gd name="T27" fmla="*/ 1191 h 1325"/>
                <a:gd name="T28" fmla="*/ 957 w 1318"/>
                <a:gd name="T29" fmla="*/ 1254 h 1325"/>
                <a:gd name="T30" fmla="*/ 844 w 1318"/>
                <a:gd name="T31" fmla="*/ 1299 h 1325"/>
                <a:gd name="T32" fmla="*/ 722 w 1318"/>
                <a:gd name="T33" fmla="*/ 1322 h 1325"/>
                <a:gd name="T34" fmla="*/ 596 w 1318"/>
                <a:gd name="T35" fmla="*/ 1322 h 1325"/>
                <a:gd name="T36" fmla="*/ 474 w 1318"/>
                <a:gd name="T37" fmla="*/ 1299 h 1325"/>
                <a:gd name="T38" fmla="*/ 362 w 1318"/>
                <a:gd name="T39" fmla="*/ 1254 h 1325"/>
                <a:gd name="T40" fmla="*/ 261 w 1318"/>
                <a:gd name="T41" fmla="*/ 1191 h 1325"/>
                <a:gd name="T42" fmla="*/ 173 w 1318"/>
                <a:gd name="T43" fmla="*/ 1110 h 1325"/>
                <a:gd name="T44" fmla="*/ 101 w 1318"/>
                <a:gd name="T45" fmla="*/ 1015 h 1325"/>
                <a:gd name="T46" fmla="*/ 47 w 1318"/>
                <a:gd name="T47" fmla="*/ 907 h 1325"/>
                <a:gd name="T48" fmla="*/ 12 w 1318"/>
                <a:gd name="T49" fmla="*/ 789 h 1325"/>
                <a:gd name="T50" fmla="*/ 0 w 1318"/>
                <a:gd name="T51" fmla="*/ 663 h 1325"/>
                <a:gd name="T52" fmla="*/ 12 w 1318"/>
                <a:gd name="T53" fmla="*/ 537 h 1325"/>
                <a:gd name="T54" fmla="*/ 47 w 1318"/>
                <a:gd name="T55" fmla="*/ 419 h 1325"/>
                <a:gd name="T56" fmla="*/ 101 w 1318"/>
                <a:gd name="T57" fmla="*/ 311 h 1325"/>
                <a:gd name="T58" fmla="*/ 173 w 1318"/>
                <a:gd name="T59" fmla="*/ 216 h 1325"/>
                <a:gd name="T60" fmla="*/ 261 w 1318"/>
                <a:gd name="T61" fmla="*/ 136 h 1325"/>
                <a:gd name="T62" fmla="*/ 362 w 1318"/>
                <a:gd name="T63" fmla="*/ 71 h 1325"/>
                <a:gd name="T64" fmla="*/ 474 w 1318"/>
                <a:gd name="T65" fmla="*/ 27 h 1325"/>
                <a:gd name="T66" fmla="*/ 596 w 1318"/>
                <a:gd name="T67" fmla="*/ 3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18" h="1325">
                  <a:moveTo>
                    <a:pt x="659" y="0"/>
                  </a:moveTo>
                  <a:lnTo>
                    <a:pt x="722" y="3"/>
                  </a:lnTo>
                  <a:lnTo>
                    <a:pt x="785" y="12"/>
                  </a:lnTo>
                  <a:lnTo>
                    <a:pt x="844" y="27"/>
                  </a:lnTo>
                  <a:lnTo>
                    <a:pt x="902" y="47"/>
                  </a:lnTo>
                  <a:lnTo>
                    <a:pt x="957" y="71"/>
                  </a:lnTo>
                  <a:lnTo>
                    <a:pt x="1009" y="101"/>
                  </a:lnTo>
                  <a:lnTo>
                    <a:pt x="1058" y="136"/>
                  </a:lnTo>
                  <a:lnTo>
                    <a:pt x="1104" y="173"/>
                  </a:lnTo>
                  <a:lnTo>
                    <a:pt x="1146" y="216"/>
                  </a:lnTo>
                  <a:lnTo>
                    <a:pt x="1184" y="262"/>
                  </a:lnTo>
                  <a:lnTo>
                    <a:pt x="1218" y="311"/>
                  </a:lnTo>
                  <a:lnTo>
                    <a:pt x="1247" y="364"/>
                  </a:lnTo>
                  <a:lnTo>
                    <a:pt x="1272" y="419"/>
                  </a:lnTo>
                  <a:lnTo>
                    <a:pt x="1292" y="477"/>
                  </a:lnTo>
                  <a:lnTo>
                    <a:pt x="1307" y="537"/>
                  </a:lnTo>
                  <a:lnTo>
                    <a:pt x="1315" y="599"/>
                  </a:lnTo>
                  <a:lnTo>
                    <a:pt x="1318" y="663"/>
                  </a:lnTo>
                  <a:lnTo>
                    <a:pt x="1315" y="726"/>
                  </a:lnTo>
                  <a:lnTo>
                    <a:pt x="1307" y="789"/>
                  </a:lnTo>
                  <a:lnTo>
                    <a:pt x="1292" y="849"/>
                  </a:lnTo>
                  <a:lnTo>
                    <a:pt x="1272" y="907"/>
                  </a:lnTo>
                  <a:lnTo>
                    <a:pt x="1247" y="962"/>
                  </a:lnTo>
                  <a:lnTo>
                    <a:pt x="1218" y="1015"/>
                  </a:lnTo>
                  <a:lnTo>
                    <a:pt x="1184" y="1064"/>
                  </a:lnTo>
                  <a:lnTo>
                    <a:pt x="1146" y="1110"/>
                  </a:lnTo>
                  <a:lnTo>
                    <a:pt x="1104" y="1152"/>
                  </a:lnTo>
                  <a:lnTo>
                    <a:pt x="1058" y="1191"/>
                  </a:lnTo>
                  <a:lnTo>
                    <a:pt x="1009" y="1225"/>
                  </a:lnTo>
                  <a:lnTo>
                    <a:pt x="957" y="1254"/>
                  </a:lnTo>
                  <a:lnTo>
                    <a:pt x="902" y="1279"/>
                  </a:lnTo>
                  <a:lnTo>
                    <a:pt x="844" y="1299"/>
                  </a:lnTo>
                  <a:lnTo>
                    <a:pt x="785" y="1314"/>
                  </a:lnTo>
                  <a:lnTo>
                    <a:pt x="722" y="1322"/>
                  </a:lnTo>
                  <a:lnTo>
                    <a:pt x="659" y="1325"/>
                  </a:lnTo>
                  <a:lnTo>
                    <a:pt x="596" y="1322"/>
                  </a:lnTo>
                  <a:lnTo>
                    <a:pt x="534" y="1314"/>
                  </a:lnTo>
                  <a:lnTo>
                    <a:pt x="474" y="1299"/>
                  </a:lnTo>
                  <a:lnTo>
                    <a:pt x="417" y="1279"/>
                  </a:lnTo>
                  <a:lnTo>
                    <a:pt x="362" y="1254"/>
                  </a:lnTo>
                  <a:lnTo>
                    <a:pt x="310" y="1225"/>
                  </a:lnTo>
                  <a:lnTo>
                    <a:pt x="261" y="1191"/>
                  </a:lnTo>
                  <a:lnTo>
                    <a:pt x="215" y="1152"/>
                  </a:lnTo>
                  <a:lnTo>
                    <a:pt x="173" y="1110"/>
                  </a:lnTo>
                  <a:lnTo>
                    <a:pt x="135" y="1064"/>
                  </a:lnTo>
                  <a:lnTo>
                    <a:pt x="101" y="1015"/>
                  </a:lnTo>
                  <a:lnTo>
                    <a:pt x="72" y="962"/>
                  </a:lnTo>
                  <a:lnTo>
                    <a:pt x="47" y="907"/>
                  </a:lnTo>
                  <a:lnTo>
                    <a:pt x="27" y="849"/>
                  </a:lnTo>
                  <a:lnTo>
                    <a:pt x="12" y="789"/>
                  </a:lnTo>
                  <a:lnTo>
                    <a:pt x="3" y="726"/>
                  </a:lnTo>
                  <a:lnTo>
                    <a:pt x="0" y="663"/>
                  </a:lnTo>
                  <a:lnTo>
                    <a:pt x="3" y="599"/>
                  </a:lnTo>
                  <a:lnTo>
                    <a:pt x="12" y="537"/>
                  </a:lnTo>
                  <a:lnTo>
                    <a:pt x="27" y="477"/>
                  </a:lnTo>
                  <a:lnTo>
                    <a:pt x="47" y="419"/>
                  </a:lnTo>
                  <a:lnTo>
                    <a:pt x="72" y="364"/>
                  </a:lnTo>
                  <a:lnTo>
                    <a:pt x="101" y="311"/>
                  </a:lnTo>
                  <a:lnTo>
                    <a:pt x="135" y="262"/>
                  </a:lnTo>
                  <a:lnTo>
                    <a:pt x="173" y="216"/>
                  </a:lnTo>
                  <a:lnTo>
                    <a:pt x="215" y="173"/>
                  </a:lnTo>
                  <a:lnTo>
                    <a:pt x="261" y="136"/>
                  </a:lnTo>
                  <a:lnTo>
                    <a:pt x="310" y="101"/>
                  </a:lnTo>
                  <a:lnTo>
                    <a:pt x="362" y="71"/>
                  </a:lnTo>
                  <a:lnTo>
                    <a:pt x="417" y="47"/>
                  </a:lnTo>
                  <a:lnTo>
                    <a:pt x="474" y="27"/>
                  </a:lnTo>
                  <a:lnTo>
                    <a:pt x="534" y="12"/>
                  </a:lnTo>
                  <a:lnTo>
                    <a:pt x="596" y="3"/>
                  </a:lnTo>
                  <a:lnTo>
                    <a:pt x="6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Group 50"/>
          <p:cNvGrpSpPr>
            <a:grpSpLocks noChangeAspect="1"/>
          </p:cNvGrpSpPr>
          <p:nvPr/>
        </p:nvGrpSpPr>
        <p:grpSpPr bwMode="auto">
          <a:xfrm>
            <a:off x="6611749" y="2148261"/>
            <a:ext cx="664399" cy="457200"/>
            <a:chOff x="2277" y="1085"/>
            <a:chExt cx="3120" cy="2147"/>
          </a:xfrm>
          <a:solidFill>
            <a:schemeClr val="bg1"/>
          </a:solidFill>
        </p:grpSpPr>
        <p:sp>
          <p:nvSpPr>
            <p:cNvPr id="111" name="Freeform 52"/>
            <p:cNvSpPr>
              <a:spLocks/>
            </p:cNvSpPr>
            <p:nvPr/>
          </p:nvSpPr>
          <p:spPr bwMode="auto">
            <a:xfrm>
              <a:off x="3194" y="1207"/>
              <a:ext cx="1054" cy="91"/>
            </a:xfrm>
            <a:custGeom>
              <a:avLst/>
              <a:gdLst>
                <a:gd name="T0" fmla="*/ 91 w 2109"/>
                <a:gd name="T1" fmla="*/ 0 h 182"/>
                <a:gd name="T2" fmla="*/ 2016 w 2109"/>
                <a:gd name="T3" fmla="*/ 0 h 182"/>
                <a:gd name="T4" fmla="*/ 2044 w 2109"/>
                <a:gd name="T5" fmla="*/ 4 h 182"/>
                <a:gd name="T6" fmla="*/ 2071 w 2109"/>
                <a:gd name="T7" fmla="*/ 17 h 182"/>
                <a:gd name="T8" fmla="*/ 2090 w 2109"/>
                <a:gd name="T9" fmla="*/ 36 h 182"/>
                <a:gd name="T10" fmla="*/ 2103 w 2109"/>
                <a:gd name="T11" fmla="*/ 63 h 182"/>
                <a:gd name="T12" fmla="*/ 2109 w 2109"/>
                <a:gd name="T13" fmla="*/ 91 h 182"/>
                <a:gd name="T14" fmla="*/ 2103 w 2109"/>
                <a:gd name="T15" fmla="*/ 120 h 182"/>
                <a:gd name="T16" fmla="*/ 2090 w 2109"/>
                <a:gd name="T17" fmla="*/ 144 h 182"/>
                <a:gd name="T18" fmla="*/ 2071 w 2109"/>
                <a:gd name="T19" fmla="*/ 165 h 182"/>
                <a:gd name="T20" fmla="*/ 2044 w 2109"/>
                <a:gd name="T21" fmla="*/ 178 h 182"/>
                <a:gd name="T22" fmla="*/ 2016 w 2109"/>
                <a:gd name="T23" fmla="*/ 182 h 182"/>
                <a:gd name="T24" fmla="*/ 91 w 2109"/>
                <a:gd name="T25" fmla="*/ 182 h 182"/>
                <a:gd name="T26" fmla="*/ 62 w 2109"/>
                <a:gd name="T27" fmla="*/ 178 h 182"/>
                <a:gd name="T28" fmla="*/ 36 w 2109"/>
                <a:gd name="T29" fmla="*/ 165 h 182"/>
                <a:gd name="T30" fmla="*/ 17 w 2109"/>
                <a:gd name="T31" fmla="*/ 144 h 182"/>
                <a:gd name="T32" fmla="*/ 4 w 2109"/>
                <a:gd name="T33" fmla="*/ 120 h 182"/>
                <a:gd name="T34" fmla="*/ 0 w 2109"/>
                <a:gd name="T35" fmla="*/ 91 h 182"/>
                <a:gd name="T36" fmla="*/ 4 w 2109"/>
                <a:gd name="T37" fmla="*/ 63 h 182"/>
                <a:gd name="T38" fmla="*/ 17 w 2109"/>
                <a:gd name="T39" fmla="*/ 36 h 182"/>
                <a:gd name="T40" fmla="*/ 36 w 2109"/>
                <a:gd name="T41" fmla="*/ 17 h 182"/>
                <a:gd name="T42" fmla="*/ 62 w 2109"/>
                <a:gd name="T43" fmla="*/ 4 h 182"/>
                <a:gd name="T44" fmla="*/ 91 w 2109"/>
                <a:gd name="T45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9" h="182">
                  <a:moveTo>
                    <a:pt x="91" y="0"/>
                  </a:moveTo>
                  <a:lnTo>
                    <a:pt x="2016" y="0"/>
                  </a:lnTo>
                  <a:lnTo>
                    <a:pt x="2044" y="4"/>
                  </a:lnTo>
                  <a:lnTo>
                    <a:pt x="2071" y="17"/>
                  </a:lnTo>
                  <a:lnTo>
                    <a:pt x="2090" y="36"/>
                  </a:lnTo>
                  <a:lnTo>
                    <a:pt x="2103" y="63"/>
                  </a:lnTo>
                  <a:lnTo>
                    <a:pt x="2109" y="91"/>
                  </a:lnTo>
                  <a:lnTo>
                    <a:pt x="2103" y="120"/>
                  </a:lnTo>
                  <a:lnTo>
                    <a:pt x="2090" y="144"/>
                  </a:lnTo>
                  <a:lnTo>
                    <a:pt x="2071" y="165"/>
                  </a:lnTo>
                  <a:lnTo>
                    <a:pt x="2044" y="178"/>
                  </a:lnTo>
                  <a:lnTo>
                    <a:pt x="2016" y="182"/>
                  </a:lnTo>
                  <a:lnTo>
                    <a:pt x="91" y="182"/>
                  </a:lnTo>
                  <a:lnTo>
                    <a:pt x="62" y="178"/>
                  </a:lnTo>
                  <a:lnTo>
                    <a:pt x="36" y="165"/>
                  </a:lnTo>
                  <a:lnTo>
                    <a:pt x="17" y="144"/>
                  </a:lnTo>
                  <a:lnTo>
                    <a:pt x="4" y="120"/>
                  </a:lnTo>
                  <a:lnTo>
                    <a:pt x="0" y="91"/>
                  </a:lnTo>
                  <a:lnTo>
                    <a:pt x="4" y="63"/>
                  </a:lnTo>
                  <a:lnTo>
                    <a:pt x="17" y="36"/>
                  </a:lnTo>
                  <a:lnTo>
                    <a:pt x="36" y="17"/>
                  </a:lnTo>
                  <a:lnTo>
                    <a:pt x="62" y="4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53"/>
            <p:cNvSpPr>
              <a:spLocks/>
            </p:cNvSpPr>
            <p:nvPr/>
          </p:nvSpPr>
          <p:spPr bwMode="auto">
            <a:xfrm>
              <a:off x="2333" y="1655"/>
              <a:ext cx="1054" cy="92"/>
            </a:xfrm>
            <a:custGeom>
              <a:avLst/>
              <a:gdLst>
                <a:gd name="T0" fmla="*/ 91 w 2108"/>
                <a:gd name="T1" fmla="*/ 0 h 184"/>
                <a:gd name="T2" fmla="*/ 2016 w 2108"/>
                <a:gd name="T3" fmla="*/ 0 h 184"/>
                <a:gd name="T4" fmla="*/ 2046 w 2108"/>
                <a:gd name="T5" fmla="*/ 6 h 184"/>
                <a:gd name="T6" fmla="*/ 2071 w 2108"/>
                <a:gd name="T7" fmla="*/ 19 h 184"/>
                <a:gd name="T8" fmla="*/ 2089 w 2108"/>
                <a:gd name="T9" fmla="*/ 38 h 184"/>
                <a:gd name="T10" fmla="*/ 2103 w 2108"/>
                <a:gd name="T11" fmla="*/ 63 h 184"/>
                <a:gd name="T12" fmla="*/ 2108 w 2108"/>
                <a:gd name="T13" fmla="*/ 93 h 184"/>
                <a:gd name="T14" fmla="*/ 2103 w 2108"/>
                <a:gd name="T15" fmla="*/ 122 h 184"/>
                <a:gd name="T16" fmla="*/ 2089 w 2108"/>
                <a:gd name="T17" fmla="*/ 146 h 184"/>
                <a:gd name="T18" fmla="*/ 2071 w 2108"/>
                <a:gd name="T19" fmla="*/ 167 h 184"/>
                <a:gd name="T20" fmla="*/ 2046 w 2108"/>
                <a:gd name="T21" fmla="*/ 178 h 184"/>
                <a:gd name="T22" fmla="*/ 2016 w 2108"/>
                <a:gd name="T23" fmla="*/ 184 h 184"/>
                <a:gd name="T24" fmla="*/ 91 w 2108"/>
                <a:gd name="T25" fmla="*/ 184 h 184"/>
                <a:gd name="T26" fmla="*/ 62 w 2108"/>
                <a:gd name="T27" fmla="*/ 178 h 184"/>
                <a:gd name="T28" fmla="*/ 36 w 2108"/>
                <a:gd name="T29" fmla="*/ 167 h 184"/>
                <a:gd name="T30" fmla="*/ 17 w 2108"/>
                <a:gd name="T31" fmla="*/ 146 h 184"/>
                <a:gd name="T32" fmla="*/ 4 w 2108"/>
                <a:gd name="T33" fmla="*/ 122 h 184"/>
                <a:gd name="T34" fmla="*/ 0 w 2108"/>
                <a:gd name="T35" fmla="*/ 93 h 184"/>
                <a:gd name="T36" fmla="*/ 4 w 2108"/>
                <a:gd name="T37" fmla="*/ 63 h 184"/>
                <a:gd name="T38" fmla="*/ 17 w 2108"/>
                <a:gd name="T39" fmla="*/ 38 h 184"/>
                <a:gd name="T40" fmla="*/ 36 w 2108"/>
                <a:gd name="T41" fmla="*/ 19 h 184"/>
                <a:gd name="T42" fmla="*/ 62 w 2108"/>
                <a:gd name="T43" fmla="*/ 6 h 184"/>
                <a:gd name="T44" fmla="*/ 91 w 2108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8" h="184">
                  <a:moveTo>
                    <a:pt x="91" y="0"/>
                  </a:moveTo>
                  <a:lnTo>
                    <a:pt x="2016" y="0"/>
                  </a:lnTo>
                  <a:lnTo>
                    <a:pt x="2046" y="6"/>
                  </a:lnTo>
                  <a:lnTo>
                    <a:pt x="2071" y="19"/>
                  </a:lnTo>
                  <a:lnTo>
                    <a:pt x="2089" y="38"/>
                  </a:lnTo>
                  <a:lnTo>
                    <a:pt x="2103" y="63"/>
                  </a:lnTo>
                  <a:lnTo>
                    <a:pt x="2108" y="93"/>
                  </a:lnTo>
                  <a:lnTo>
                    <a:pt x="2103" y="122"/>
                  </a:lnTo>
                  <a:lnTo>
                    <a:pt x="2089" y="146"/>
                  </a:lnTo>
                  <a:lnTo>
                    <a:pt x="2071" y="167"/>
                  </a:lnTo>
                  <a:lnTo>
                    <a:pt x="2046" y="178"/>
                  </a:lnTo>
                  <a:lnTo>
                    <a:pt x="2016" y="184"/>
                  </a:lnTo>
                  <a:lnTo>
                    <a:pt x="91" y="184"/>
                  </a:lnTo>
                  <a:lnTo>
                    <a:pt x="62" y="178"/>
                  </a:lnTo>
                  <a:lnTo>
                    <a:pt x="36" y="167"/>
                  </a:lnTo>
                  <a:lnTo>
                    <a:pt x="17" y="146"/>
                  </a:lnTo>
                  <a:lnTo>
                    <a:pt x="4" y="122"/>
                  </a:lnTo>
                  <a:lnTo>
                    <a:pt x="0" y="93"/>
                  </a:lnTo>
                  <a:lnTo>
                    <a:pt x="4" y="63"/>
                  </a:lnTo>
                  <a:lnTo>
                    <a:pt x="17" y="38"/>
                  </a:lnTo>
                  <a:lnTo>
                    <a:pt x="36" y="19"/>
                  </a:lnTo>
                  <a:lnTo>
                    <a:pt x="62" y="6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54"/>
            <p:cNvSpPr>
              <a:spLocks/>
            </p:cNvSpPr>
            <p:nvPr/>
          </p:nvSpPr>
          <p:spPr bwMode="auto">
            <a:xfrm>
              <a:off x="2637" y="2172"/>
              <a:ext cx="1054" cy="92"/>
            </a:xfrm>
            <a:custGeom>
              <a:avLst/>
              <a:gdLst>
                <a:gd name="T0" fmla="*/ 91 w 2109"/>
                <a:gd name="T1" fmla="*/ 0 h 184"/>
                <a:gd name="T2" fmla="*/ 2016 w 2109"/>
                <a:gd name="T3" fmla="*/ 0 h 184"/>
                <a:gd name="T4" fmla="*/ 2046 w 2109"/>
                <a:gd name="T5" fmla="*/ 5 h 184"/>
                <a:gd name="T6" fmla="*/ 2071 w 2109"/>
                <a:gd name="T7" fmla="*/ 17 h 184"/>
                <a:gd name="T8" fmla="*/ 2090 w 2109"/>
                <a:gd name="T9" fmla="*/ 38 h 184"/>
                <a:gd name="T10" fmla="*/ 2103 w 2109"/>
                <a:gd name="T11" fmla="*/ 62 h 184"/>
                <a:gd name="T12" fmla="*/ 2109 w 2109"/>
                <a:gd name="T13" fmla="*/ 91 h 184"/>
                <a:gd name="T14" fmla="*/ 2103 w 2109"/>
                <a:gd name="T15" fmla="*/ 121 h 184"/>
                <a:gd name="T16" fmla="*/ 2090 w 2109"/>
                <a:gd name="T17" fmla="*/ 146 h 184"/>
                <a:gd name="T18" fmla="*/ 2071 w 2109"/>
                <a:gd name="T19" fmla="*/ 165 h 184"/>
                <a:gd name="T20" fmla="*/ 2046 w 2109"/>
                <a:gd name="T21" fmla="*/ 178 h 184"/>
                <a:gd name="T22" fmla="*/ 2016 w 2109"/>
                <a:gd name="T23" fmla="*/ 184 h 184"/>
                <a:gd name="T24" fmla="*/ 91 w 2109"/>
                <a:gd name="T25" fmla="*/ 184 h 184"/>
                <a:gd name="T26" fmla="*/ 62 w 2109"/>
                <a:gd name="T27" fmla="*/ 178 h 184"/>
                <a:gd name="T28" fmla="*/ 38 w 2109"/>
                <a:gd name="T29" fmla="*/ 165 h 184"/>
                <a:gd name="T30" fmla="*/ 17 w 2109"/>
                <a:gd name="T31" fmla="*/ 146 h 184"/>
                <a:gd name="T32" fmla="*/ 4 w 2109"/>
                <a:gd name="T33" fmla="*/ 121 h 184"/>
                <a:gd name="T34" fmla="*/ 0 w 2109"/>
                <a:gd name="T35" fmla="*/ 91 h 184"/>
                <a:gd name="T36" fmla="*/ 4 w 2109"/>
                <a:gd name="T37" fmla="*/ 62 h 184"/>
                <a:gd name="T38" fmla="*/ 17 w 2109"/>
                <a:gd name="T39" fmla="*/ 38 h 184"/>
                <a:gd name="T40" fmla="*/ 38 w 2109"/>
                <a:gd name="T41" fmla="*/ 17 h 184"/>
                <a:gd name="T42" fmla="*/ 62 w 2109"/>
                <a:gd name="T43" fmla="*/ 5 h 184"/>
                <a:gd name="T44" fmla="*/ 91 w 2109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9" h="184">
                  <a:moveTo>
                    <a:pt x="91" y="0"/>
                  </a:moveTo>
                  <a:lnTo>
                    <a:pt x="2016" y="0"/>
                  </a:lnTo>
                  <a:lnTo>
                    <a:pt x="2046" y="5"/>
                  </a:lnTo>
                  <a:lnTo>
                    <a:pt x="2071" y="17"/>
                  </a:lnTo>
                  <a:lnTo>
                    <a:pt x="2090" y="38"/>
                  </a:lnTo>
                  <a:lnTo>
                    <a:pt x="2103" y="62"/>
                  </a:lnTo>
                  <a:lnTo>
                    <a:pt x="2109" y="91"/>
                  </a:lnTo>
                  <a:lnTo>
                    <a:pt x="2103" y="121"/>
                  </a:lnTo>
                  <a:lnTo>
                    <a:pt x="2090" y="146"/>
                  </a:lnTo>
                  <a:lnTo>
                    <a:pt x="2071" y="165"/>
                  </a:lnTo>
                  <a:lnTo>
                    <a:pt x="2046" y="178"/>
                  </a:lnTo>
                  <a:lnTo>
                    <a:pt x="2016" y="184"/>
                  </a:lnTo>
                  <a:lnTo>
                    <a:pt x="91" y="184"/>
                  </a:lnTo>
                  <a:lnTo>
                    <a:pt x="62" y="178"/>
                  </a:lnTo>
                  <a:lnTo>
                    <a:pt x="38" y="165"/>
                  </a:lnTo>
                  <a:lnTo>
                    <a:pt x="17" y="146"/>
                  </a:lnTo>
                  <a:lnTo>
                    <a:pt x="4" y="121"/>
                  </a:lnTo>
                  <a:lnTo>
                    <a:pt x="0" y="91"/>
                  </a:lnTo>
                  <a:lnTo>
                    <a:pt x="4" y="62"/>
                  </a:lnTo>
                  <a:lnTo>
                    <a:pt x="17" y="38"/>
                  </a:lnTo>
                  <a:lnTo>
                    <a:pt x="38" y="17"/>
                  </a:lnTo>
                  <a:lnTo>
                    <a:pt x="62" y="5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55"/>
            <p:cNvSpPr>
              <a:spLocks/>
            </p:cNvSpPr>
            <p:nvPr/>
          </p:nvSpPr>
          <p:spPr bwMode="auto">
            <a:xfrm>
              <a:off x="2277" y="2751"/>
              <a:ext cx="957" cy="92"/>
            </a:xfrm>
            <a:custGeom>
              <a:avLst/>
              <a:gdLst>
                <a:gd name="T0" fmla="*/ 91 w 1913"/>
                <a:gd name="T1" fmla="*/ 0 h 184"/>
                <a:gd name="T2" fmla="*/ 1821 w 1913"/>
                <a:gd name="T3" fmla="*/ 0 h 184"/>
                <a:gd name="T4" fmla="*/ 1851 w 1913"/>
                <a:gd name="T5" fmla="*/ 6 h 184"/>
                <a:gd name="T6" fmla="*/ 1876 w 1913"/>
                <a:gd name="T7" fmla="*/ 19 h 184"/>
                <a:gd name="T8" fmla="*/ 1895 w 1913"/>
                <a:gd name="T9" fmla="*/ 38 h 184"/>
                <a:gd name="T10" fmla="*/ 1908 w 1913"/>
                <a:gd name="T11" fmla="*/ 63 h 184"/>
                <a:gd name="T12" fmla="*/ 1913 w 1913"/>
                <a:gd name="T13" fmla="*/ 93 h 184"/>
                <a:gd name="T14" fmla="*/ 1908 w 1913"/>
                <a:gd name="T15" fmla="*/ 122 h 184"/>
                <a:gd name="T16" fmla="*/ 1895 w 1913"/>
                <a:gd name="T17" fmla="*/ 146 h 184"/>
                <a:gd name="T18" fmla="*/ 1876 w 1913"/>
                <a:gd name="T19" fmla="*/ 167 h 184"/>
                <a:gd name="T20" fmla="*/ 1851 w 1913"/>
                <a:gd name="T21" fmla="*/ 181 h 184"/>
                <a:gd name="T22" fmla="*/ 1821 w 1913"/>
                <a:gd name="T23" fmla="*/ 184 h 184"/>
                <a:gd name="T24" fmla="*/ 91 w 1913"/>
                <a:gd name="T25" fmla="*/ 184 h 184"/>
                <a:gd name="T26" fmla="*/ 63 w 1913"/>
                <a:gd name="T27" fmla="*/ 181 h 184"/>
                <a:gd name="T28" fmla="*/ 38 w 1913"/>
                <a:gd name="T29" fmla="*/ 167 h 184"/>
                <a:gd name="T30" fmla="*/ 17 w 1913"/>
                <a:gd name="T31" fmla="*/ 146 h 184"/>
                <a:gd name="T32" fmla="*/ 4 w 1913"/>
                <a:gd name="T33" fmla="*/ 122 h 184"/>
                <a:gd name="T34" fmla="*/ 0 w 1913"/>
                <a:gd name="T35" fmla="*/ 93 h 184"/>
                <a:gd name="T36" fmla="*/ 4 w 1913"/>
                <a:gd name="T37" fmla="*/ 63 h 184"/>
                <a:gd name="T38" fmla="*/ 17 w 1913"/>
                <a:gd name="T39" fmla="*/ 38 h 184"/>
                <a:gd name="T40" fmla="*/ 38 w 1913"/>
                <a:gd name="T41" fmla="*/ 19 h 184"/>
                <a:gd name="T42" fmla="*/ 63 w 1913"/>
                <a:gd name="T43" fmla="*/ 6 h 184"/>
                <a:gd name="T44" fmla="*/ 91 w 1913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13" h="184">
                  <a:moveTo>
                    <a:pt x="91" y="0"/>
                  </a:moveTo>
                  <a:lnTo>
                    <a:pt x="1821" y="0"/>
                  </a:lnTo>
                  <a:lnTo>
                    <a:pt x="1851" y="6"/>
                  </a:lnTo>
                  <a:lnTo>
                    <a:pt x="1876" y="19"/>
                  </a:lnTo>
                  <a:lnTo>
                    <a:pt x="1895" y="38"/>
                  </a:lnTo>
                  <a:lnTo>
                    <a:pt x="1908" y="63"/>
                  </a:lnTo>
                  <a:lnTo>
                    <a:pt x="1913" y="93"/>
                  </a:lnTo>
                  <a:lnTo>
                    <a:pt x="1908" y="122"/>
                  </a:lnTo>
                  <a:lnTo>
                    <a:pt x="1895" y="146"/>
                  </a:lnTo>
                  <a:lnTo>
                    <a:pt x="1876" y="167"/>
                  </a:lnTo>
                  <a:lnTo>
                    <a:pt x="1851" y="181"/>
                  </a:lnTo>
                  <a:lnTo>
                    <a:pt x="1821" y="184"/>
                  </a:lnTo>
                  <a:lnTo>
                    <a:pt x="91" y="184"/>
                  </a:lnTo>
                  <a:lnTo>
                    <a:pt x="63" y="181"/>
                  </a:lnTo>
                  <a:lnTo>
                    <a:pt x="38" y="167"/>
                  </a:lnTo>
                  <a:lnTo>
                    <a:pt x="17" y="146"/>
                  </a:lnTo>
                  <a:lnTo>
                    <a:pt x="4" y="122"/>
                  </a:lnTo>
                  <a:lnTo>
                    <a:pt x="0" y="93"/>
                  </a:lnTo>
                  <a:lnTo>
                    <a:pt x="4" y="63"/>
                  </a:lnTo>
                  <a:lnTo>
                    <a:pt x="17" y="38"/>
                  </a:lnTo>
                  <a:lnTo>
                    <a:pt x="38" y="19"/>
                  </a:lnTo>
                  <a:lnTo>
                    <a:pt x="63" y="6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56"/>
            <p:cNvSpPr>
              <a:spLocks/>
            </p:cNvSpPr>
            <p:nvPr/>
          </p:nvSpPr>
          <p:spPr bwMode="auto">
            <a:xfrm>
              <a:off x="4494" y="1085"/>
              <a:ext cx="500" cy="500"/>
            </a:xfrm>
            <a:custGeom>
              <a:avLst/>
              <a:gdLst>
                <a:gd name="T0" fmla="*/ 500 w 1001"/>
                <a:gd name="T1" fmla="*/ 0 h 1002"/>
                <a:gd name="T2" fmla="*/ 500 w 1001"/>
                <a:gd name="T3" fmla="*/ 0 h 1002"/>
                <a:gd name="T4" fmla="*/ 574 w 1001"/>
                <a:gd name="T5" fmla="*/ 6 h 1002"/>
                <a:gd name="T6" fmla="*/ 646 w 1001"/>
                <a:gd name="T7" fmla="*/ 21 h 1002"/>
                <a:gd name="T8" fmla="*/ 713 w 1001"/>
                <a:gd name="T9" fmla="*/ 48 h 1002"/>
                <a:gd name="T10" fmla="*/ 773 w 1001"/>
                <a:gd name="T11" fmla="*/ 82 h 1002"/>
                <a:gd name="T12" fmla="*/ 830 w 1001"/>
                <a:gd name="T13" fmla="*/ 124 h 1002"/>
                <a:gd name="T14" fmla="*/ 879 w 1001"/>
                <a:gd name="T15" fmla="*/ 173 h 1002"/>
                <a:gd name="T16" fmla="*/ 921 w 1001"/>
                <a:gd name="T17" fmla="*/ 228 h 1002"/>
                <a:gd name="T18" fmla="*/ 955 w 1001"/>
                <a:gd name="T19" fmla="*/ 291 h 1002"/>
                <a:gd name="T20" fmla="*/ 980 w 1001"/>
                <a:gd name="T21" fmla="*/ 357 h 1002"/>
                <a:gd name="T22" fmla="*/ 997 w 1001"/>
                <a:gd name="T23" fmla="*/ 427 h 1002"/>
                <a:gd name="T24" fmla="*/ 1001 w 1001"/>
                <a:gd name="T25" fmla="*/ 501 h 1002"/>
                <a:gd name="T26" fmla="*/ 997 w 1001"/>
                <a:gd name="T27" fmla="*/ 575 h 1002"/>
                <a:gd name="T28" fmla="*/ 980 w 1001"/>
                <a:gd name="T29" fmla="*/ 647 h 1002"/>
                <a:gd name="T30" fmla="*/ 955 w 1001"/>
                <a:gd name="T31" fmla="*/ 714 h 1002"/>
                <a:gd name="T32" fmla="*/ 921 w 1001"/>
                <a:gd name="T33" fmla="*/ 774 h 1002"/>
                <a:gd name="T34" fmla="*/ 879 w 1001"/>
                <a:gd name="T35" fmla="*/ 831 h 1002"/>
                <a:gd name="T36" fmla="*/ 830 w 1001"/>
                <a:gd name="T37" fmla="*/ 880 h 1002"/>
                <a:gd name="T38" fmla="*/ 773 w 1001"/>
                <a:gd name="T39" fmla="*/ 922 h 1002"/>
                <a:gd name="T40" fmla="*/ 713 w 1001"/>
                <a:gd name="T41" fmla="*/ 956 h 1002"/>
                <a:gd name="T42" fmla="*/ 646 w 1001"/>
                <a:gd name="T43" fmla="*/ 981 h 1002"/>
                <a:gd name="T44" fmla="*/ 574 w 1001"/>
                <a:gd name="T45" fmla="*/ 996 h 1002"/>
                <a:gd name="T46" fmla="*/ 500 w 1001"/>
                <a:gd name="T47" fmla="*/ 1002 h 1002"/>
                <a:gd name="T48" fmla="*/ 427 w 1001"/>
                <a:gd name="T49" fmla="*/ 996 h 1002"/>
                <a:gd name="T50" fmla="*/ 356 w 1001"/>
                <a:gd name="T51" fmla="*/ 981 h 1002"/>
                <a:gd name="T52" fmla="*/ 290 w 1001"/>
                <a:gd name="T53" fmla="*/ 956 h 1002"/>
                <a:gd name="T54" fmla="*/ 229 w 1001"/>
                <a:gd name="T55" fmla="*/ 922 h 1002"/>
                <a:gd name="T56" fmla="*/ 173 w 1001"/>
                <a:gd name="T57" fmla="*/ 880 h 1002"/>
                <a:gd name="T58" fmla="*/ 123 w 1001"/>
                <a:gd name="T59" fmla="*/ 831 h 1002"/>
                <a:gd name="T60" fmla="*/ 82 w 1001"/>
                <a:gd name="T61" fmla="*/ 774 h 1002"/>
                <a:gd name="T62" fmla="*/ 48 w 1001"/>
                <a:gd name="T63" fmla="*/ 714 h 1002"/>
                <a:gd name="T64" fmla="*/ 21 w 1001"/>
                <a:gd name="T65" fmla="*/ 647 h 1002"/>
                <a:gd name="T66" fmla="*/ 6 w 1001"/>
                <a:gd name="T67" fmla="*/ 575 h 1002"/>
                <a:gd name="T68" fmla="*/ 0 w 1001"/>
                <a:gd name="T69" fmla="*/ 501 h 1002"/>
                <a:gd name="T70" fmla="*/ 6 w 1001"/>
                <a:gd name="T71" fmla="*/ 427 h 1002"/>
                <a:gd name="T72" fmla="*/ 21 w 1001"/>
                <a:gd name="T73" fmla="*/ 357 h 1002"/>
                <a:gd name="T74" fmla="*/ 48 w 1001"/>
                <a:gd name="T75" fmla="*/ 291 h 1002"/>
                <a:gd name="T76" fmla="*/ 82 w 1001"/>
                <a:gd name="T77" fmla="*/ 228 h 1002"/>
                <a:gd name="T78" fmla="*/ 123 w 1001"/>
                <a:gd name="T79" fmla="*/ 173 h 1002"/>
                <a:gd name="T80" fmla="*/ 173 w 1001"/>
                <a:gd name="T81" fmla="*/ 124 h 1002"/>
                <a:gd name="T82" fmla="*/ 229 w 1001"/>
                <a:gd name="T83" fmla="*/ 82 h 1002"/>
                <a:gd name="T84" fmla="*/ 290 w 1001"/>
                <a:gd name="T85" fmla="*/ 48 h 1002"/>
                <a:gd name="T86" fmla="*/ 356 w 1001"/>
                <a:gd name="T87" fmla="*/ 21 h 1002"/>
                <a:gd name="T88" fmla="*/ 427 w 1001"/>
                <a:gd name="T89" fmla="*/ 6 h 1002"/>
                <a:gd name="T90" fmla="*/ 500 w 1001"/>
                <a:gd name="T91" fmla="*/ 0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01" h="1002">
                  <a:moveTo>
                    <a:pt x="500" y="0"/>
                  </a:moveTo>
                  <a:lnTo>
                    <a:pt x="500" y="0"/>
                  </a:lnTo>
                  <a:lnTo>
                    <a:pt x="574" y="6"/>
                  </a:lnTo>
                  <a:lnTo>
                    <a:pt x="646" y="21"/>
                  </a:lnTo>
                  <a:lnTo>
                    <a:pt x="713" y="48"/>
                  </a:lnTo>
                  <a:lnTo>
                    <a:pt x="773" y="82"/>
                  </a:lnTo>
                  <a:lnTo>
                    <a:pt x="830" y="124"/>
                  </a:lnTo>
                  <a:lnTo>
                    <a:pt x="879" y="173"/>
                  </a:lnTo>
                  <a:lnTo>
                    <a:pt x="921" y="228"/>
                  </a:lnTo>
                  <a:lnTo>
                    <a:pt x="955" y="291"/>
                  </a:lnTo>
                  <a:lnTo>
                    <a:pt x="980" y="357"/>
                  </a:lnTo>
                  <a:lnTo>
                    <a:pt x="997" y="427"/>
                  </a:lnTo>
                  <a:lnTo>
                    <a:pt x="1001" y="501"/>
                  </a:lnTo>
                  <a:lnTo>
                    <a:pt x="997" y="575"/>
                  </a:lnTo>
                  <a:lnTo>
                    <a:pt x="980" y="647"/>
                  </a:lnTo>
                  <a:lnTo>
                    <a:pt x="955" y="714"/>
                  </a:lnTo>
                  <a:lnTo>
                    <a:pt x="921" y="774"/>
                  </a:lnTo>
                  <a:lnTo>
                    <a:pt x="879" y="831"/>
                  </a:lnTo>
                  <a:lnTo>
                    <a:pt x="830" y="880"/>
                  </a:lnTo>
                  <a:lnTo>
                    <a:pt x="773" y="922"/>
                  </a:lnTo>
                  <a:lnTo>
                    <a:pt x="713" y="956"/>
                  </a:lnTo>
                  <a:lnTo>
                    <a:pt x="646" y="981"/>
                  </a:lnTo>
                  <a:lnTo>
                    <a:pt x="574" y="996"/>
                  </a:lnTo>
                  <a:lnTo>
                    <a:pt x="500" y="1002"/>
                  </a:lnTo>
                  <a:lnTo>
                    <a:pt x="427" y="996"/>
                  </a:lnTo>
                  <a:lnTo>
                    <a:pt x="356" y="981"/>
                  </a:lnTo>
                  <a:lnTo>
                    <a:pt x="290" y="956"/>
                  </a:lnTo>
                  <a:lnTo>
                    <a:pt x="229" y="922"/>
                  </a:lnTo>
                  <a:lnTo>
                    <a:pt x="173" y="880"/>
                  </a:lnTo>
                  <a:lnTo>
                    <a:pt x="123" y="831"/>
                  </a:lnTo>
                  <a:lnTo>
                    <a:pt x="82" y="774"/>
                  </a:lnTo>
                  <a:lnTo>
                    <a:pt x="48" y="714"/>
                  </a:lnTo>
                  <a:lnTo>
                    <a:pt x="21" y="647"/>
                  </a:lnTo>
                  <a:lnTo>
                    <a:pt x="6" y="575"/>
                  </a:lnTo>
                  <a:lnTo>
                    <a:pt x="0" y="501"/>
                  </a:lnTo>
                  <a:lnTo>
                    <a:pt x="6" y="427"/>
                  </a:lnTo>
                  <a:lnTo>
                    <a:pt x="21" y="357"/>
                  </a:lnTo>
                  <a:lnTo>
                    <a:pt x="48" y="291"/>
                  </a:lnTo>
                  <a:lnTo>
                    <a:pt x="82" y="228"/>
                  </a:lnTo>
                  <a:lnTo>
                    <a:pt x="123" y="173"/>
                  </a:lnTo>
                  <a:lnTo>
                    <a:pt x="173" y="124"/>
                  </a:lnTo>
                  <a:lnTo>
                    <a:pt x="229" y="82"/>
                  </a:lnTo>
                  <a:lnTo>
                    <a:pt x="290" y="48"/>
                  </a:lnTo>
                  <a:lnTo>
                    <a:pt x="356" y="21"/>
                  </a:lnTo>
                  <a:lnTo>
                    <a:pt x="427" y="6"/>
                  </a:lnTo>
                  <a:lnTo>
                    <a:pt x="5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57"/>
            <p:cNvSpPr>
              <a:spLocks/>
            </p:cNvSpPr>
            <p:nvPr/>
          </p:nvSpPr>
          <p:spPr bwMode="auto">
            <a:xfrm>
              <a:off x="3272" y="1455"/>
              <a:ext cx="2125" cy="1777"/>
            </a:xfrm>
            <a:custGeom>
              <a:avLst/>
              <a:gdLst>
                <a:gd name="T0" fmla="*/ 2151 w 4252"/>
                <a:gd name="T1" fmla="*/ 59 h 3554"/>
                <a:gd name="T2" fmla="*/ 2516 w 4252"/>
                <a:gd name="T3" fmla="*/ 226 h 3554"/>
                <a:gd name="T4" fmla="*/ 2620 w 4252"/>
                <a:gd name="T5" fmla="*/ 284 h 3554"/>
                <a:gd name="T6" fmla="*/ 2770 w 4252"/>
                <a:gd name="T7" fmla="*/ 368 h 3554"/>
                <a:gd name="T8" fmla="*/ 3111 w 4252"/>
                <a:gd name="T9" fmla="*/ 468 h 3554"/>
                <a:gd name="T10" fmla="*/ 3426 w 4252"/>
                <a:gd name="T11" fmla="*/ 415 h 3554"/>
                <a:gd name="T12" fmla="*/ 3706 w 4252"/>
                <a:gd name="T13" fmla="*/ 197 h 3554"/>
                <a:gd name="T14" fmla="*/ 3878 w 4252"/>
                <a:gd name="T15" fmla="*/ 25 h 3554"/>
                <a:gd name="T16" fmla="*/ 4049 w 4252"/>
                <a:gd name="T17" fmla="*/ 13 h 3554"/>
                <a:gd name="T18" fmla="*/ 4193 w 4252"/>
                <a:gd name="T19" fmla="*/ 97 h 3554"/>
                <a:gd name="T20" fmla="*/ 4252 w 4252"/>
                <a:gd name="T21" fmla="*/ 243 h 3554"/>
                <a:gd name="T22" fmla="*/ 4123 w 4252"/>
                <a:gd name="T23" fmla="*/ 476 h 3554"/>
                <a:gd name="T24" fmla="*/ 3761 w 4252"/>
                <a:gd name="T25" fmla="*/ 798 h 3554"/>
                <a:gd name="T26" fmla="*/ 3346 w 4252"/>
                <a:gd name="T27" fmla="*/ 956 h 3554"/>
                <a:gd name="T28" fmla="*/ 2897 w 4252"/>
                <a:gd name="T29" fmla="*/ 944 h 3554"/>
                <a:gd name="T30" fmla="*/ 2296 w 4252"/>
                <a:gd name="T31" fmla="*/ 1805 h 3554"/>
                <a:gd name="T32" fmla="*/ 2579 w 4252"/>
                <a:gd name="T33" fmla="*/ 1976 h 3554"/>
                <a:gd name="T34" fmla="*/ 2836 w 4252"/>
                <a:gd name="T35" fmla="*/ 2164 h 3554"/>
                <a:gd name="T36" fmla="*/ 3011 w 4252"/>
                <a:gd name="T37" fmla="*/ 2321 h 3554"/>
                <a:gd name="T38" fmla="*/ 3174 w 4252"/>
                <a:gd name="T39" fmla="*/ 2589 h 3554"/>
                <a:gd name="T40" fmla="*/ 3329 w 4252"/>
                <a:gd name="T41" fmla="*/ 2913 h 3554"/>
                <a:gd name="T42" fmla="*/ 3462 w 4252"/>
                <a:gd name="T43" fmla="*/ 3199 h 3554"/>
                <a:gd name="T44" fmla="*/ 3481 w 4252"/>
                <a:gd name="T45" fmla="*/ 3370 h 3554"/>
                <a:gd name="T46" fmla="*/ 3392 w 4252"/>
                <a:gd name="T47" fmla="*/ 3495 h 3554"/>
                <a:gd name="T48" fmla="*/ 3244 w 4252"/>
                <a:gd name="T49" fmla="*/ 3552 h 3554"/>
                <a:gd name="T50" fmla="*/ 3092 w 4252"/>
                <a:gd name="T51" fmla="*/ 3516 h 3554"/>
                <a:gd name="T52" fmla="*/ 2978 w 4252"/>
                <a:gd name="T53" fmla="*/ 3358 h 3554"/>
                <a:gd name="T54" fmla="*/ 2857 w 4252"/>
                <a:gd name="T55" fmla="*/ 3091 h 3554"/>
                <a:gd name="T56" fmla="*/ 2723 w 4252"/>
                <a:gd name="T57" fmla="*/ 2818 h 3554"/>
                <a:gd name="T58" fmla="*/ 2601 w 4252"/>
                <a:gd name="T59" fmla="*/ 2623 h 3554"/>
                <a:gd name="T60" fmla="*/ 2471 w 4252"/>
                <a:gd name="T61" fmla="*/ 2516 h 3554"/>
                <a:gd name="T62" fmla="*/ 2253 w 4252"/>
                <a:gd name="T63" fmla="*/ 2369 h 3554"/>
                <a:gd name="T64" fmla="*/ 1993 w 4252"/>
                <a:gd name="T65" fmla="*/ 2221 h 3554"/>
                <a:gd name="T66" fmla="*/ 1760 w 4252"/>
                <a:gd name="T67" fmla="*/ 2118 h 3554"/>
                <a:gd name="T68" fmla="*/ 1463 w 4252"/>
                <a:gd name="T69" fmla="*/ 2391 h 3554"/>
                <a:gd name="T70" fmla="*/ 1086 w 4252"/>
                <a:gd name="T71" fmla="*/ 2558 h 3554"/>
                <a:gd name="T72" fmla="*/ 667 w 4252"/>
                <a:gd name="T73" fmla="*/ 2600 h 3554"/>
                <a:gd name="T74" fmla="*/ 239 w 4252"/>
                <a:gd name="T75" fmla="*/ 2488 h 3554"/>
                <a:gd name="T76" fmla="*/ 31 w 4252"/>
                <a:gd name="T77" fmla="*/ 2331 h 3554"/>
                <a:gd name="T78" fmla="*/ 4 w 4252"/>
                <a:gd name="T79" fmla="*/ 2169 h 3554"/>
                <a:gd name="T80" fmla="*/ 82 w 4252"/>
                <a:gd name="T81" fmla="*/ 2025 h 3554"/>
                <a:gd name="T82" fmla="*/ 230 w 4252"/>
                <a:gd name="T83" fmla="*/ 1948 h 3554"/>
                <a:gd name="T84" fmla="*/ 415 w 4252"/>
                <a:gd name="T85" fmla="*/ 1987 h 3554"/>
                <a:gd name="T86" fmla="*/ 737 w 4252"/>
                <a:gd name="T87" fmla="*/ 2077 h 3554"/>
                <a:gd name="T88" fmla="*/ 1040 w 4252"/>
                <a:gd name="T89" fmla="*/ 1997 h 3554"/>
                <a:gd name="T90" fmla="*/ 1300 w 4252"/>
                <a:gd name="T91" fmla="*/ 1794 h 3554"/>
                <a:gd name="T92" fmla="*/ 1495 w 4252"/>
                <a:gd name="T93" fmla="*/ 1515 h 3554"/>
                <a:gd name="T94" fmla="*/ 1736 w 4252"/>
                <a:gd name="T95" fmla="*/ 1037 h 3554"/>
                <a:gd name="T96" fmla="*/ 1950 w 4252"/>
                <a:gd name="T97" fmla="*/ 639 h 3554"/>
                <a:gd name="T98" fmla="*/ 1749 w 4252"/>
                <a:gd name="T99" fmla="*/ 504 h 3554"/>
                <a:gd name="T100" fmla="*/ 1434 w 4252"/>
                <a:gd name="T101" fmla="*/ 595 h 3554"/>
                <a:gd name="T102" fmla="*/ 1160 w 4252"/>
                <a:gd name="T103" fmla="*/ 857 h 3554"/>
                <a:gd name="T104" fmla="*/ 1008 w 4252"/>
                <a:gd name="T105" fmla="*/ 961 h 3554"/>
                <a:gd name="T106" fmla="*/ 840 w 4252"/>
                <a:gd name="T107" fmla="*/ 946 h 3554"/>
                <a:gd name="T108" fmla="*/ 711 w 4252"/>
                <a:gd name="T109" fmla="*/ 846 h 3554"/>
                <a:gd name="T110" fmla="*/ 682 w 4252"/>
                <a:gd name="T111" fmla="*/ 690 h 3554"/>
                <a:gd name="T112" fmla="*/ 891 w 4252"/>
                <a:gd name="T113" fmla="*/ 402 h 3554"/>
                <a:gd name="T114" fmla="*/ 1270 w 4252"/>
                <a:gd name="T115" fmla="*/ 119 h 3554"/>
                <a:gd name="T116" fmla="*/ 1694 w 4252"/>
                <a:gd name="T117" fmla="*/ 4 h 3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52" h="3554">
                  <a:moveTo>
                    <a:pt x="1806" y="0"/>
                  </a:moveTo>
                  <a:lnTo>
                    <a:pt x="1919" y="9"/>
                  </a:lnTo>
                  <a:lnTo>
                    <a:pt x="2035" y="28"/>
                  </a:lnTo>
                  <a:lnTo>
                    <a:pt x="2151" y="59"/>
                  </a:lnTo>
                  <a:lnTo>
                    <a:pt x="2266" y="100"/>
                  </a:lnTo>
                  <a:lnTo>
                    <a:pt x="2384" y="154"/>
                  </a:lnTo>
                  <a:lnTo>
                    <a:pt x="2501" y="218"/>
                  </a:lnTo>
                  <a:lnTo>
                    <a:pt x="2516" y="226"/>
                  </a:lnTo>
                  <a:lnTo>
                    <a:pt x="2537" y="239"/>
                  </a:lnTo>
                  <a:lnTo>
                    <a:pt x="2564" y="252"/>
                  </a:lnTo>
                  <a:lnTo>
                    <a:pt x="2592" y="269"/>
                  </a:lnTo>
                  <a:lnTo>
                    <a:pt x="2620" y="284"/>
                  </a:lnTo>
                  <a:lnTo>
                    <a:pt x="2645" y="300"/>
                  </a:lnTo>
                  <a:lnTo>
                    <a:pt x="2668" y="311"/>
                  </a:lnTo>
                  <a:lnTo>
                    <a:pt x="2683" y="320"/>
                  </a:lnTo>
                  <a:lnTo>
                    <a:pt x="2770" y="368"/>
                  </a:lnTo>
                  <a:lnTo>
                    <a:pt x="2857" y="408"/>
                  </a:lnTo>
                  <a:lnTo>
                    <a:pt x="2944" y="436"/>
                  </a:lnTo>
                  <a:lnTo>
                    <a:pt x="3028" y="457"/>
                  </a:lnTo>
                  <a:lnTo>
                    <a:pt x="3111" y="468"/>
                  </a:lnTo>
                  <a:lnTo>
                    <a:pt x="3193" y="470"/>
                  </a:lnTo>
                  <a:lnTo>
                    <a:pt x="3272" y="461"/>
                  </a:lnTo>
                  <a:lnTo>
                    <a:pt x="3350" y="444"/>
                  </a:lnTo>
                  <a:lnTo>
                    <a:pt x="3426" y="415"/>
                  </a:lnTo>
                  <a:lnTo>
                    <a:pt x="3499" y="375"/>
                  </a:lnTo>
                  <a:lnTo>
                    <a:pt x="3571" y="326"/>
                  </a:lnTo>
                  <a:lnTo>
                    <a:pt x="3640" y="267"/>
                  </a:lnTo>
                  <a:lnTo>
                    <a:pt x="3706" y="197"/>
                  </a:lnTo>
                  <a:lnTo>
                    <a:pt x="3769" y="116"/>
                  </a:lnTo>
                  <a:lnTo>
                    <a:pt x="3801" y="78"/>
                  </a:lnTo>
                  <a:lnTo>
                    <a:pt x="3839" y="47"/>
                  </a:lnTo>
                  <a:lnTo>
                    <a:pt x="3878" y="25"/>
                  </a:lnTo>
                  <a:lnTo>
                    <a:pt x="3920" y="11"/>
                  </a:lnTo>
                  <a:lnTo>
                    <a:pt x="3964" y="6"/>
                  </a:lnTo>
                  <a:lnTo>
                    <a:pt x="4007" y="6"/>
                  </a:lnTo>
                  <a:lnTo>
                    <a:pt x="4049" y="13"/>
                  </a:lnTo>
                  <a:lnTo>
                    <a:pt x="4091" y="27"/>
                  </a:lnTo>
                  <a:lnTo>
                    <a:pt x="4128" y="45"/>
                  </a:lnTo>
                  <a:lnTo>
                    <a:pt x="4163" y="68"/>
                  </a:lnTo>
                  <a:lnTo>
                    <a:pt x="4193" y="97"/>
                  </a:lnTo>
                  <a:lnTo>
                    <a:pt x="4218" y="129"/>
                  </a:lnTo>
                  <a:lnTo>
                    <a:pt x="4236" y="163"/>
                  </a:lnTo>
                  <a:lnTo>
                    <a:pt x="4248" y="201"/>
                  </a:lnTo>
                  <a:lnTo>
                    <a:pt x="4252" y="243"/>
                  </a:lnTo>
                  <a:lnTo>
                    <a:pt x="4246" y="284"/>
                  </a:lnTo>
                  <a:lnTo>
                    <a:pt x="4231" y="328"/>
                  </a:lnTo>
                  <a:lnTo>
                    <a:pt x="4204" y="372"/>
                  </a:lnTo>
                  <a:lnTo>
                    <a:pt x="4123" y="476"/>
                  </a:lnTo>
                  <a:lnTo>
                    <a:pt x="4039" y="573"/>
                  </a:lnTo>
                  <a:lnTo>
                    <a:pt x="3950" y="658"/>
                  </a:lnTo>
                  <a:lnTo>
                    <a:pt x="3858" y="732"/>
                  </a:lnTo>
                  <a:lnTo>
                    <a:pt x="3761" y="798"/>
                  </a:lnTo>
                  <a:lnTo>
                    <a:pt x="3661" y="853"/>
                  </a:lnTo>
                  <a:lnTo>
                    <a:pt x="3558" y="899"/>
                  </a:lnTo>
                  <a:lnTo>
                    <a:pt x="3454" y="933"/>
                  </a:lnTo>
                  <a:lnTo>
                    <a:pt x="3346" y="956"/>
                  </a:lnTo>
                  <a:lnTo>
                    <a:pt x="3236" y="969"/>
                  </a:lnTo>
                  <a:lnTo>
                    <a:pt x="3124" y="973"/>
                  </a:lnTo>
                  <a:lnTo>
                    <a:pt x="3013" y="963"/>
                  </a:lnTo>
                  <a:lnTo>
                    <a:pt x="2897" y="944"/>
                  </a:lnTo>
                  <a:lnTo>
                    <a:pt x="2781" y="914"/>
                  </a:lnTo>
                  <a:lnTo>
                    <a:pt x="2615" y="1208"/>
                  </a:lnTo>
                  <a:lnTo>
                    <a:pt x="2452" y="1506"/>
                  </a:lnTo>
                  <a:lnTo>
                    <a:pt x="2296" y="1805"/>
                  </a:lnTo>
                  <a:lnTo>
                    <a:pt x="2365" y="1841"/>
                  </a:lnTo>
                  <a:lnTo>
                    <a:pt x="2437" y="1885"/>
                  </a:lnTo>
                  <a:lnTo>
                    <a:pt x="2509" y="1929"/>
                  </a:lnTo>
                  <a:lnTo>
                    <a:pt x="2579" y="1976"/>
                  </a:lnTo>
                  <a:lnTo>
                    <a:pt x="2649" y="2023"/>
                  </a:lnTo>
                  <a:lnTo>
                    <a:pt x="2715" y="2073"/>
                  </a:lnTo>
                  <a:lnTo>
                    <a:pt x="2778" y="2118"/>
                  </a:lnTo>
                  <a:lnTo>
                    <a:pt x="2836" y="2164"/>
                  </a:lnTo>
                  <a:lnTo>
                    <a:pt x="2888" y="2204"/>
                  </a:lnTo>
                  <a:lnTo>
                    <a:pt x="2933" y="2240"/>
                  </a:lnTo>
                  <a:lnTo>
                    <a:pt x="2971" y="2276"/>
                  </a:lnTo>
                  <a:lnTo>
                    <a:pt x="3011" y="2321"/>
                  </a:lnTo>
                  <a:lnTo>
                    <a:pt x="3050" y="2378"/>
                  </a:lnTo>
                  <a:lnTo>
                    <a:pt x="3090" y="2443"/>
                  </a:lnTo>
                  <a:lnTo>
                    <a:pt x="3132" y="2513"/>
                  </a:lnTo>
                  <a:lnTo>
                    <a:pt x="3174" y="2589"/>
                  </a:lnTo>
                  <a:lnTo>
                    <a:pt x="3213" y="2668"/>
                  </a:lnTo>
                  <a:lnTo>
                    <a:pt x="3253" y="2750"/>
                  </a:lnTo>
                  <a:lnTo>
                    <a:pt x="3291" y="2831"/>
                  </a:lnTo>
                  <a:lnTo>
                    <a:pt x="3329" y="2913"/>
                  </a:lnTo>
                  <a:lnTo>
                    <a:pt x="3365" y="2992"/>
                  </a:lnTo>
                  <a:lnTo>
                    <a:pt x="3401" y="3066"/>
                  </a:lnTo>
                  <a:lnTo>
                    <a:pt x="3433" y="3137"/>
                  </a:lnTo>
                  <a:lnTo>
                    <a:pt x="3462" y="3199"/>
                  </a:lnTo>
                  <a:lnTo>
                    <a:pt x="3479" y="3245"/>
                  </a:lnTo>
                  <a:lnTo>
                    <a:pt x="3488" y="3288"/>
                  </a:lnTo>
                  <a:lnTo>
                    <a:pt x="3488" y="3330"/>
                  </a:lnTo>
                  <a:lnTo>
                    <a:pt x="3481" y="3370"/>
                  </a:lnTo>
                  <a:lnTo>
                    <a:pt x="3465" y="3406"/>
                  </a:lnTo>
                  <a:lnTo>
                    <a:pt x="3446" y="3440"/>
                  </a:lnTo>
                  <a:lnTo>
                    <a:pt x="3420" y="3470"/>
                  </a:lnTo>
                  <a:lnTo>
                    <a:pt x="3392" y="3495"/>
                  </a:lnTo>
                  <a:lnTo>
                    <a:pt x="3357" y="3518"/>
                  </a:lnTo>
                  <a:lnTo>
                    <a:pt x="3321" y="3535"/>
                  </a:lnTo>
                  <a:lnTo>
                    <a:pt x="3284" y="3546"/>
                  </a:lnTo>
                  <a:lnTo>
                    <a:pt x="3244" y="3552"/>
                  </a:lnTo>
                  <a:lnTo>
                    <a:pt x="3204" y="3554"/>
                  </a:lnTo>
                  <a:lnTo>
                    <a:pt x="3166" y="3548"/>
                  </a:lnTo>
                  <a:lnTo>
                    <a:pt x="3128" y="3535"/>
                  </a:lnTo>
                  <a:lnTo>
                    <a:pt x="3092" y="3516"/>
                  </a:lnTo>
                  <a:lnTo>
                    <a:pt x="3058" y="3489"/>
                  </a:lnTo>
                  <a:lnTo>
                    <a:pt x="3030" y="3455"/>
                  </a:lnTo>
                  <a:lnTo>
                    <a:pt x="3005" y="3413"/>
                  </a:lnTo>
                  <a:lnTo>
                    <a:pt x="2978" y="3358"/>
                  </a:lnTo>
                  <a:lnTo>
                    <a:pt x="2950" y="3298"/>
                  </a:lnTo>
                  <a:lnTo>
                    <a:pt x="2920" y="3231"/>
                  </a:lnTo>
                  <a:lnTo>
                    <a:pt x="2889" y="3163"/>
                  </a:lnTo>
                  <a:lnTo>
                    <a:pt x="2857" y="3091"/>
                  </a:lnTo>
                  <a:lnTo>
                    <a:pt x="2823" y="3021"/>
                  </a:lnTo>
                  <a:lnTo>
                    <a:pt x="2789" y="2951"/>
                  </a:lnTo>
                  <a:lnTo>
                    <a:pt x="2757" y="2883"/>
                  </a:lnTo>
                  <a:lnTo>
                    <a:pt x="2723" y="2818"/>
                  </a:lnTo>
                  <a:lnTo>
                    <a:pt x="2691" y="2757"/>
                  </a:lnTo>
                  <a:lnTo>
                    <a:pt x="2660" y="2704"/>
                  </a:lnTo>
                  <a:lnTo>
                    <a:pt x="2630" y="2659"/>
                  </a:lnTo>
                  <a:lnTo>
                    <a:pt x="2601" y="2623"/>
                  </a:lnTo>
                  <a:lnTo>
                    <a:pt x="2577" y="2596"/>
                  </a:lnTo>
                  <a:lnTo>
                    <a:pt x="2548" y="2573"/>
                  </a:lnTo>
                  <a:lnTo>
                    <a:pt x="2512" y="2547"/>
                  </a:lnTo>
                  <a:lnTo>
                    <a:pt x="2471" y="2516"/>
                  </a:lnTo>
                  <a:lnTo>
                    <a:pt x="2423" y="2482"/>
                  </a:lnTo>
                  <a:lnTo>
                    <a:pt x="2370" y="2446"/>
                  </a:lnTo>
                  <a:lnTo>
                    <a:pt x="2314" y="2408"/>
                  </a:lnTo>
                  <a:lnTo>
                    <a:pt x="2253" y="2369"/>
                  </a:lnTo>
                  <a:lnTo>
                    <a:pt x="2190" y="2331"/>
                  </a:lnTo>
                  <a:lnTo>
                    <a:pt x="2124" y="2291"/>
                  </a:lnTo>
                  <a:lnTo>
                    <a:pt x="2060" y="2255"/>
                  </a:lnTo>
                  <a:lnTo>
                    <a:pt x="1993" y="2221"/>
                  </a:lnTo>
                  <a:lnTo>
                    <a:pt x="1927" y="2188"/>
                  </a:lnTo>
                  <a:lnTo>
                    <a:pt x="1863" y="2160"/>
                  </a:lnTo>
                  <a:lnTo>
                    <a:pt x="1800" y="2135"/>
                  </a:lnTo>
                  <a:lnTo>
                    <a:pt x="1760" y="2118"/>
                  </a:lnTo>
                  <a:lnTo>
                    <a:pt x="1694" y="2196"/>
                  </a:lnTo>
                  <a:lnTo>
                    <a:pt x="1622" y="2266"/>
                  </a:lnTo>
                  <a:lnTo>
                    <a:pt x="1544" y="2331"/>
                  </a:lnTo>
                  <a:lnTo>
                    <a:pt x="1463" y="2391"/>
                  </a:lnTo>
                  <a:lnTo>
                    <a:pt x="1374" y="2443"/>
                  </a:lnTo>
                  <a:lnTo>
                    <a:pt x="1281" y="2490"/>
                  </a:lnTo>
                  <a:lnTo>
                    <a:pt x="1186" y="2528"/>
                  </a:lnTo>
                  <a:lnTo>
                    <a:pt x="1086" y="2558"/>
                  </a:lnTo>
                  <a:lnTo>
                    <a:pt x="984" y="2583"/>
                  </a:lnTo>
                  <a:lnTo>
                    <a:pt x="879" y="2596"/>
                  </a:lnTo>
                  <a:lnTo>
                    <a:pt x="775" y="2604"/>
                  </a:lnTo>
                  <a:lnTo>
                    <a:pt x="667" y="2600"/>
                  </a:lnTo>
                  <a:lnTo>
                    <a:pt x="559" y="2587"/>
                  </a:lnTo>
                  <a:lnTo>
                    <a:pt x="453" y="2564"/>
                  </a:lnTo>
                  <a:lnTo>
                    <a:pt x="345" y="2532"/>
                  </a:lnTo>
                  <a:lnTo>
                    <a:pt x="239" y="2488"/>
                  </a:lnTo>
                  <a:lnTo>
                    <a:pt x="135" y="2433"/>
                  </a:lnTo>
                  <a:lnTo>
                    <a:pt x="91" y="2403"/>
                  </a:lnTo>
                  <a:lnTo>
                    <a:pt x="55" y="2367"/>
                  </a:lnTo>
                  <a:lnTo>
                    <a:pt x="31" y="2331"/>
                  </a:lnTo>
                  <a:lnTo>
                    <a:pt x="12" y="2291"/>
                  </a:lnTo>
                  <a:lnTo>
                    <a:pt x="2" y="2251"/>
                  </a:lnTo>
                  <a:lnTo>
                    <a:pt x="0" y="2209"/>
                  </a:lnTo>
                  <a:lnTo>
                    <a:pt x="4" y="2169"/>
                  </a:lnTo>
                  <a:lnTo>
                    <a:pt x="15" y="2130"/>
                  </a:lnTo>
                  <a:lnTo>
                    <a:pt x="32" y="2092"/>
                  </a:lnTo>
                  <a:lnTo>
                    <a:pt x="55" y="2058"/>
                  </a:lnTo>
                  <a:lnTo>
                    <a:pt x="82" y="2025"/>
                  </a:lnTo>
                  <a:lnTo>
                    <a:pt x="112" y="1997"/>
                  </a:lnTo>
                  <a:lnTo>
                    <a:pt x="148" y="1974"/>
                  </a:lnTo>
                  <a:lnTo>
                    <a:pt x="186" y="1959"/>
                  </a:lnTo>
                  <a:lnTo>
                    <a:pt x="230" y="1948"/>
                  </a:lnTo>
                  <a:lnTo>
                    <a:pt x="273" y="1946"/>
                  </a:lnTo>
                  <a:lnTo>
                    <a:pt x="319" y="1949"/>
                  </a:lnTo>
                  <a:lnTo>
                    <a:pt x="366" y="1965"/>
                  </a:lnTo>
                  <a:lnTo>
                    <a:pt x="415" y="1987"/>
                  </a:lnTo>
                  <a:lnTo>
                    <a:pt x="497" y="2027"/>
                  </a:lnTo>
                  <a:lnTo>
                    <a:pt x="576" y="2056"/>
                  </a:lnTo>
                  <a:lnTo>
                    <a:pt x="658" y="2071"/>
                  </a:lnTo>
                  <a:lnTo>
                    <a:pt x="737" y="2077"/>
                  </a:lnTo>
                  <a:lnTo>
                    <a:pt x="815" y="2071"/>
                  </a:lnTo>
                  <a:lnTo>
                    <a:pt x="893" y="2054"/>
                  </a:lnTo>
                  <a:lnTo>
                    <a:pt x="966" y="2029"/>
                  </a:lnTo>
                  <a:lnTo>
                    <a:pt x="1040" y="1997"/>
                  </a:lnTo>
                  <a:lnTo>
                    <a:pt x="1110" y="1955"/>
                  </a:lnTo>
                  <a:lnTo>
                    <a:pt x="1177" y="1908"/>
                  </a:lnTo>
                  <a:lnTo>
                    <a:pt x="1241" y="1853"/>
                  </a:lnTo>
                  <a:lnTo>
                    <a:pt x="1300" y="1794"/>
                  </a:lnTo>
                  <a:lnTo>
                    <a:pt x="1357" y="1729"/>
                  </a:lnTo>
                  <a:lnTo>
                    <a:pt x="1408" y="1661"/>
                  </a:lnTo>
                  <a:lnTo>
                    <a:pt x="1453" y="1589"/>
                  </a:lnTo>
                  <a:lnTo>
                    <a:pt x="1495" y="1515"/>
                  </a:lnTo>
                  <a:lnTo>
                    <a:pt x="1559" y="1384"/>
                  </a:lnTo>
                  <a:lnTo>
                    <a:pt x="1622" y="1263"/>
                  </a:lnTo>
                  <a:lnTo>
                    <a:pt x="1681" y="1147"/>
                  </a:lnTo>
                  <a:lnTo>
                    <a:pt x="1736" y="1037"/>
                  </a:lnTo>
                  <a:lnTo>
                    <a:pt x="1791" y="933"/>
                  </a:lnTo>
                  <a:lnTo>
                    <a:pt x="1844" y="832"/>
                  </a:lnTo>
                  <a:lnTo>
                    <a:pt x="1897" y="734"/>
                  </a:lnTo>
                  <a:lnTo>
                    <a:pt x="1950" y="639"/>
                  </a:lnTo>
                  <a:lnTo>
                    <a:pt x="2005" y="542"/>
                  </a:lnTo>
                  <a:lnTo>
                    <a:pt x="1918" y="520"/>
                  </a:lnTo>
                  <a:lnTo>
                    <a:pt x="1832" y="506"/>
                  </a:lnTo>
                  <a:lnTo>
                    <a:pt x="1749" y="504"/>
                  </a:lnTo>
                  <a:lnTo>
                    <a:pt x="1667" y="510"/>
                  </a:lnTo>
                  <a:lnTo>
                    <a:pt x="1588" y="529"/>
                  </a:lnTo>
                  <a:lnTo>
                    <a:pt x="1510" y="556"/>
                  </a:lnTo>
                  <a:lnTo>
                    <a:pt x="1434" y="595"/>
                  </a:lnTo>
                  <a:lnTo>
                    <a:pt x="1362" y="643"/>
                  </a:lnTo>
                  <a:lnTo>
                    <a:pt x="1292" y="704"/>
                  </a:lnTo>
                  <a:lnTo>
                    <a:pt x="1224" y="776"/>
                  </a:lnTo>
                  <a:lnTo>
                    <a:pt x="1160" y="857"/>
                  </a:lnTo>
                  <a:lnTo>
                    <a:pt x="1128" y="897"/>
                  </a:lnTo>
                  <a:lnTo>
                    <a:pt x="1090" y="927"/>
                  </a:lnTo>
                  <a:lnTo>
                    <a:pt x="1050" y="948"/>
                  </a:lnTo>
                  <a:lnTo>
                    <a:pt x="1008" y="961"/>
                  </a:lnTo>
                  <a:lnTo>
                    <a:pt x="965" y="967"/>
                  </a:lnTo>
                  <a:lnTo>
                    <a:pt x="921" y="967"/>
                  </a:lnTo>
                  <a:lnTo>
                    <a:pt x="879" y="960"/>
                  </a:lnTo>
                  <a:lnTo>
                    <a:pt x="840" y="946"/>
                  </a:lnTo>
                  <a:lnTo>
                    <a:pt x="802" y="927"/>
                  </a:lnTo>
                  <a:lnTo>
                    <a:pt x="766" y="905"/>
                  </a:lnTo>
                  <a:lnTo>
                    <a:pt x="735" y="876"/>
                  </a:lnTo>
                  <a:lnTo>
                    <a:pt x="711" y="846"/>
                  </a:lnTo>
                  <a:lnTo>
                    <a:pt x="692" y="810"/>
                  </a:lnTo>
                  <a:lnTo>
                    <a:pt x="680" y="772"/>
                  </a:lnTo>
                  <a:lnTo>
                    <a:pt x="679" y="732"/>
                  </a:lnTo>
                  <a:lnTo>
                    <a:pt x="682" y="690"/>
                  </a:lnTo>
                  <a:lnTo>
                    <a:pt x="697" y="647"/>
                  </a:lnTo>
                  <a:lnTo>
                    <a:pt x="724" y="603"/>
                  </a:lnTo>
                  <a:lnTo>
                    <a:pt x="805" y="497"/>
                  </a:lnTo>
                  <a:lnTo>
                    <a:pt x="891" y="402"/>
                  </a:lnTo>
                  <a:lnTo>
                    <a:pt x="980" y="315"/>
                  </a:lnTo>
                  <a:lnTo>
                    <a:pt x="1073" y="241"/>
                  </a:lnTo>
                  <a:lnTo>
                    <a:pt x="1169" y="174"/>
                  </a:lnTo>
                  <a:lnTo>
                    <a:pt x="1270" y="119"/>
                  </a:lnTo>
                  <a:lnTo>
                    <a:pt x="1372" y="74"/>
                  </a:lnTo>
                  <a:lnTo>
                    <a:pt x="1476" y="40"/>
                  </a:lnTo>
                  <a:lnTo>
                    <a:pt x="1584" y="17"/>
                  </a:lnTo>
                  <a:lnTo>
                    <a:pt x="1694" y="4"/>
                  </a:lnTo>
                  <a:lnTo>
                    <a:pt x="180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41876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ounded Rectangle 37"/>
          <p:cNvSpPr/>
          <p:nvPr/>
        </p:nvSpPr>
        <p:spPr>
          <a:xfrm>
            <a:off x="6683562" y="2010007"/>
            <a:ext cx="3376088" cy="4085993"/>
          </a:xfrm>
          <a:prstGeom prst="roundRect">
            <a:avLst>
              <a:gd name="adj" fmla="val 201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2800" dirty="0" smtClean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pPr algn="ctr"/>
            <a:endParaRPr lang="en-US" sz="2400" dirty="0" smtClean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pPr marL="342900" indent="-342900">
              <a:spcAft>
                <a:spcPts val="1200"/>
              </a:spcAft>
              <a:buClr>
                <a:srgbClr val="0084CB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Language independent</a:t>
            </a:r>
          </a:p>
          <a:p>
            <a:pPr lvl="1">
              <a:spcAft>
                <a:spcPts val="1200"/>
              </a:spcAft>
            </a:pP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Supports all known written/spoken languages</a:t>
            </a:r>
          </a:p>
          <a:p>
            <a:pPr lvl="1">
              <a:spcAft>
                <a:spcPts val="1200"/>
              </a:spcAft>
            </a:pP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Supports mixed-language dialogs</a:t>
            </a:r>
          </a:p>
          <a:p>
            <a:pPr marL="342900" indent="-342900">
              <a:spcAft>
                <a:spcPts val="1200"/>
              </a:spcAft>
              <a:buClr>
                <a:srgbClr val="0084CB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84CB"/>
                </a:solidFill>
                <a:latin typeface="Raleway" panose="020B0003030101060003" pitchFamily="34" charset="0"/>
              </a:rPr>
              <a:t>Statistics-based</a:t>
            </a:r>
          </a:p>
          <a:p>
            <a:pPr lvl="1">
              <a:spcAft>
                <a:spcPts val="1200"/>
              </a:spcAft>
            </a:pP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No translation layers</a:t>
            </a:r>
            <a:endParaRPr lang="en-CA" sz="2800" dirty="0" smtClean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pPr algn="ctr"/>
            <a:endParaRPr lang="en-US" dirty="0"/>
          </a:p>
        </p:txBody>
      </p:sp>
      <p:sp>
        <p:nvSpPr>
          <p:cNvPr id="39" name="Oval 38"/>
          <p:cNvSpPr/>
          <p:nvPr/>
        </p:nvSpPr>
        <p:spPr>
          <a:xfrm>
            <a:off x="7994564" y="1514188"/>
            <a:ext cx="754084" cy="754084"/>
          </a:xfrm>
          <a:prstGeom prst="ellipse">
            <a:avLst/>
          </a:pr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2066250" y="2010007"/>
            <a:ext cx="3376088" cy="4085993"/>
          </a:xfrm>
          <a:prstGeom prst="roundRect">
            <a:avLst>
              <a:gd name="adj" fmla="val 201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2000" dirty="0" smtClean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pPr algn="ctr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Traditional AI/NLP</a:t>
            </a:r>
          </a:p>
          <a:p>
            <a:pPr algn="ctr"/>
            <a:endParaRPr lang="en-US" sz="600" dirty="0" smtClean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  <a:p>
            <a:pPr marL="342900" indent="-342900" defTabSz="3444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Language dependent:	 only 1 language at a tim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Rule-based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2">
                    <a:lumMod val="50000"/>
                  </a:schemeClr>
                </a:solidFill>
                <a:latin typeface="Raleway" panose="020B0003030101060003" pitchFamily="34" charset="0"/>
              </a:rPr>
              <a:t>Multiple layers of translation</a:t>
            </a:r>
            <a:endParaRPr lang="en-US" dirty="0">
              <a:solidFill>
                <a:schemeClr val="bg2">
                  <a:lumMod val="50000"/>
                </a:schemeClr>
              </a:solidFill>
              <a:latin typeface="Raleway" panose="020B0003030101060003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587375" y="1248834"/>
            <a:ext cx="906082" cy="0"/>
          </a:xfrm>
          <a:prstGeom prst="line">
            <a:avLst/>
          </a:prstGeom>
          <a:ln w="50800">
            <a:solidFill>
              <a:srgbClr val="00C2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481253" y="340567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C2F3"/>
                </a:solidFill>
                <a:latin typeface="Raleway" panose="020B0003030101060003" pitchFamily="34" charset="0"/>
              </a:rPr>
              <a:t>INTRODUCING CCROBOT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50476" y="708526"/>
            <a:ext cx="88274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84CB"/>
                </a:solidFill>
                <a:latin typeface="Raleway" panose="020B0003030101060003" pitchFamily="34" charset="0"/>
              </a:rPr>
              <a:t>Omni-Language Performance</a:t>
            </a:r>
          </a:p>
        </p:txBody>
      </p:sp>
      <p:sp>
        <p:nvSpPr>
          <p:cNvPr id="7" name="Freeform 19"/>
          <p:cNvSpPr>
            <a:spLocks noChangeAspect="1" noEditPoints="1"/>
          </p:cNvSpPr>
          <p:nvPr/>
        </p:nvSpPr>
        <p:spPr bwMode="auto">
          <a:xfrm>
            <a:off x="659530" y="772554"/>
            <a:ext cx="290946" cy="365760"/>
          </a:xfrm>
          <a:custGeom>
            <a:avLst/>
            <a:gdLst>
              <a:gd name="T0" fmla="*/ 804 w 2625"/>
              <a:gd name="T1" fmla="*/ 666 h 3301"/>
              <a:gd name="T2" fmla="*/ 702 w 2625"/>
              <a:gd name="T3" fmla="*/ 944 h 3301"/>
              <a:gd name="T4" fmla="*/ 799 w 2625"/>
              <a:gd name="T5" fmla="*/ 1173 h 3301"/>
              <a:gd name="T6" fmla="*/ 1013 w 2625"/>
              <a:gd name="T7" fmla="*/ 1389 h 3301"/>
              <a:gd name="T8" fmla="*/ 1222 w 2625"/>
              <a:gd name="T9" fmla="*/ 1548 h 3301"/>
              <a:gd name="T10" fmla="*/ 1302 w 2625"/>
              <a:gd name="T11" fmla="*/ 1598 h 3301"/>
              <a:gd name="T12" fmla="*/ 1429 w 2625"/>
              <a:gd name="T13" fmla="*/ 1512 h 3301"/>
              <a:gd name="T14" fmla="*/ 1653 w 2625"/>
              <a:gd name="T15" fmla="*/ 1331 h 3301"/>
              <a:gd name="T16" fmla="*/ 1844 w 2625"/>
              <a:gd name="T17" fmla="*/ 1108 h 3301"/>
              <a:gd name="T18" fmla="*/ 1898 w 2625"/>
              <a:gd name="T19" fmla="*/ 862 h 3301"/>
              <a:gd name="T20" fmla="*/ 1725 w 2625"/>
              <a:gd name="T21" fmla="*/ 613 h 3301"/>
              <a:gd name="T22" fmla="*/ 1434 w 2625"/>
              <a:gd name="T23" fmla="*/ 596 h 3301"/>
              <a:gd name="T24" fmla="*/ 1204 w 2625"/>
              <a:gd name="T25" fmla="*/ 614 h 3301"/>
              <a:gd name="T26" fmla="*/ 1449 w 2625"/>
              <a:gd name="T27" fmla="*/ 2 h 3301"/>
              <a:gd name="T28" fmla="*/ 1838 w 2625"/>
              <a:gd name="T29" fmla="*/ 84 h 3301"/>
              <a:gd name="T30" fmla="*/ 2238 w 2625"/>
              <a:gd name="T31" fmla="*/ 350 h 3301"/>
              <a:gd name="T32" fmla="*/ 2435 w 2625"/>
              <a:gd name="T33" fmla="*/ 642 h 3301"/>
              <a:gd name="T34" fmla="*/ 2503 w 2625"/>
              <a:gd name="T35" fmla="*/ 1053 h 3301"/>
              <a:gd name="T36" fmla="*/ 2453 w 2625"/>
              <a:gd name="T37" fmla="*/ 1238 h 3301"/>
              <a:gd name="T38" fmla="*/ 2442 w 2625"/>
              <a:gd name="T39" fmla="*/ 1421 h 3301"/>
              <a:gd name="T40" fmla="*/ 2497 w 2625"/>
              <a:gd name="T41" fmla="*/ 1526 h 3301"/>
              <a:gd name="T42" fmla="*/ 2587 w 2625"/>
              <a:gd name="T43" fmla="*/ 1701 h 3301"/>
              <a:gd name="T44" fmla="*/ 2625 w 2625"/>
              <a:gd name="T45" fmla="*/ 1810 h 3301"/>
              <a:gd name="T46" fmla="*/ 2594 w 2625"/>
              <a:gd name="T47" fmla="*/ 1870 h 3301"/>
              <a:gd name="T48" fmla="*/ 2480 w 2625"/>
              <a:gd name="T49" fmla="*/ 1904 h 3301"/>
              <a:gd name="T50" fmla="*/ 2457 w 2625"/>
              <a:gd name="T51" fmla="*/ 1965 h 3301"/>
              <a:gd name="T52" fmla="*/ 2441 w 2625"/>
              <a:gd name="T53" fmla="*/ 2131 h 3301"/>
              <a:gd name="T54" fmla="*/ 2389 w 2625"/>
              <a:gd name="T55" fmla="*/ 2173 h 3301"/>
              <a:gd name="T56" fmla="*/ 2408 w 2625"/>
              <a:gd name="T57" fmla="*/ 2219 h 3301"/>
              <a:gd name="T58" fmla="*/ 2359 w 2625"/>
              <a:gd name="T59" fmla="*/ 2329 h 3301"/>
              <a:gd name="T60" fmla="*/ 2340 w 2625"/>
              <a:gd name="T61" fmla="*/ 2448 h 3301"/>
              <a:gd name="T62" fmla="*/ 2345 w 2625"/>
              <a:gd name="T63" fmla="*/ 2545 h 3301"/>
              <a:gd name="T64" fmla="*/ 2306 w 2625"/>
              <a:gd name="T65" fmla="*/ 2630 h 3301"/>
              <a:gd name="T66" fmla="*/ 2211 w 2625"/>
              <a:gd name="T67" fmla="*/ 2669 h 3301"/>
              <a:gd name="T68" fmla="*/ 1960 w 2625"/>
              <a:gd name="T69" fmla="*/ 2668 h 3301"/>
              <a:gd name="T70" fmla="*/ 1760 w 2625"/>
              <a:gd name="T71" fmla="*/ 2660 h 3301"/>
              <a:gd name="T72" fmla="*/ 1618 w 2625"/>
              <a:gd name="T73" fmla="*/ 2751 h 3301"/>
              <a:gd name="T74" fmla="*/ 1540 w 2625"/>
              <a:gd name="T75" fmla="*/ 2901 h 3301"/>
              <a:gd name="T76" fmla="*/ 1430 w 2625"/>
              <a:gd name="T77" fmla="*/ 3130 h 3301"/>
              <a:gd name="T78" fmla="*/ 1364 w 2625"/>
              <a:gd name="T79" fmla="*/ 3301 h 3301"/>
              <a:gd name="T80" fmla="*/ 1297 w 2625"/>
              <a:gd name="T81" fmla="*/ 3194 h 3301"/>
              <a:gd name="T82" fmla="*/ 1113 w 2625"/>
              <a:gd name="T83" fmla="*/ 2946 h 3301"/>
              <a:gd name="T84" fmla="*/ 840 w 2625"/>
              <a:gd name="T85" fmla="*/ 2669 h 3301"/>
              <a:gd name="T86" fmla="*/ 505 w 2625"/>
              <a:gd name="T87" fmla="*/ 2479 h 3301"/>
              <a:gd name="T88" fmla="*/ 475 w 2625"/>
              <a:gd name="T89" fmla="*/ 2382 h 3301"/>
              <a:gd name="T90" fmla="*/ 458 w 2625"/>
              <a:gd name="T91" fmla="*/ 2111 h 3301"/>
              <a:gd name="T92" fmla="*/ 320 w 2625"/>
              <a:gd name="T93" fmla="*/ 1830 h 3301"/>
              <a:gd name="T94" fmla="*/ 221 w 2625"/>
              <a:gd name="T95" fmla="*/ 1688 h 3301"/>
              <a:gd name="T96" fmla="*/ 82 w 2625"/>
              <a:gd name="T97" fmla="*/ 1447 h 3301"/>
              <a:gd name="T98" fmla="*/ 6 w 2625"/>
              <a:gd name="T99" fmla="*/ 1209 h 3301"/>
              <a:gd name="T100" fmla="*/ 0 w 2625"/>
              <a:gd name="T101" fmla="*/ 1109 h 3301"/>
              <a:gd name="T102" fmla="*/ 54 w 2625"/>
              <a:gd name="T103" fmla="*/ 820 h 3301"/>
              <a:gd name="T104" fmla="*/ 313 w 2625"/>
              <a:gd name="T105" fmla="*/ 402 h 3301"/>
              <a:gd name="T106" fmla="*/ 543 w 2625"/>
              <a:gd name="T107" fmla="*/ 199 h 3301"/>
              <a:gd name="T108" fmla="*/ 896 w 2625"/>
              <a:gd name="T109" fmla="*/ 50 h 3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625" h="3301">
                <a:moveTo>
                  <a:pt x="1039" y="571"/>
                </a:moveTo>
                <a:lnTo>
                  <a:pt x="995" y="574"/>
                </a:lnTo>
                <a:lnTo>
                  <a:pt x="952" y="582"/>
                </a:lnTo>
                <a:lnTo>
                  <a:pt x="912" y="595"/>
                </a:lnTo>
                <a:lnTo>
                  <a:pt x="875" y="613"/>
                </a:lnTo>
                <a:lnTo>
                  <a:pt x="838" y="637"/>
                </a:lnTo>
                <a:lnTo>
                  <a:pt x="804" y="666"/>
                </a:lnTo>
                <a:lnTo>
                  <a:pt x="773" y="698"/>
                </a:lnTo>
                <a:lnTo>
                  <a:pt x="747" y="734"/>
                </a:lnTo>
                <a:lnTo>
                  <a:pt x="727" y="774"/>
                </a:lnTo>
                <a:lnTo>
                  <a:pt x="712" y="817"/>
                </a:lnTo>
                <a:lnTo>
                  <a:pt x="703" y="862"/>
                </a:lnTo>
                <a:lnTo>
                  <a:pt x="699" y="908"/>
                </a:lnTo>
                <a:lnTo>
                  <a:pt x="702" y="944"/>
                </a:lnTo>
                <a:lnTo>
                  <a:pt x="707" y="979"/>
                </a:lnTo>
                <a:lnTo>
                  <a:pt x="716" y="1012"/>
                </a:lnTo>
                <a:lnTo>
                  <a:pt x="725" y="1043"/>
                </a:lnTo>
                <a:lnTo>
                  <a:pt x="739" y="1076"/>
                </a:lnTo>
                <a:lnTo>
                  <a:pt x="756" y="1108"/>
                </a:lnTo>
                <a:lnTo>
                  <a:pt x="776" y="1140"/>
                </a:lnTo>
                <a:lnTo>
                  <a:pt x="799" y="1173"/>
                </a:lnTo>
                <a:lnTo>
                  <a:pt x="825" y="1206"/>
                </a:lnTo>
                <a:lnTo>
                  <a:pt x="853" y="1237"/>
                </a:lnTo>
                <a:lnTo>
                  <a:pt x="883" y="1269"/>
                </a:lnTo>
                <a:lnTo>
                  <a:pt x="914" y="1301"/>
                </a:lnTo>
                <a:lnTo>
                  <a:pt x="947" y="1331"/>
                </a:lnTo>
                <a:lnTo>
                  <a:pt x="980" y="1361"/>
                </a:lnTo>
                <a:lnTo>
                  <a:pt x="1013" y="1389"/>
                </a:lnTo>
                <a:lnTo>
                  <a:pt x="1046" y="1417"/>
                </a:lnTo>
                <a:lnTo>
                  <a:pt x="1079" y="1443"/>
                </a:lnTo>
                <a:lnTo>
                  <a:pt x="1111" y="1467"/>
                </a:lnTo>
                <a:lnTo>
                  <a:pt x="1142" y="1490"/>
                </a:lnTo>
                <a:lnTo>
                  <a:pt x="1171" y="1512"/>
                </a:lnTo>
                <a:lnTo>
                  <a:pt x="1198" y="1532"/>
                </a:lnTo>
                <a:lnTo>
                  <a:pt x="1222" y="1548"/>
                </a:lnTo>
                <a:lnTo>
                  <a:pt x="1245" y="1563"/>
                </a:lnTo>
                <a:lnTo>
                  <a:pt x="1264" y="1576"/>
                </a:lnTo>
                <a:lnTo>
                  <a:pt x="1279" y="1586"/>
                </a:lnTo>
                <a:lnTo>
                  <a:pt x="1291" y="1594"/>
                </a:lnTo>
                <a:lnTo>
                  <a:pt x="1298" y="1598"/>
                </a:lnTo>
                <a:lnTo>
                  <a:pt x="1300" y="1600"/>
                </a:lnTo>
                <a:lnTo>
                  <a:pt x="1302" y="1598"/>
                </a:lnTo>
                <a:lnTo>
                  <a:pt x="1310" y="1594"/>
                </a:lnTo>
                <a:lnTo>
                  <a:pt x="1321" y="1586"/>
                </a:lnTo>
                <a:lnTo>
                  <a:pt x="1336" y="1576"/>
                </a:lnTo>
                <a:lnTo>
                  <a:pt x="1355" y="1563"/>
                </a:lnTo>
                <a:lnTo>
                  <a:pt x="1377" y="1548"/>
                </a:lnTo>
                <a:lnTo>
                  <a:pt x="1402" y="1532"/>
                </a:lnTo>
                <a:lnTo>
                  <a:pt x="1429" y="1512"/>
                </a:lnTo>
                <a:lnTo>
                  <a:pt x="1458" y="1490"/>
                </a:lnTo>
                <a:lnTo>
                  <a:pt x="1489" y="1467"/>
                </a:lnTo>
                <a:lnTo>
                  <a:pt x="1521" y="1443"/>
                </a:lnTo>
                <a:lnTo>
                  <a:pt x="1553" y="1417"/>
                </a:lnTo>
                <a:lnTo>
                  <a:pt x="1587" y="1389"/>
                </a:lnTo>
                <a:lnTo>
                  <a:pt x="1620" y="1361"/>
                </a:lnTo>
                <a:lnTo>
                  <a:pt x="1653" y="1331"/>
                </a:lnTo>
                <a:lnTo>
                  <a:pt x="1686" y="1301"/>
                </a:lnTo>
                <a:lnTo>
                  <a:pt x="1717" y="1269"/>
                </a:lnTo>
                <a:lnTo>
                  <a:pt x="1747" y="1237"/>
                </a:lnTo>
                <a:lnTo>
                  <a:pt x="1775" y="1206"/>
                </a:lnTo>
                <a:lnTo>
                  <a:pt x="1801" y="1173"/>
                </a:lnTo>
                <a:lnTo>
                  <a:pt x="1824" y="1140"/>
                </a:lnTo>
                <a:lnTo>
                  <a:pt x="1844" y="1108"/>
                </a:lnTo>
                <a:lnTo>
                  <a:pt x="1861" y="1076"/>
                </a:lnTo>
                <a:lnTo>
                  <a:pt x="1875" y="1043"/>
                </a:lnTo>
                <a:lnTo>
                  <a:pt x="1885" y="1012"/>
                </a:lnTo>
                <a:lnTo>
                  <a:pt x="1893" y="979"/>
                </a:lnTo>
                <a:lnTo>
                  <a:pt x="1900" y="944"/>
                </a:lnTo>
                <a:lnTo>
                  <a:pt x="1902" y="908"/>
                </a:lnTo>
                <a:lnTo>
                  <a:pt x="1898" y="862"/>
                </a:lnTo>
                <a:lnTo>
                  <a:pt x="1889" y="817"/>
                </a:lnTo>
                <a:lnTo>
                  <a:pt x="1873" y="774"/>
                </a:lnTo>
                <a:lnTo>
                  <a:pt x="1853" y="734"/>
                </a:lnTo>
                <a:lnTo>
                  <a:pt x="1827" y="698"/>
                </a:lnTo>
                <a:lnTo>
                  <a:pt x="1798" y="666"/>
                </a:lnTo>
                <a:lnTo>
                  <a:pt x="1764" y="637"/>
                </a:lnTo>
                <a:lnTo>
                  <a:pt x="1725" y="613"/>
                </a:lnTo>
                <a:lnTo>
                  <a:pt x="1688" y="595"/>
                </a:lnTo>
                <a:lnTo>
                  <a:pt x="1648" y="582"/>
                </a:lnTo>
                <a:lnTo>
                  <a:pt x="1605" y="574"/>
                </a:lnTo>
                <a:lnTo>
                  <a:pt x="1562" y="571"/>
                </a:lnTo>
                <a:lnTo>
                  <a:pt x="1517" y="574"/>
                </a:lnTo>
                <a:lnTo>
                  <a:pt x="1474" y="582"/>
                </a:lnTo>
                <a:lnTo>
                  <a:pt x="1434" y="596"/>
                </a:lnTo>
                <a:lnTo>
                  <a:pt x="1396" y="614"/>
                </a:lnTo>
                <a:lnTo>
                  <a:pt x="1361" y="636"/>
                </a:lnTo>
                <a:lnTo>
                  <a:pt x="1329" y="663"/>
                </a:lnTo>
                <a:lnTo>
                  <a:pt x="1300" y="693"/>
                </a:lnTo>
                <a:lnTo>
                  <a:pt x="1271" y="663"/>
                </a:lnTo>
                <a:lnTo>
                  <a:pt x="1240" y="636"/>
                </a:lnTo>
                <a:lnTo>
                  <a:pt x="1204" y="614"/>
                </a:lnTo>
                <a:lnTo>
                  <a:pt x="1166" y="596"/>
                </a:lnTo>
                <a:lnTo>
                  <a:pt x="1126" y="582"/>
                </a:lnTo>
                <a:lnTo>
                  <a:pt x="1083" y="574"/>
                </a:lnTo>
                <a:lnTo>
                  <a:pt x="1039" y="571"/>
                </a:lnTo>
                <a:close/>
                <a:moveTo>
                  <a:pt x="1354" y="0"/>
                </a:moveTo>
                <a:lnTo>
                  <a:pt x="1400" y="0"/>
                </a:lnTo>
                <a:lnTo>
                  <a:pt x="1449" y="2"/>
                </a:lnTo>
                <a:lnTo>
                  <a:pt x="1500" y="7"/>
                </a:lnTo>
                <a:lnTo>
                  <a:pt x="1553" y="12"/>
                </a:lnTo>
                <a:lnTo>
                  <a:pt x="1607" y="20"/>
                </a:lnTo>
                <a:lnTo>
                  <a:pt x="1664" y="32"/>
                </a:lnTo>
                <a:lnTo>
                  <a:pt x="1721" y="46"/>
                </a:lnTo>
                <a:lnTo>
                  <a:pt x="1780" y="64"/>
                </a:lnTo>
                <a:lnTo>
                  <a:pt x="1838" y="84"/>
                </a:lnTo>
                <a:lnTo>
                  <a:pt x="1896" y="109"/>
                </a:lnTo>
                <a:lnTo>
                  <a:pt x="1955" y="137"/>
                </a:lnTo>
                <a:lnTo>
                  <a:pt x="2013" y="170"/>
                </a:lnTo>
                <a:lnTo>
                  <a:pt x="2072" y="208"/>
                </a:lnTo>
                <a:lnTo>
                  <a:pt x="2128" y="250"/>
                </a:lnTo>
                <a:lnTo>
                  <a:pt x="2183" y="298"/>
                </a:lnTo>
                <a:lnTo>
                  <a:pt x="2238" y="350"/>
                </a:lnTo>
                <a:lnTo>
                  <a:pt x="2271" y="386"/>
                </a:lnTo>
                <a:lnTo>
                  <a:pt x="2304" y="424"/>
                </a:lnTo>
                <a:lnTo>
                  <a:pt x="2333" y="464"/>
                </a:lnTo>
                <a:lnTo>
                  <a:pt x="2362" y="506"/>
                </a:lnTo>
                <a:lnTo>
                  <a:pt x="2390" y="549"/>
                </a:lnTo>
                <a:lnTo>
                  <a:pt x="2414" y="594"/>
                </a:lnTo>
                <a:lnTo>
                  <a:pt x="2435" y="642"/>
                </a:lnTo>
                <a:lnTo>
                  <a:pt x="2456" y="691"/>
                </a:lnTo>
                <a:lnTo>
                  <a:pt x="2472" y="744"/>
                </a:lnTo>
                <a:lnTo>
                  <a:pt x="2485" y="800"/>
                </a:lnTo>
                <a:lnTo>
                  <a:pt x="2495" y="859"/>
                </a:lnTo>
                <a:lnTo>
                  <a:pt x="2501" y="920"/>
                </a:lnTo>
                <a:lnTo>
                  <a:pt x="2505" y="984"/>
                </a:lnTo>
                <a:lnTo>
                  <a:pt x="2503" y="1053"/>
                </a:lnTo>
                <a:lnTo>
                  <a:pt x="2499" y="1126"/>
                </a:lnTo>
                <a:lnTo>
                  <a:pt x="2496" y="1142"/>
                </a:lnTo>
                <a:lnTo>
                  <a:pt x="2490" y="1160"/>
                </a:lnTo>
                <a:lnTo>
                  <a:pt x="2482" y="1178"/>
                </a:lnTo>
                <a:lnTo>
                  <a:pt x="2473" y="1198"/>
                </a:lnTo>
                <a:lnTo>
                  <a:pt x="2463" y="1218"/>
                </a:lnTo>
                <a:lnTo>
                  <a:pt x="2453" y="1238"/>
                </a:lnTo>
                <a:lnTo>
                  <a:pt x="2444" y="1261"/>
                </a:lnTo>
                <a:lnTo>
                  <a:pt x="2436" y="1284"/>
                </a:lnTo>
                <a:lnTo>
                  <a:pt x="2431" y="1308"/>
                </a:lnTo>
                <a:lnTo>
                  <a:pt x="2428" y="1334"/>
                </a:lnTo>
                <a:lnTo>
                  <a:pt x="2428" y="1362"/>
                </a:lnTo>
                <a:lnTo>
                  <a:pt x="2433" y="1390"/>
                </a:lnTo>
                <a:lnTo>
                  <a:pt x="2442" y="1421"/>
                </a:lnTo>
                <a:lnTo>
                  <a:pt x="2457" y="1452"/>
                </a:lnTo>
                <a:lnTo>
                  <a:pt x="2458" y="1456"/>
                </a:lnTo>
                <a:lnTo>
                  <a:pt x="2462" y="1462"/>
                </a:lnTo>
                <a:lnTo>
                  <a:pt x="2468" y="1474"/>
                </a:lnTo>
                <a:lnTo>
                  <a:pt x="2476" y="1488"/>
                </a:lnTo>
                <a:lnTo>
                  <a:pt x="2486" y="1506"/>
                </a:lnTo>
                <a:lnTo>
                  <a:pt x="2497" y="1526"/>
                </a:lnTo>
                <a:lnTo>
                  <a:pt x="2510" y="1548"/>
                </a:lnTo>
                <a:lnTo>
                  <a:pt x="2523" y="1573"/>
                </a:lnTo>
                <a:lnTo>
                  <a:pt x="2536" y="1598"/>
                </a:lnTo>
                <a:lnTo>
                  <a:pt x="2549" y="1624"/>
                </a:lnTo>
                <a:lnTo>
                  <a:pt x="2563" y="1651"/>
                </a:lnTo>
                <a:lnTo>
                  <a:pt x="2576" y="1676"/>
                </a:lnTo>
                <a:lnTo>
                  <a:pt x="2587" y="1701"/>
                </a:lnTo>
                <a:lnTo>
                  <a:pt x="2598" y="1726"/>
                </a:lnTo>
                <a:lnTo>
                  <a:pt x="2608" y="1748"/>
                </a:lnTo>
                <a:lnTo>
                  <a:pt x="2615" y="1767"/>
                </a:lnTo>
                <a:lnTo>
                  <a:pt x="2621" y="1785"/>
                </a:lnTo>
                <a:lnTo>
                  <a:pt x="2625" y="1798"/>
                </a:lnTo>
                <a:lnTo>
                  <a:pt x="2625" y="1808"/>
                </a:lnTo>
                <a:lnTo>
                  <a:pt x="2625" y="1810"/>
                </a:lnTo>
                <a:lnTo>
                  <a:pt x="2625" y="1814"/>
                </a:lnTo>
                <a:lnTo>
                  <a:pt x="2624" y="1821"/>
                </a:lnTo>
                <a:lnTo>
                  <a:pt x="2621" y="1829"/>
                </a:lnTo>
                <a:lnTo>
                  <a:pt x="2617" y="1838"/>
                </a:lnTo>
                <a:lnTo>
                  <a:pt x="2612" y="1849"/>
                </a:lnTo>
                <a:lnTo>
                  <a:pt x="2604" y="1860"/>
                </a:lnTo>
                <a:lnTo>
                  <a:pt x="2594" y="1870"/>
                </a:lnTo>
                <a:lnTo>
                  <a:pt x="2579" y="1881"/>
                </a:lnTo>
                <a:lnTo>
                  <a:pt x="2562" y="1889"/>
                </a:lnTo>
                <a:lnTo>
                  <a:pt x="2541" y="1896"/>
                </a:lnTo>
                <a:lnTo>
                  <a:pt x="2514" y="1901"/>
                </a:lnTo>
                <a:lnTo>
                  <a:pt x="2484" y="1903"/>
                </a:lnTo>
                <a:lnTo>
                  <a:pt x="2483" y="1903"/>
                </a:lnTo>
                <a:lnTo>
                  <a:pt x="2480" y="1904"/>
                </a:lnTo>
                <a:lnTo>
                  <a:pt x="2476" y="1906"/>
                </a:lnTo>
                <a:lnTo>
                  <a:pt x="2472" y="1910"/>
                </a:lnTo>
                <a:lnTo>
                  <a:pt x="2467" y="1915"/>
                </a:lnTo>
                <a:lnTo>
                  <a:pt x="2463" y="1923"/>
                </a:lnTo>
                <a:lnTo>
                  <a:pt x="2459" y="1934"/>
                </a:lnTo>
                <a:lnTo>
                  <a:pt x="2457" y="1948"/>
                </a:lnTo>
                <a:lnTo>
                  <a:pt x="2457" y="1965"/>
                </a:lnTo>
                <a:lnTo>
                  <a:pt x="2458" y="1987"/>
                </a:lnTo>
                <a:lnTo>
                  <a:pt x="2460" y="2102"/>
                </a:lnTo>
                <a:lnTo>
                  <a:pt x="2460" y="2103"/>
                </a:lnTo>
                <a:lnTo>
                  <a:pt x="2458" y="2107"/>
                </a:lnTo>
                <a:lnTo>
                  <a:pt x="2455" y="2114"/>
                </a:lnTo>
                <a:lnTo>
                  <a:pt x="2449" y="2121"/>
                </a:lnTo>
                <a:lnTo>
                  <a:pt x="2441" y="2131"/>
                </a:lnTo>
                <a:lnTo>
                  <a:pt x="2429" y="2139"/>
                </a:lnTo>
                <a:lnTo>
                  <a:pt x="2413" y="2148"/>
                </a:lnTo>
                <a:lnTo>
                  <a:pt x="2392" y="2157"/>
                </a:lnTo>
                <a:lnTo>
                  <a:pt x="2391" y="2158"/>
                </a:lnTo>
                <a:lnTo>
                  <a:pt x="2390" y="2161"/>
                </a:lnTo>
                <a:lnTo>
                  <a:pt x="2389" y="2165"/>
                </a:lnTo>
                <a:lnTo>
                  <a:pt x="2389" y="2173"/>
                </a:lnTo>
                <a:lnTo>
                  <a:pt x="2391" y="2181"/>
                </a:lnTo>
                <a:lnTo>
                  <a:pt x="2398" y="2192"/>
                </a:lnTo>
                <a:lnTo>
                  <a:pt x="2399" y="2193"/>
                </a:lnTo>
                <a:lnTo>
                  <a:pt x="2401" y="2196"/>
                </a:lnTo>
                <a:lnTo>
                  <a:pt x="2404" y="2201"/>
                </a:lnTo>
                <a:lnTo>
                  <a:pt x="2406" y="2210"/>
                </a:lnTo>
                <a:lnTo>
                  <a:pt x="2408" y="2219"/>
                </a:lnTo>
                <a:lnTo>
                  <a:pt x="2407" y="2232"/>
                </a:lnTo>
                <a:lnTo>
                  <a:pt x="2405" y="2248"/>
                </a:lnTo>
                <a:lnTo>
                  <a:pt x="2398" y="2264"/>
                </a:lnTo>
                <a:lnTo>
                  <a:pt x="2389" y="2285"/>
                </a:lnTo>
                <a:lnTo>
                  <a:pt x="2374" y="2308"/>
                </a:lnTo>
                <a:lnTo>
                  <a:pt x="2366" y="2317"/>
                </a:lnTo>
                <a:lnTo>
                  <a:pt x="2359" y="2329"/>
                </a:lnTo>
                <a:lnTo>
                  <a:pt x="2350" y="2340"/>
                </a:lnTo>
                <a:lnTo>
                  <a:pt x="2344" y="2353"/>
                </a:lnTo>
                <a:lnTo>
                  <a:pt x="2338" y="2368"/>
                </a:lnTo>
                <a:lnTo>
                  <a:pt x="2334" y="2385"/>
                </a:lnTo>
                <a:lnTo>
                  <a:pt x="2332" y="2404"/>
                </a:lnTo>
                <a:lnTo>
                  <a:pt x="2334" y="2425"/>
                </a:lnTo>
                <a:lnTo>
                  <a:pt x="2340" y="2448"/>
                </a:lnTo>
                <a:lnTo>
                  <a:pt x="2340" y="2450"/>
                </a:lnTo>
                <a:lnTo>
                  <a:pt x="2341" y="2459"/>
                </a:lnTo>
                <a:lnTo>
                  <a:pt x="2343" y="2471"/>
                </a:lnTo>
                <a:lnTo>
                  <a:pt x="2344" y="2486"/>
                </a:lnTo>
                <a:lnTo>
                  <a:pt x="2345" y="2505"/>
                </a:lnTo>
                <a:lnTo>
                  <a:pt x="2346" y="2524"/>
                </a:lnTo>
                <a:lnTo>
                  <a:pt x="2345" y="2545"/>
                </a:lnTo>
                <a:lnTo>
                  <a:pt x="2343" y="2565"/>
                </a:lnTo>
                <a:lnTo>
                  <a:pt x="2338" y="2584"/>
                </a:lnTo>
                <a:lnTo>
                  <a:pt x="2331" y="2601"/>
                </a:lnTo>
                <a:lnTo>
                  <a:pt x="2322" y="2616"/>
                </a:lnTo>
                <a:lnTo>
                  <a:pt x="2309" y="2626"/>
                </a:lnTo>
                <a:lnTo>
                  <a:pt x="2308" y="2627"/>
                </a:lnTo>
                <a:lnTo>
                  <a:pt x="2306" y="2630"/>
                </a:lnTo>
                <a:lnTo>
                  <a:pt x="2300" y="2635"/>
                </a:lnTo>
                <a:lnTo>
                  <a:pt x="2293" y="2640"/>
                </a:lnTo>
                <a:lnTo>
                  <a:pt x="2282" y="2645"/>
                </a:lnTo>
                <a:lnTo>
                  <a:pt x="2270" y="2652"/>
                </a:lnTo>
                <a:lnTo>
                  <a:pt x="2254" y="2658"/>
                </a:lnTo>
                <a:lnTo>
                  <a:pt x="2233" y="2664"/>
                </a:lnTo>
                <a:lnTo>
                  <a:pt x="2211" y="2669"/>
                </a:lnTo>
                <a:lnTo>
                  <a:pt x="2183" y="2674"/>
                </a:lnTo>
                <a:lnTo>
                  <a:pt x="2153" y="2677"/>
                </a:lnTo>
                <a:lnTo>
                  <a:pt x="2118" y="2679"/>
                </a:lnTo>
                <a:lnTo>
                  <a:pt x="2077" y="2678"/>
                </a:lnTo>
                <a:lnTo>
                  <a:pt x="2033" y="2676"/>
                </a:lnTo>
                <a:lnTo>
                  <a:pt x="1983" y="2670"/>
                </a:lnTo>
                <a:lnTo>
                  <a:pt x="1960" y="2668"/>
                </a:lnTo>
                <a:lnTo>
                  <a:pt x="1936" y="2664"/>
                </a:lnTo>
                <a:lnTo>
                  <a:pt x="1909" y="2661"/>
                </a:lnTo>
                <a:lnTo>
                  <a:pt x="1882" y="2658"/>
                </a:lnTo>
                <a:lnTo>
                  <a:pt x="1852" y="2655"/>
                </a:lnTo>
                <a:lnTo>
                  <a:pt x="1822" y="2655"/>
                </a:lnTo>
                <a:lnTo>
                  <a:pt x="1791" y="2656"/>
                </a:lnTo>
                <a:lnTo>
                  <a:pt x="1760" y="2660"/>
                </a:lnTo>
                <a:lnTo>
                  <a:pt x="1731" y="2667"/>
                </a:lnTo>
                <a:lnTo>
                  <a:pt x="1701" y="2679"/>
                </a:lnTo>
                <a:lnTo>
                  <a:pt x="1673" y="2695"/>
                </a:lnTo>
                <a:lnTo>
                  <a:pt x="1647" y="2715"/>
                </a:lnTo>
                <a:lnTo>
                  <a:pt x="1623" y="2741"/>
                </a:lnTo>
                <a:lnTo>
                  <a:pt x="1621" y="2743"/>
                </a:lnTo>
                <a:lnTo>
                  <a:pt x="1618" y="2751"/>
                </a:lnTo>
                <a:lnTo>
                  <a:pt x="1612" y="2762"/>
                </a:lnTo>
                <a:lnTo>
                  <a:pt x="1603" y="2778"/>
                </a:lnTo>
                <a:lnTo>
                  <a:pt x="1593" y="2797"/>
                </a:lnTo>
                <a:lnTo>
                  <a:pt x="1582" y="2819"/>
                </a:lnTo>
                <a:lnTo>
                  <a:pt x="1569" y="2844"/>
                </a:lnTo>
                <a:lnTo>
                  <a:pt x="1555" y="2872"/>
                </a:lnTo>
                <a:lnTo>
                  <a:pt x="1540" y="2901"/>
                </a:lnTo>
                <a:lnTo>
                  <a:pt x="1524" y="2932"/>
                </a:lnTo>
                <a:lnTo>
                  <a:pt x="1508" y="2965"/>
                </a:lnTo>
                <a:lnTo>
                  <a:pt x="1493" y="2997"/>
                </a:lnTo>
                <a:lnTo>
                  <a:pt x="1475" y="3031"/>
                </a:lnTo>
                <a:lnTo>
                  <a:pt x="1460" y="3065"/>
                </a:lnTo>
                <a:lnTo>
                  <a:pt x="1445" y="3098"/>
                </a:lnTo>
                <a:lnTo>
                  <a:pt x="1430" y="3130"/>
                </a:lnTo>
                <a:lnTo>
                  <a:pt x="1416" y="3161"/>
                </a:lnTo>
                <a:lnTo>
                  <a:pt x="1403" y="3190"/>
                </a:lnTo>
                <a:lnTo>
                  <a:pt x="1392" y="3219"/>
                </a:lnTo>
                <a:lnTo>
                  <a:pt x="1382" y="3244"/>
                </a:lnTo>
                <a:lnTo>
                  <a:pt x="1373" y="3266"/>
                </a:lnTo>
                <a:lnTo>
                  <a:pt x="1368" y="3285"/>
                </a:lnTo>
                <a:lnTo>
                  <a:pt x="1364" y="3301"/>
                </a:lnTo>
                <a:lnTo>
                  <a:pt x="1363" y="3299"/>
                </a:lnTo>
                <a:lnTo>
                  <a:pt x="1359" y="3292"/>
                </a:lnTo>
                <a:lnTo>
                  <a:pt x="1351" y="3280"/>
                </a:lnTo>
                <a:lnTo>
                  <a:pt x="1342" y="3264"/>
                </a:lnTo>
                <a:lnTo>
                  <a:pt x="1329" y="3244"/>
                </a:lnTo>
                <a:lnTo>
                  <a:pt x="1314" y="3220"/>
                </a:lnTo>
                <a:lnTo>
                  <a:pt x="1297" y="3194"/>
                </a:lnTo>
                <a:lnTo>
                  <a:pt x="1277" y="3164"/>
                </a:lnTo>
                <a:lnTo>
                  <a:pt x="1255" y="3132"/>
                </a:lnTo>
                <a:lnTo>
                  <a:pt x="1231" y="3098"/>
                </a:lnTo>
                <a:lnTo>
                  <a:pt x="1204" y="3062"/>
                </a:lnTo>
                <a:lnTo>
                  <a:pt x="1176" y="3024"/>
                </a:lnTo>
                <a:lnTo>
                  <a:pt x="1146" y="2985"/>
                </a:lnTo>
                <a:lnTo>
                  <a:pt x="1113" y="2946"/>
                </a:lnTo>
                <a:lnTo>
                  <a:pt x="1079" y="2905"/>
                </a:lnTo>
                <a:lnTo>
                  <a:pt x="1043" y="2865"/>
                </a:lnTo>
                <a:lnTo>
                  <a:pt x="1006" y="2824"/>
                </a:lnTo>
                <a:lnTo>
                  <a:pt x="966" y="2784"/>
                </a:lnTo>
                <a:lnTo>
                  <a:pt x="926" y="2744"/>
                </a:lnTo>
                <a:lnTo>
                  <a:pt x="883" y="2706"/>
                </a:lnTo>
                <a:lnTo>
                  <a:pt x="840" y="2669"/>
                </a:lnTo>
                <a:lnTo>
                  <a:pt x="795" y="2635"/>
                </a:lnTo>
                <a:lnTo>
                  <a:pt x="749" y="2602"/>
                </a:lnTo>
                <a:lnTo>
                  <a:pt x="703" y="2571"/>
                </a:lnTo>
                <a:lnTo>
                  <a:pt x="654" y="2543"/>
                </a:lnTo>
                <a:lnTo>
                  <a:pt x="605" y="2519"/>
                </a:lnTo>
                <a:lnTo>
                  <a:pt x="555" y="2496"/>
                </a:lnTo>
                <a:lnTo>
                  <a:pt x="505" y="2479"/>
                </a:lnTo>
                <a:lnTo>
                  <a:pt x="453" y="2465"/>
                </a:lnTo>
                <a:lnTo>
                  <a:pt x="454" y="2463"/>
                </a:lnTo>
                <a:lnTo>
                  <a:pt x="457" y="2455"/>
                </a:lnTo>
                <a:lnTo>
                  <a:pt x="461" y="2444"/>
                </a:lnTo>
                <a:lnTo>
                  <a:pt x="466" y="2427"/>
                </a:lnTo>
                <a:lnTo>
                  <a:pt x="471" y="2406"/>
                </a:lnTo>
                <a:lnTo>
                  <a:pt x="475" y="2382"/>
                </a:lnTo>
                <a:lnTo>
                  <a:pt x="479" y="2353"/>
                </a:lnTo>
                <a:lnTo>
                  <a:pt x="483" y="2320"/>
                </a:lnTo>
                <a:lnTo>
                  <a:pt x="483" y="2285"/>
                </a:lnTo>
                <a:lnTo>
                  <a:pt x="482" y="2246"/>
                </a:lnTo>
                <a:lnTo>
                  <a:pt x="477" y="2203"/>
                </a:lnTo>
                <a:lnTo>
                  <a:pt x="470" y="2159"/>
                </a:lnTo>
                <a:lnTo>
                  <a:pt x="458" y="2111"/>
                </a:lnTo>
                <a:lnTo>
                  <a:pt x="443" y="2061"/>
                </a:lnTo>
                <a:lnTo>
                  <a:pt x="423" y="2008"/>
                </a:lnTo>
                <a:lnTo>
                  <a:pt x="397" y="1953"/>
                </a:lnTo>
                <a:lnTo>
                  <a:pt x="365" y="1898"/>
                </a:lnTo>
                <a:lnTo>
                  <a:pt x="327" y="1840"/>
                </a:lnTo>
                <a:lnTo>
                  <a:pt x="325" y="1836"/>
                </a:lnTo>
                <a:lnTo>
                  <a:pt x="320" y="1830"/>
                </a:lnTo>
                <a:lnTo>
                  <a:pt x="313" y="1819"/>
                </a:lnTo>
                <a:lnTo>
                  <a:pt x="302" y="1806"/>
                </a:lnTo>
                <a:lnTo>
                  <a:pt x="289" y="1788"/>
                </a:lnTo>
                <a:lnTo>
                  <a:pt x="274" y="1767"/>
                </a:lnTo>
                <a:lnTo>
                  <a:pt x="258" y="1742"/>
                </a:lnTo>
                <a:lnTo>
                  <a:pt x="240" y="1716"/>
                </a:lnTo>
                <a:lnTo>
                  <a:pt x="221" y="1688"/>
                </a:lnTo>
                <a:lnTo>
                  <a:pt x="201" y="1657"/>
                </a:lnTo>
                <a:lnTo>
                  <a:pt x="181" y="1624"/>
                </a:lnTo>
                <a:lnTo>
                  <a:pt x="161" y="1591"/>
                </a:lnTo>
                <a:lnTo>
                  <a:pt x="139" y="1556"/>
                </a:lnTo>
                <a:lnTo>
                  <a:pt x="119" y="1520"/>
                </a:lnTo>
                <a:lnTo>
                  <a:pt x="100" y="1483"/>
                </a:lnTo>
                <a:lnTo>
                  <a:pt x="82" y="1447"/>
                </a:lnTo>
                <a:lnTo>
                  <a:pt x="65" y="1410"/>
                </a:lnTo>
                <a:lnTo>
                  <a:pt x="49" y="1374"/>
                </a:lnTo>
                <a:lnTo>
                  <a:pt x="36" y="1339"/>
                </a:lnTo>
                <a:lnTo>
                  <a:pt x="24" y="1304"/>
                </a:lnTo>
                <a:lnTo>
                  <a:pt x="16" y="1271"/>
                </a:lnTo>
                <a:lnTo>
                  <a:pt x="10" y="1238"/>
                </a:lnTo>
                <a:lnTo>
                  <a:pt x="6" y="1209"/>
                </a:lnTo>
                <a:lnTo>
                  <a:pt x="6" y="1206"/>
                </a:lnTo>
                <a:lnTo>
                  <a:pt x="4" y="1197"/>
                </a:lnTo>
                <a:lnTo>
                  <a:pt x="3" y="1185"/>
                </a:lnTo>
                <a:lnTo>
                  <a:pt x="1" y="1166"/>
                </a:lnTo>
                <a:lnTo>
                  <a:pt x="0" y="1142"/>
                </a:lnTo>
                <a:lnTo>
                  <a:pt x="0" y="1126"/>
                </a:lnTo>
                <a:lnTo>
                  <a:pt x="0" y="1109"/>
                </a:lnTo>
                <a:lnTo>
                  <a:pt x="0" y="1084"/>
                </a:lnTo>
                <a:lnTo>
                  <a:pt x="2" y="1049"/>
                </a:lnTo>
                <a:lnTo>
                  <a:pt x="7" y="1010"/>
                </a:lnTo>
                <a:lnTo>
                  <a:pt x="14" y="966"/>
                </a:lnTo>
                <a:lnTo>
                  <a:pt x="24" y="921"/>
                </a:lnTo>
                <a:lnTo>
                  <a:pt x="37" y="871"/>
                </a:lnTo>
                <a:lnTo>
                  <a:pt x="54" y="820"/>
                </a:lnTo>
                <a:lnTo>
                  <a:pt x="75" y="766"/>
                </a:lnTo>
                <a:lnTo>
                  <a:pt x="101" y="709"/>
                </a:lnTo>
                <a:lnTo>
                  <a:pt x="132" y="651"/>
                </a:lnTo>
                <a:lnTo>
                  <a:pt x="168" y="591"/>
                </a:lnTo>
                <a:lnTo>
                  <a:pt x="209" y="529"/>
                </a:lnTo>
                <a:lnTo>
                  <a:pt x="258" y="466"/>
                </a:lnTo>
                <a:lnTo>
                  <a:pt x="313" y="402"/>
                </a:lnTo>
                <a:lnTo>
                  <a:pt x="341" y="372"/>
                </a:lnTo>
                <a:lnTo>
                  <a:pt x="371" y="341"/>
                </a:lnTo>
                <a:lnTo>
                  <a:pt x="402" y="310"/>
                </a:lnTo>
                <a:lnTo>
                  <a:pt x="434" y="282"/>
                </a:lnTo>
                <a:lnTo>
                  <a:pt x="469" y="252"/>
                </a:lnTo>
                <a:lnTo>
                  <a:pt x="505" y="225"/>
                </a:lnTo>
                <a:lnTo>
                  <a:pt x="543" y="199"/>
                </a:lnTo>
                <a:lnTo>
                  <a:pt x="585" y="172"/>
                </a:lnTo>
                <a:lnTo>
                  <a:pt x="628" y="148"/>
                </a:lnTo>
                <a:lnTo>
                  <a:pt x="675" y="126"/>
                </a:lnTo>
                <a:lnTo>
                  <a:pt x="725" y="104"/>
                </a:lnTo>
                <a:lnTo>
                  <a:pt x="778" y="84"/>
                </a:lnTo>
                <a:lnTo>
                  <a:pt x="836" y="66"/>
                </a:lnTo>
                <a:lnTo>
                  <a:pt x="896" y="50"/>
                </a:lnTo>
                <a:lnTo>
                  <a:pt x="961" y="35"/>
                </a:lnTo>
                <a:lnTo>
                  <a:pt x="1030" y="24"/>
                </a:lnTo>
                <a:lnTo>
                  <a:pt x="1103" y="14"/>
                </a:lnTo>
                <a:lnTo>
                  <a:pt x="1182" y="7"/>
                </a:lnTo>
                <a:lnTo>
                  <a:pt x="1265" y="2"/>
                </a:lnTo>
                <a:lnTo>
                  <a:pt x="1354" y="0"/>
                </a:lnTo>
                <a:close/>
              </a:path>
            </a:pathLst>
          </a:cu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5646420" y="3573851"/>
            <a:ext cx="899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gradFill>
                  <a:gsLst>
                    <a:gs pos="13000">
                      <a:srgbClr val="0084CB"/>
                    </a:gs>
                    <a:gs pos="100000">
                      <a:srgbClr val="00C2F3"/>
                    </a:gs>
                  </a:gsLst>
                  <a:lin ang="2700000" scaled="1"/>
                </a:gradFill>
                <a:latin typeface="Raleway" panose="020B0003030101060003" pitchFamily="34" charset="0"/>
              </a:rPr>
              <a:t>vs.</a:t>
            </a:r>
            <a:endParaRPr lang="en-CA" sz="3200" b="1" dirty="0">
              <a:gradFill>
                <a:gsLst>
                  <a:gs pos="13000">
                    <a:srgbClr val="0084CB"/>
                  </a:gs>
                  <a:gs pos="100000">
                    <a:srgbClr val="00C2F3"/>
                  </a:gs>
                </a:gsLst>
                <a:lin ang="2700000" scaled="1"/>
              </a:gradFill>
              <a:latin typeface="Raleway" panose="020B0003030101060003" pitchFamily="34" charset="0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3377252" y="1514188"/>
            <a:ext cx="754084" cy="754084"/>
          </a:xfrm>
          <a:prstGeom prst="ellipse">
            <a:avLst/>
          </a:pr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8639" y="1811072"/>
            <a:ext cx="1745934" cy="914400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23" name="Freeform 6"/>
          <p:cNvSpPr>
            <a:spLocks noChangeAspect="1" noEditPoints="1"/>
          </p:cNvSpPr>
          <p:nvPr/>
        </p:nvSpPr>
        <p:spPr bwMode="auto">
          <a:xfrm>
            <a:off x="6935002" y="3374042"/>
            <a:ext cx="184664" cy="182880"/>
          </a:xfrm>
          <a:custGeom>
            <a:avLst/>
            <a:gdLst>
              <a:gd name="T0" fmla="*/ 2188 w 3309"/>
              <a:gd name="T1" fmla="*/ 922 h 3277"/>
              <a:gd name="T2" fmla="*/ 2136 w 3309"/>
              <a:gd name="T3" fmla="*/ 966 h 3277"/>
              <a:gd name="T4" fmla="*/ 1087 w 3309"/>
              <a:gd name="T5" fmla="*/ 1747 h 3277"/>
              <a:gd name="T6" fmla="*/ 1022 w 3309"/>
              <a:gd name="T7" fmla="*/ 1730 h 3277"/>
              <a:gd name="T8" fmla="*/ 959 w 3309"/>
              <a:gd name="T9" fmla="*/ 1758 h 3277"/>
              <a:gd name="T10" fmla="*/ 927 w 3309"/>
              <a:gd name="T11" fmla="*/ 1818 h 3277"/>
              <a:gd name="T12" fmla="*/ 940 w 3309"/>
              <a:gd name="T13" fmla="*/ 1883 h 3277"/>
              <a:gd name="T14" fmla="*/ 1445 w 3309"/>
              <a:gd name="T15" fmla="*/ 2349 h 3277"/>
              <a:gd name="T16" fmla="*/ 1510 w 3309"/>
              <a:gd name="T17" fmla="*/ 2366 h 3277"/>
              <a:gd name="T18" fmla="*/ 1574 w 3309"/>
              <a:gd name="T19" fmla="*/ 2339 h 3277"/>
              <a:gd name="T20" fmla="*/ 1590 w 3309"/>
              <a:gd name="T21" fmla="*/ 2314 h 3277"/>
              <a:gd name="T22" fmla="*/ 1628 w 3309"/>
              <a:gd name="T23" fmla="*/ 2250 h 3277"/>
              <a:gd name="T24" fmla="*/ 1684 w 3309"/>
              <a:gd name="T25" fmla="*/ 2155 h 3277"/>
              <a:gd name="T26" fmla="*/ 1755 w 3309"/>
              <a:gd name="T27" fmla="*/ 2034 h 3277"/>
              <a:gd name="T28" fmla="*/ 1835 w 3309"/>
              <a:gd name="T29" fmla="*/ 1897 h 3277"/>
              <a:gd name="T30" fmla="*/ 1921 w 3309"/>
              <a:gd name="T31" fmla="*/ 1749 h 3277"/>
              <a:gd name="T32" fmla="*/ 2007 w 3309"/>
              <a:gd name="T33" fmla="*/ 1601 h 3277"/>
              <a:gd name="T34" fmla="*/ 2091 w 3309"/>
              <a:gd name="T35" fmla="*/ 1456 h 3277"/>
              <a:gd name="T36" fmla="*/ 2167 w 3309"/>
              <a:gd name="T37" fmla="*/ 1324 h 3277"/>
              <a:gd name="T38" fmla="*/ 2233 w 3309"/>
              <a:gd name="T39" fmla="*/ 1213 h 3277"/>
              <a:gd name="T40" fmla="*/ 2281 w 3309"/>
              <a:gd name="T41" fmla="*/ 1128 h 3277"/>
              <a:gd name="T42" fmla="*/ 2310 w 3309"/>
              <a:gd name="T43" fmla="*/ 1079 h 3277"/>
              <a:gd name="T44" fmla="*/ 2326 w 3309"/>
              <a:gd name="T45" fmla="*/ 1047 h 3277"/>
              <a:gd name="T46" fmla="*/ 2322 w 3309"/>
              <a:gd name="T47" fmla="*/ 981 h 3277"/>
              <a:gd name="T48" fmla="*/ 2278 w 3309"/>
              <a:gd name="T49" fmla="*/ 928 h 3277"/>
              <a:gd name="T50" fmla="*/ 1655 w 3309"/>
              <a:gd name="T51" fmla="*/ 0 h 3277"/>
              <a:gd name="T52" fmla="*/ 1963 w 3309"/>
              <a:gd name="T53" fmla="*/ 29 h 3277"/>
              <a:gd name="T54" fmla="*/ 2253 w 3309"/>
              <a:gd name="T55" fmla="*/ 110 h 3277"/>
              <a:gd name="T56" fmla="*/ 2518 w 3309"/>
              <a:gd name="T57" fmla="*/ 240 h 3277"/>
              <a:gd name="T58" fmla="*/ 2754 w 3309"/>
              <a:gd name="T59" fmla="*/ 414 h 3277"/>
              <a:gd name="T60" fmla="*/ 2955 w 3309"/>
              <a:gd name="T61" fmla="*/ 624 h 3277"/>
              <a:gd name="T62" fmla="*/ 3116 w 3309"/>
              <a:gd name="T63" fmla="*/ 869 h 3277"/>
              <a:gd name="T64" fmla="*/ 3231 w 3309"/>
              <a:gd name="T65" fmla="*/ 1140 h 3277"/>
              <a:gd name="T66" fmla="*/ 3296 w 3309"/>
              <a:gd name="T67" fmla="*/ 1433 h 3277"/>
              <a:gd name="T68" fmla="*/ 3306 w 3309"/>
              <a:gd name="T69" fmla="*/ 1742 h 3277"/>
              <a:gd name="T70" fmla="*/ 3258 w 3309"/>
              <a:gd name="T71" fmla="*/ 2042 h 3277"/>
              <a:gd name="T72" fmla="*/ 3159 w 3309"/>
              <a:gd name="T73" fmla="*/ 2321 h 3277"/>
              <a:gd name="T74" fmla="*/ 3013 w 3309"/>
              <a:gd name="T75" fmla="*/ 2575 h 3277"/>
              <a:gd name="T76" fmla="*/ 2825 w 3309"/>
              <a:gd name="T77" fmla="*/ 2798 h 3277"/>
              <a:gd name="T78" fmla="*/ 2601 w 3309"/>
              <a:gd name="T79" fmla="*/ 2984 h 3277"/>
              <a:gd name="T80" fmla="*/ 2345 w 3309"/>
              <a:gd name="T81" fmla="*/ 3129 h 3277"/>
              <a:gd name="T82" fmla="*/ 2062 w 3309"/>
              <a:gd name="T83" fmla="*/ 3227 h 3277"/>
              <a:gd name="T84" fmla="*/ 1760 w 3309"/>
              <a:gd name="T85" fmla="*/ 3274 h 3277"/>
              <a:gd name="T86" fmla="*/ 1447 w 3309"/>
              <a:gd name="T87" fmla="*/ 3265 h 3277"/>
              <a:gd name="T88" fmla="*/ 1151 w 3309"/>
              <a:gd name="T89" fmla="*/ 3200 h 3277"/>
              <a:gd name="T90" fmla="*/ 877 w 3309"/>
              <a:gd name="T91" fmla="*/ 3086 h 3277"/>
              <a:gd name="T92" fmla="*/ 630 w 3309"/>
              <a:gd name="T93" fmla="*/ 2926 h 3277"/>
              <a:gd name="T94" fmla="*/ 418 w 3309"/>
              <a:gd name="T95" fmla="*/ 2727 h 3277"/>
              <a:gd name="T96" fmla="*/ 243 w 3309"/>
              <a:gd name="T97" fmla="*/ 2494 h 3277"/>
              <a:gd name="T98" fmla="*/ 111 w 3309"/>
              <a:gd name="T99" fmla="*/ 2231 h 3277"/>
              <a:gd name="T100" fmla="*/ 28 w 3309"/>
              <a:gd name="T101" fmla="*/ 1944 h 3277"/>
              <a:gd name="T102" fmla="*/ 0 w 3309"/>
              <a:gd name="T103" fmla="*/ 1638 h 3277"/>
              <a:gd name="T104" fmla="*/ 28 w 3309"/>
              <a:gd name="T105" fmla="*/ 1333 h 3277"/>
              <a:gd name="T106" fmla="*/ 111 w 3309"/>
              <a:gd name="T107" fmla="*/ 1047 h 3277"/>
              <a:gd name="T108" fmla="*/ 243 w 3309"/>
              <a:gd name="T109" fmla="*/ 784 h 3277"/>
              <a:gd name="T110" fmla="*/ 418 w 3309"/>
              <a:gd name="T111" fmla="*/ 550 h 3277"/>
              <a:gd name="T112" fmla="*/ 630 w 3309"/>
              <a:gd name="T113" fmla="*/ 351 h 3277"/>
              <a:gd name="T114" fmla="*/ 877 w 3309"/>
              <a:gd name="T115" fmla="*/ 192 h 3277"/>
              <a:gd name="T116" fmla="*/ 1151 w 3309"/>
              <a:gd name="T117" fmla="*/ 78 h 3277"/>
              <a:gd name="T118" fmla="*/ 1447 w 3309"/>
              <a:gd name="T119" fmla="*/ 13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09" h="3277">
                <a:moveTo>
                  <a:pt x="2234" y="915"/>
                </a:moveTo>
                <a:lnTo>
                  <a:pt x="2210" y="916"/>
                </a:lnTo>
                <a:lnTo>
                  <a:pt x="2188" y="922"/>
                </a:lnTo>
                <a:lnTo>
                  <a:pt x="2168" y="932"/>
                </a:lnTo>
                <a:lnTo>
                  <a:pt x="2151" y="947"/>
                </a:lnTo>
                <a:lnTo>
                  <a:pt x="2136" y="966"/>
                </a:lnTo>
                <a:lnTo>
                  <a:pt x="1475" y="2100"/>
                </a:lnTo>
                <a:lnTo>
                  <a:pt x="1105" y="1763"/>
                </a:lnTo>
                <a:lnTo>
                  <a:pt x="1087" y="1747"/>
                </a:lnTo>
                <a:lnTo>
                  <a:pt x="1066" y="1737"/>
                </a:lnTo>
                <a:lnTo>
                  <a:pt x="1045" y="1731"/>
                </a:lnTo>
                <a:lnTo>
                  <a:pt x="1022" y="1730"/>
                </a:lnTo>
                <a:lnTo>
                  <a:pt x="999" y="1735"/>
                </a:lnTo>
                <a:lnTo>
                  <a:pt x="978" y="1744"/>
                </a:lnTo>
                <a:lnTo>
                  <a:pt x="959" y="1758"/>
                </a:lnTo>
                <a:lnTo>
                  <a:pt x="943" y="1775"/>
                </a:lnTo>
                <a:lnTo>
                  <a:pt x="933" y="1796"/>
                </a:lnTo>
                <a:lnTo>
                  <a:pt x="927" y="1818"/>
                </a:lnTo>
                <a:lnTo>
                  <a:pt x="926" y="1840"/>
                </a:lnTo>
                <a:lnTo>
                  <a:pt x="931" y="1862"/>
                </a:lnTo>
                <a:lnTo>
                  <a:pt x="940" y="1883"/>
                </a:lnTo>
                <a:lnTo>
                  <a:pt x="954" y="1902"/>
                </a:lnTo>
                <a:lnTo>
                  <a:pt x="1427" y="2334"/>
                </a:lnTo>
                <a:lnTo>
                  <a:pt x="1445" y="2349"/>
                </a:lnTo>
                <a:lnTo>
                  <a:pt x="1466" y="2360"/>
                </a:lnTo>
                <a:lnTo>
                  <a:pt x="1488" y="2366"/>
                </a:lnTo>
                <a:lnTo>
                  <a:pt x="1510" y="2366"/>
                </a:lnTo>
                <a:lnTo>
                  <a:pt x="1532" y="2362"/>
                </a:lnTo>
                <a:lnTo>
                  <a:pt x="1555" y="2354"/>
                </a:lnTo>
                <a:lnTo>
                  <a:pt x="1574" y="2339"/>
                </a:lnTo>
                <a:lnTo>
                  <a:pt x="1576" y="2336"/>
                </a:lnTo>
                <a:lnTo>
                  <a:pt x="1581" y="2327"/>
                </a:lnTo>
                <a:lnTo>
                  <a:pt x="1590" y="2314"/>
                </a:lnTo>
                <a:lnTo>
                  <a:pt x="1600" y="2297"/>
                </a:lnTo>
                <a:lnTo>
                  <a:pt x="1613" y="2275"/>
                </a:lnTo>
                <a:lnTo>
                  <a:pt x="1628" y="2250"/>
                </a:lnTo>
                <a:lnTo>
                  <a:pt x="1645" y="2222"/>
                </a:lnTo>
                <a:lnTo>
                  <a:pt x="1664" y="2189"/>
                </a:lnTo>
                <a:lnTo>
                  <a:pt x="1684" y="2155"/>
                </a:lnTo>
                <a:lnTo>
                  <a:pt x="1706" y="2117"/>
                </a:lnTo>
                <a:lnTo>
                  <a:pt x="1729" y="2076"/>
                </a:lnTo>
                <a:lnTo>
                  <a:pt x="1755" y="2034"/>
                </a:lnTo>
                <a:lnTo>
                  <a:pt x="1780" y="1989"/>
                </a:lnTo>
                <a:lnTo>
                  <a:pt x="1807" y="1944"/>
                </a:lnTo>
                <a:lnTo>
                  <a:pt x="1835" y="1897"/>
                </a:lnTo>
                <a:lnTo>
                  <a:pt x="1862" y="1848"/>
                </a:lnTo>
                <a:lnTo>
                  <a:pt x="1891" y="1798"/>
                </a:lnTo>
                <a:lnTo>
                  <a:pt x="1921" y="1749"/>
                </a:lnTo>
                <a:lnTo>
                  <a:pt x="1949" y="1699"/>
                </a:lnTo>
                <a:lnTo>
                  <a:pt x="1979" y="1650"/>
                </a:lnTo>
                <a:lnTo>
                  <a:pt x="2007" y="1601"/>
                </a:lnTo>
                <a:lnTo>
                  <a:pt x="2036" y="1551"/>
                </a:lnTo>
                <a:lnTo>
                  <a:pt x="2063" y="1503"/>
                </a:lnTo>
                <a:lnTo>
                  <a:pt x="2091" y="1456"/>
                </a:lnTo>
                <a:lnTo>
                  <a:pt x="2117" y="1410"/>
                </a:lnTo>
                <a:lnTo>
                  <a:pt x="2143" y="1366"/>
                </a:lnTo>
                <a:lnTo>
                  <a:pt x="2167" y="1324"/>
                </a:lnTo>
                <a:lnTo>
                  <a:pt x="2190" y="1284"/>
                </a:lnTo>
                <a:lnTo>
                  <a:pt x="2212" y="1248"/>
                </a:lnTo>
                <a:lnTo>
                  <a:pt x="2233" y="1213"/>
                </a:lnTo>
                <a:lnTo>
                  <a:pt x="2251" y="1182"/>
                </a:lnTo>
                <a:lnTo>
                  <a:pt x="2266" y="1153"/>
                </a:lnTo>
                <a:lnTo>
                  <a:pt x="2281" y="1128"/>
                </a:lnTo>
                <a:lnTo>
                  <a:pt x="2293" y="1107"/>
                </a:lnTo>
                <a:lnTo>
                  <a:pt x="2302" y="1091"/>
                </a:lnTo>
                <a:lnTo>
                  <a:pt x="2310" y="1079"/>
                </a:lnTo>
                <a:lnTo>
                  <a:pt x="2314" y="1072"/>
                </a:lnTo>
                <a:lnTo>
                  <a:pt x="2316" y="1069"/>
                </a:lnTo>
                <a:lnTo>
                  <a:pt x="2326" y="1047"/>
                </a:lnTo>
                <a:lnTo>
                  <a:pt x="2330" y="1025"/>
                </a:lnTo>
                <a:lnTo>
                  <a:pt x="2329" y="1003"/>
                </a:lnTo>
                <a:lnTo>
                  <a:pt x="2322" y="981"/>
                </a:lnTo>
                <a:lnTo>
                  <a:pt x="2312" y="961"/>
                </a:lnTo>
                <a:lnTo>
                  <a:pt x="2297" y="943"/>
                </a:lnTo>
                <a:lnTo>
                  <a:pt x="2278" y="928"/>
                </a:lnTo>
                <a:lnTo>
                  <a:pt x="2256" y="919"/>
                </a:lnTo>
                <a:lnTo>
                  <a:pt x="2234" y="915"/>
                </a:lnTo>
                <a:close/>
                <a:moveTo>
                  <a:pt x="1655" y="0"/>
                </a:moveTo>
                <a:lnTo>
                  <a:pt x="1760" y="3"/>
                </a:lnTo>
                <a:lnTo>
                  <a:pt x="1862" y="13"/>
                </a:lnTo>
                <a:lnTo>
                  <a:pt x="1963" y="29"/>
                </a:lnTo>
                <a:lnTo>
                  <a:pt x="2062" y="51"/>
                </a:lnTo>
                <a:lnTo>
                  <a:pt x="2159" y="78"/>
                </a:lnTo>
                <a:lnTo>
                  <a:pt x="2253" y="110"/>
                </a:lnTo>
                <a:lnTo>
                  <a:pt x="2345" y="149"/>
                </a:lnTo>
                <a:lnTo>
                  <a:pt x="2432" y="192"/>
                </a:lnTo>
                <a:lnTo>
                  <a:pt x="2518" y="240"/>
                </a:lnTo>
                <a:lnTo>
                  <a:pt x="2601" y="294"/>
                </a:lnTo>
                <a:lnTo>
                  <a:pt x="2679" y="351"/>
                </a:lnTo>
                <a:lnTo>
                  <a:pt x="2754" y="414"/>
                </a:lnTo>
                <a:lnTo>
                  <a:pt x="2825" y="480"/>
                </a:lnTo>
                <a:lnTo>
                  <a:pt x="2891" y="550"/>
                </a:lnTo>
                <a:lnTo>
                  <a:pt x="2955" y="624"/>
                </a:lnTo>
                <a:lnTo>
                  <a:pt x="3013" y="703"/>
                </a:lnTo>
                <a:lnTo>
                  <a:pt x="3067" y="784"/>
                </a:lnTo>
                <a:lnTo>
                  <a:pt x="3116" y="869"/>
                </a:lnTo>
                <a:lnTo>
                  <a:pt x="3159" y="956"/>
                </a:lnTo>
                <a:lnTo>
                  <a:pt x="3198" y="1047"/>
                </a:lnTo>
                <a:lnTo>
                  <a:pt x="3231" y="1140"/>
                </a:lnTo>
                <a:lnTo>
                  <a:pt x="3258" y="1235"/>
                </a:lnTo>
                <a:lnTo>
                  <a:pt x="3281" y="1333"/>
                </a:lnTo>
                <a:lnTo>
                  <a:pt x="3296" y="1433"/>
                </a:lnTo>
                <a:lnTo>
                  <a:pt x="3306" y="1535"/>
                </a:lnTo>
                <a:lnTo>
                  <a:pt x="3309" y="1638"/>
                </a:lnTo>
                <a:lnTo>
                  <a:pt x="3306" y="1742"/>
                </a:lnTo>
                <a:lnTo>
                  <a:pt x="3296" y="1845"/>
                </a:lnTo>
                <a:lnTo>
                  <a:pt x="3281" y="1944"/>
                </a:lnTo>
                <a:lnTo>
                  <a:pt x="3258" y="2042"/>
                </a:lnTo>
                <a:lnTo>
                  <a:pt x="3231" y="2138"/>
                </a:lnTo>
                <a:lnTo>
                  <a:pt x="3198" y="2231"/>
                </a:lnTo>
                <a:lnTo>
                  <a:pt x="3159" y="2321"/>
                </a:lnTo>
                <a:lnTo>
                  <a:pt x="3116" y="2409"/>
                </a:lnTo>
                <a:lnTo>
                  <a:pt x="3067" y="2494"/>
                </a:lnTo>
                <a:lnTo>
                  <a:pt x="3013" y="2575"/>
                </a:lnTo>
                <a:lnTo>
                  <a:pt x="2955" y="2653"/>
                </a:lnTo>
                <a:lnTo>
                  <a:pt x="2891" y="2727"/>
                </a:lnTo>
                <a:lnTo>
                  <a:pt x="2825" y="2798"/>
                </a:lnTo>
                <a:lnTo>
                  <a:pt x="2754" y="2864"/>
                </a:lnTo>
                <a:lnTo>
                  <a:pt x="2679" y="2926"/>
                </a:lnTo>
                <a:lnTo>
                  <a:pt x="2601" y="2984"/>
                </a:lnTo>
                <a:lnTo>
                  <a:pt x="2518" y="3036"/>
                </a:lnTo>
                <a:lnTo>
                  <a:pt x="2432" y="3086"/>
                </a:lnTo>
                <a:lnTo>
                  <a:pt x="2345" y="3129"/>
                </a:lnTo>
                <a:lnTo>
                  <a:pt x="2253" y="3167"/>
                </a:lnTo>
                <a:lnTo>
                  <a:pt x="2159" y="3200"/>
                </a:lnTo>
                <a:lnTo>
                  <a:pt x="2062" y="3227"/>
                </a:lnTo>
                <a:lnTo>
                  <a:pt x="1963" y="3249"/>
                </a:lnTo>
                <a:lnTo>
                  <a:pt x="1862" y="3265"/>
                </a:lnTo>
                <a:lnTo>
                  <a:pt x="1760" y="3274"/>
                </a:lnTo>
                <a:lnTo>
                  <a:pt x="1655" y="3277"/>
                </a:lnTo>
                <a:lnTo>
                  <a:pt x="1550" y="3274"/>
                </a:lnTo>
                <a:lnTo>
                  <a:pt x="1447" y="3265"/>
                </a:lnTo>
                <a:lnTo>
                  <a:pt x="1346" y="3249"/>
                </a:lnTo>
                <a:lnTo>
                  <a:pt x="1247" y="3227"/>
                </a:lnTo>
                <a:lnTo>
                  <a:pt x="1151" y="3200"/>
                </a:lnTo>
                <a:lnTo>
                  <a:pt x="1056" y="3167"/>
                </a:lnTo>
                <a:lnTo>
                  <a:pt x="966" y="3129"/>
                </a:lnTo>
                <a:lnTo>
                  <a:pt x="877" y="3086"/>
                </a:lnTo>
                <a:lnTo>
                  <a:pt x="791" y="3036"/>
                </a:lnTo>
                <a:lnTo>
                  <a:pt x="710" y="2984"/>
                </a:lnTo>
                <a:lnTo>
                  <a:pt x="630" y="2926"/>
                </a:lnTo>
                <a:lnTo>
                  <a:pt x="556" y="2864"/>
                </a:lnTo>
                <a:lnTo>
                  <a:pt x="484" y="2798"/>
                </a:lnTo>
                <a:lnTo>
                  <a:pt x="418" y="2727"/>
                </a:lnTo>
                <a:lnTo>
                  <a:pt x="355" y="2653"/>
                </a:lnTo>
                <a:lnTo>
                  <a:pt x="296" y="2575"/>
                </a:lnTo>
                <a:lnTo>
                  <a:pt x="243" y="2494"/>
                </a:lnTo>
                <a:lnTo>
                  <a:pt x="193" y="2409"/>
                </a:lnTo>
                <a:lnTo>
                  <a:pt x="150" y="2321"/>
                </a:lnTo>
                <a:lnTo>
                  <a:pt x="111" y="2231"/>
                </a:lnTo>
                <a:lnTo>
                  <a:pt x="78" y="2138"/>
                </a:lnTo>
                <a:lnTo>
                  <a:pt x="51" y="2042"/>
                </a:lnTo>
                <a:lnTo>
                  <a:pt x="28" y="1944"/>
                </a:lnTo>
                <a:lnTo>
                  <a:pt x="13" y="1845"/>
                </a:lnTo>
                <a:lnTo>
                  <a:pt x="3" y="1742"/>
                </a:lnTo>
                <a:lnTo>
                  <a:pt x="0" y="1638"/>
                </a:lnTo>
                <a:lnTo>
                  <a:pt x="3" y="1535"/>
                </a:lnTo>
                <a:lnTo>
                  <a:pt x="13" y="1433"/>
                </a:lnTo>
                <a:lnTo>
                  <a:pt x="28" y="1333"/>
                </a:lnTo>
                <a:lnTo>
                  <a:pt x="51" y="1235"/>
                </a:lnTo>
                <a:lnTo>
                  <a:pt x="78" y="1140"/>
                </a:lnTo>
                <a:lnTo>
                  <a:pt x="111" y="1047"/>
                </a:lnTo>
                <a:lnTo>
                  <a:pt x="150" y="956"/>
                </a:lnTo>
                <a:lnTo>
                  <a:pt x="193" y="869"/>
                </a:lnTo>
                <a:lnTo>
                  <a:pt x="243" y="784"/>
                </a:lnTo>
                <a:lnTo>
                  <a:pt x="296" y="703"/>
                </a:lnTo>
                <a:lnTo>
                  <a:pt x="355" y="624"/>
                </a:lnTo>
                <a:lnTo>
                  <a:pt x="418" y="550"/>
                </a:lnTo>
                <a:lnTo>
                  <a:pt x="484" y="480"/>
                </a:lnTo>
                <a:lnTo>
                  <a:pt x="556" y="414"/>
                </a:lnTo>
                <a:lnTo>
                  <a:pt x="630" y="351"/>
                </a:lnTo>
                <a:lnTo>
                  <a:pt x="710" y="294"/>
                </a:lnTo>
                <a:lnTo>
                  <a:pt x="791" y="240"/>
                </a:lnTo>
                <a:lnTo>
                  <a:pt x="877" y="192"/>
                </a:lnTo>
                <a:lnTo>
                  <a:pt x="966" y="149"/>
                </a:lnTo>
                <a:lnTo>
                  <a:pt x="1056" y="110"/>
                </a:lnTo>
                <a:lnTo>
                  <a:pt x="1151" y="78"/>
                </a:lnTo>
                <a:lnTo>
                  <a:pt x="1247" y="51"/>
                </a:lnTo>
                <a:lnTo>
                  <a:pt x="1346" y="29"/>
                </a:lnTo>
                <a:lnTo>
                  <a:pt x="1447" y="13"/>
                </a:lnTo>
                <a:lnTo>
                  <a:pt x="1550" y="3"/>
                </a:lnTo>
                <a:lnTo>
                  <a:pt x="1655" y="0"/>
                </a:lnTo>
                <a:close/>
              </a:path>
            </a:pathLst>
          </a:cu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6"/>
          <p:cNvSpPr>
            <a:spLocks noChangeAspect="1" noEditPoints="1"/>
          </p:cNvSpPr>
          <p:nvPr/>
        </p:nvSpPr>
        <p:spPr bwMode="auto">
          <a:xfrm>
            <a:off x="6935002" y="4436523"/>
            <a:ext cx="184664" cy="182880"/>
          </a:xfrm>
          <a:custGeom>
            <a:avLst/>
            <a:gdLst>
              <a:gd name="T0" fmla="*/ 2188 w 3309"/>
              <a:gd name="T1" fmla="*/ 922 h 3277"/>
              <a:gd name="T2" fmla="*/ 2136 w 3309"/>
              <a:gd name="T3" fmla="*/ 966 h 3277"/>
              <a:gd name="T4" fmla="*/ 1087 w 3309"/>
              <a:gd name="T5" fmla="*/ 1747 h 3277"/>
              <a:gd name="T6" fmla="*/ 1022 w 3309"/>
              <a:gd name="T7" fmla="*/ 1730 h 3277"/>
              <a:gd name="T8" fmla="*/ 959 w 3309"/>
              <a:gd name="T9" fmla="*/ 1758 h 3277"/>
              <a:gd name="T10" fmla="*/ 927 w 3309"/>
              <a:gd name="T11" fmla="*/ 1818 h 3277"/>
              <a:gd name="T12" fmla="*/ 940 w 3309"/>
              <a:gd name="T13" fmla="*/ 1883 h 3277"/>
              <a:gd name="T14" fmla="*/ 1445 w 3309"/>
              <a:gd name="T15" fmla="*/ 2349 h 3277"/>
              <a:gd name="T16" fmla="*/ 1510 w 3309"/>
              <a:gd name="T17" fmla="*/ 2366 h 3277"/>
              <a:gd name="T18" fmla="*/ 1574 w 3309"/>
              <a:gd name="T19" fmla="*/ 2339 h 3277"/>
              <a:gd name="T20" fmla="*/ 1590 w 3309"/>
              <a:gd name="T21" fmla="*/ 2314 h 3277"/>
              <a:gd name="T22" fmla="*/ 1628 w 3309"/>
              <a:gd name="T23" fmla="*/ 2250 h 3277"/>
              <a:gd name="T24" fmla="*/ 1684 w 3309"/>
              <a:gd name="T25" fmla="*/ 2155 h 3277"/>
              <a:gd name="T26" fmla="*/ 1755 w 3309"/>
              <a:gd name="T27" fmla="*/ 2034 h 3277"/>
              <a:gd name="T28" fmla="*/ 1835 w 3309"/>
              <a:gd name="T29" fmla="*/ 1897 h 3277"/>
              <a:gd name="T30" fmla="*/ 1921 w 3309"/>
              <a:gd name="T31" fmla="*/ 1749 h 3277"/>
              <a:gd name="T32" fmla="*/ 2007 w 3309"/>
              <a:gd name="T33" fmla="*/ 1601 h 3277"/>
              <a:gd name="T34" fmla="*/ 2091 w 3309"/>
              <a:gd name="T35" fmla="*/ 1456 h 3277"/>
              <a:gd name="T36" fmla="*/ 2167 w 3309"/>
              <a:gd name="T37" fmla="*/ 1324 h 3277"/>
              <a:gd name="T38" fmla="*/ 2233 w 3309"/>
              <a:gd name="T39" fmla="*/ 1213 h 3277"/>
              <a:gd name="T40" fmla="*/ 2281 w 3309"/>
              <a:gd name="T41" fmla="*/ 1128 h 3277"/>
              <a:gd name="T42" fmla="*/ 2310 w 3309"/>
              <a:gd name="T43" fmla="*/ 1079 h 3277"/>
              <a:gd name="T44" fmla="*/ 2326 w 3309"/>
              <a:gd name="T45" fmla="*/ 1047 h 3277"/>
              <a:gd name="T46" fmla="*/ 2322 w 3309"/>
              <a:gd name="T47" fmla="*/ 981 h 3277"/>
              <a:gd name="T48" fmla="*/ 2278 w 3309"/>
              <a:gd name="T49" fmla="*/ 928 h 3277"/>
              <a:gd name="T50" fmla="*/ 1655 w 3309"/>
              <a:gd name="T51" fmla="*/ 0 h 3277"/>
              <a:gd name="T52" fmla="*/ 1963 w 3309"/>
              <a:gd name="T53" fmla="*/ 29 h 3277"/>
              <a:gd name="T54" fmla="*/ 2253 w 3309"/>
              <a:gd name="T55" fmla="*/ 110 h 3277"/>
              <a:gd name="T56" fmla="*/ 2518 w 3309"/>
              <a:gd name="T57" fmla="*/ 240 h 3277"/>
              <a:gd name="T58" fmla="*/ 2754 w 3309"/>
              <a:gd name="T59" fmla="*/ 414 h 3277"/>
              <a:gd name="T60" fmla="*/ 2955 w 3309"/>
              <a:gd name="T61" fmla="*/ 624 h 3277"/>
              <a:gd name="T62" fmla="*/ 3116 w 3309"/>
              <a:gd name="T63" fmla="*/ 869 h 3277"/>
              <a:gd name="T64" fmla="*/ 3231 w 3309"/>
              <a:gd name="T65" fmla="*/ 1140 h 3277"/>
              <a:gd name="T66" fmla="*/ 3296 w 3309"/>
              <a:gd name="T67" fmla="*/ 1433 h 3277"/>
              <a:gd name="T68" fmla="*/ 3306 w 3309"/>
              <a:gd name="T69" fmla="*/ 1742 h 3277"/>
              <a:gd name="T70" fmla="*/ 3258 w 3309"/>
              <a:gd name="T71" fmla="*/ 2042 h 3277"/>
              <a:gd name="T72" fmla="*/ 3159 w 3309"/>
              <a:gd name="T73" fmla="*/ 2321 h 3277"/>
              <a:gd name="T74" fmla="*/ 3013 w 3309"/>
              <a:gd name="T75" fmla="*/ 2575 h 3277"/>
              <a:gd name="T76" fmla="*/ 2825 w 3309"/>
              <a:gd name="T77" fmla="*/ 2798 h 3277"/>
              <a:gd name="T78" fmla="*/ 2601 w 3309"/>
              <a:gd name="T79" fmla="*/ 2984 h 3277"/>
              <a:gd name="T80" fmla="*/ 2345 w 3309"/>
              <a:gd name="T81" fmla="*/ 3129 h 3277"/>
              <a:gd name="T82" fmla="*/ 2062 w 3309"/>
              <a:gd name="T83" fmla="*/ 3227 h 3277"/>
              <a:gd name="T84" fmla="*/ 1760 w 3309"/>
              <a:gd name="T85" fmla="*/ 3274 h 3277"/>
              <a:gd name="T86" fmla="*/ 1447 w 3309"/>
              <a:gd name="T87" fmla="*/ 3265 h 3277"/>
              <a:gd name="T88" fmla="*/ 1151 w 3309"/>
              <a:gd name="T89" fmla="*/ 3200 h 3277"/>
              <a:gd name="T90" fmla="*/ 877 w 3309"/>
              <a:gd name="T91" fmla="*/ 3086 h 3277"/>
              <a:gd name="T92" fmla="*/ 630 w 3309"/>
              <a:gd name="T93" fmla="*/ 2926 h 3277"/>
              <a:gd name="T94" fmla="*/ 418 w 3309"/>
              <a:gd name="T95" fmla="*/ 2727 h 3277"/>
              <a:gd name="T96" fmla="*/ 243 w 3309"/>
              <a:gd name="T97" fmla="*/ 2494 h 3277"/>
              <a:gd name="T98" fmla="*/ 111 w 3309"/>
              <a:gd name="T99" fmla="*/ 2231 h 3277"/>
              <a:gd name="T100" fmla="*/ 28 w 3309"/>
              <a:gd name="T101" fmla="*/ 1944 h 3277"/>
              <a:gd name="T102" fmla="*/ 0 w 3309"/>
              <a:gd name="T103" fmla="*/ 1638 h 3277"/>
              <a:gd name="T104" fmla="*/ 28 w 3309"/>
              <a:gd name="T105" fmla="*/ 1333 h 3277"/>
              <a:gd name="T106" fmla="*/ 111 w 3309"/>
              <a:gd name="T107" fmla="*/ 1047 h 3277"/>
              <a:gd name="T108" fmla="*/ 243 w 3309"/>
              <a:gd name="T109" fmla="*/ 784 h 3277"/>
              <a:gd name="T110" fmla="*/ 418 w 3309"/>
              <a:gd name="T111" fmla="*/ 550 h 3277"/>
              <a:gd name="T112" fmla="*/ 630 w 3309"/>
              <a:gd name="T113" fmla="*/ 351 h 3277"/>
              <a:gd name="T114" fmla="*/ 877 w 3309"/>
              <a:gd name="T115" fmla="*/ 192 h 3277"/>
              <a:gd name="T116" fmla="*/ 1151 w 3309"/>
              <a:gd name="T117" fmla="*/ 78 h 3277"/>
              <a:gd name="T118" fmla="*/ 1447 w 3309"/>
              <a:gd name="T119" fmla="*/ 13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09" h="3277">
                <a:moveTo>
                  <a:pt x="2234" y="915"/>
                </a:moveTo>
                <a:lnTo>
                  <a:pt x="2210" y="916"/>
                </a:lnTo>
                <a:lnTo>
                  <a:pt x="2188" y="922"/>
                </a:lnTo>
                <a:lnTo>
                  <a:pt x="2168" y="932"/>
                </a:lnTo>
                <a:lnTo>
                  <a:pt x="2151" y="947"/>
                </a:lnTo>
                <a:lnTo>
                  <a:pt x="2136" y="966"/>
                </a:lnTo>
                <a:lnTo>
                  <a:pt x="1475" y="2100"/>
                </a:lnTo>
                <a:lnTo>
                  <a:pt x="1105" y="1763"/>
                </a:lnTo>
                <a:lnTo>
                  <a:pt x="1087" y="1747"/>
                </a:lnTo>
                <a:lnTo>
                  <a:pt x="1066" y="1737"/>
                </a:lnTo>
                <a:lnTo>
                  <a:pt x="1045" y="1731"/>
                </a:lnTo>
                <a:lnTo>
                  <a:pt x="1022" y="1730"/>
                </a:lnTo>
                <a:lnTo>
                  <a:pt x="999" y="1735"/>
                </a:lnTo>
                <a:lnTo>
                  <a:pt x="978" y="1744"/>
                </a:lnTo>
                <a:lnTo>
                  <a:pt x="959" y="1758"/>
                </a:lnTo>
                <a:lnTo>
                  <a:pt x="943" y="1775"/>
                </a:lnTo>
                <a:lnTo>
                  <a:pt x="933" y="1796"/>
                </a:lnTo>
                <a:lnTo>
                  <a:pt x="927" y="1818"/>
                </a:lnTo>
                <a:lnTo>
                  <a:pt x="926" y="1840"/>
                </a:lnTo>
                <a:lnTo>
                  <a:pt x="931" y="1862"/>
                </a:lnTo>
                <a:lnTo>
                  <a:pt x="940" y="1883"/>
                </a:lnTo>
                <a:lnTo>
                  <a:pt x="954" y="1902"/>
                </a:lnTo>
                <a:lnTo>
                  <a:pt x="1427" y="2334"/>
                </a:lnTo>
                <a:lnTo>
                  <a:pt x="1445" y="2349"/>
                </a:lnTo>
                <a:lnTo>
                  <a:pt x="1466" y="2360"/>
                </a:lnTo>
                <a:lnTo>
                  <a:pt x="1488" y="2366"/>
                </a:lnTo>
                <a:lnTo>
                  <a:pt x="1510" y="2366"/>
                </a:lnTo>
                <a:lnTo>
                  <a:pt x="1532" y="2362"/>
                </a:lnTo>
                <a:lnTo>
                  <a:pt x="1555" y="2354"/>
                </a:lnTo>
                <a:lnTo>
                  <a:pt x="1574" y="2339"/>
                </a:lnTo>
                <a:lnTo>
                  <a:pt x="1576" y="2336"/>
                </a:lnTo>
                <a:lnTo>
                  <a:pt x="1581" y="2327"/>
                </a:lnTo>
                <a:lnTo>
                  <a:pt x="1590" y="2314"/>
                </a:lnTo>
                <a:lnTo>
                  <a:pt x="1600" y="2297"/>
                </a:lnTo>
                <a:lnTo>
                  <a:pt x="1613" y="2275"/>
                </a:lnTo>
                <a:lnTo>
                  <a:pt x="1628" y="2250"/>
                </a:lnTo>
                <a:lnTo>
                  <a:pt x="1645" y="2222"/>
                </a:lnTo>
                <a:lnTo>
                  <a:pt x="1664" y="2189"/>
                </a:lnTo>
                <a:lnTo>
                  <a:pt x="1684" y="2155"/>
                </a:lnTo>
                <a:lnTo>
                  <a:pt x="1706" y="2117"/>
                </a:lnTo>
                <a:lnTo>
                  <a:pt x="1729" y="2076"/>
                </a:lnTo>
                <a:lnTo>
                  <a:pt x="1755" y="2034"/>
                </a:lnTo>
                <a:lnTo>
                  <a:pt x="1780" y="1989"/>
                </a:lnTo>
                <a:lnTo>
                  <a:pt x="1807" y="1944"/>
                </a:lnTo>
                <a:lnTo>
                  <a:pt x="1835" y="1897"/>
                </a:lnTo>
                <a:lnTo>
                  <a:pt x="1862" y="1848"/>
                </a:lnTo>
                <a:lnTo>
                  <a:pt x="1891" y="1798"/>
                </a:lnTo>
                <a:lnTo>
                  <a:pt x="1921" y="1749"/>
                </a:lnTo>
                <a:lnTo>
                  <a:pt x="1949" y="1699"/>
                </a:lnTo>
                <a:lnTo>
                  <a:pt x="1979" y="1650"/>
                </a:lnTo>
                <a:lnTo>
                  <a:pt x="2007" y="1601"/>
                </a:lnTo>
                <a:lnTo>
                  <a:pt x="2036" y="1551"/>
                </a:lnTo>
                <a:lnTo>
                  <a:pt x="2063" y="1503"/>
                </a:lnTo>
                <a:lnTo>
                  <a:pt x="2091" y="1456"/>
                </a:lnTo>
                <a:lnTo>
                  <a:pt x="2117" y="1410"/>
                </a:lnTo>
                <a:lnTo>
                  <a:pt x="2143" y="1366"/>
                </a:lnTo>
                <a:lnTo>
                  <a:pt x="2167" y="1324"/>
                </a:lnTo>
                <a:lnTo>
                  <a:pt x="2190" y="1284"/>
                </a:lnTo>
                <a:lnTo>
                  <a:pt x="2212" y="1248"/>
                </a:lnTo>
                <a:lnTo>
                  <a:pt x="2233" y="1213"/>
                </a:lnTo>
                <a:lnTo>
                  <a:pt x="2251" y="1182"/>
                </a:lnTo>
                <a:lnTo>
                  <a:pt x="2266" y="1153"/>
                </a:lnTo>
                <a:lnTo>
                  <a:pt x="2281" y="1128"/>
                </a:lnTo>
                <a:lnTo>
                  <a:pt x="2293" y="1107"/>
                </a:lnTo>
                <a:lnTo>
                  <a:pt x="2302" y="1091"/>
                </a:lnTo>
                <a:lnTo>
                  <a:pt x="2310" y="1079"/>
                </a:lnTo>
                <a:lnTo>
                  <a:pt x="2314" y="1072"/>
                </a:lnTo>
                <a:lnTo>
                  <a:pt x="2316" y="1069"/>
                </a:lnTo>
                <a:lnTo>
                  <a:pt x="2326" y="1047"/>
                </a:lnTo>
                <a:lnTo>
                  <a:pt x="2330" y="1025"/>
                </a:lnTo>
                <a:lnTo>
                  <a:pt x="2329" y="1003"/>
                </a:lnTo>
                <a:lnTo>
                  <a:pt x="2322" y="981"/>
                </a:lnTo>
                <a:lnTo>
                  <a:pt x="2312" y="961"/>
                </a:lnTo>
                <a:lnTo>
                  <a:pt x="2297" y="943"/>
                </a:lnTo>
                <a:lnTo>
                  <a:pt x="2278" y="928"/>
                </a:lnTo>
                <a:lnTo>
                  <a:pt x="2256" y="919"/>
                </a:lnTo>
                <a:lnTo>
                  <a:pt x="2234" y="915"/>
                </a:lnTo>
                <a:close/>
                <a:moveTo>
                  <a:pt x="1655" y="0"/>
                </a:moveTo>
                <a:lnTo>
                  <a:pt x="1760" y="3"/>
                </a:lnTo>
                <a:lnTo>
                  <a:pt x="1862" y="13"/>
                </a:lnTo>
                <a:lnTo>
                  <a:pt x="1963" y="29"/>
                </a:lnTo>
                <a:lnTo>
                  <a:pt x="2062" y="51"/>
                </a:lnTo>
                <a:lnTo>
                  <a:pt x="2159" y="78"/>
                </a:lnTo>
                <a:lnTo>
                  <a:pt x="2253" y="110"/>
                </a:lnTo>
                <a:lnTo>
                  <a:pt x="2345" y="149"/>
                </a:lnTo>
                <a:lnTo>
                  <a:pt x="2432" y="192"/>
                </a:lnTo>
                <a:lnTo>
                  <a:pt x="2518" y="240"/>
                </a:lnTo>
                <a:lnTo>
                  <a:pt x="2601" y="294"/>
                </a:lnTo>
                <a:lnTo>
                  <a:pt x="2679" y="351"/>
                </a:lnTo>
                <a:lnTo>
                  <a:pt x="2754" y="414"/>
                </a:lnTo>
                <a:lnTo>
                  <a:pt x="2825" y="480"/>
                </a:lnTo>
                <a:lnTo>
                  <a:pt x="2891" y="550"/>
                </a:lnTo>
                <a:lnTo>
                  <a:pt x="2955" y="624"/>
                </a:lnTo>
                <a:lnTo>
                  <a:pt x="3013" y="703"/>
                </a:lnTo>
                <a:lnTo>
                  <a:pt x="3067" y="784"/>
                </a:lnTo>
                <a:lnTo>
                  <a:pt x="3116" y="869"/>
                </a:lnTo>
                <a:lnTo>
                  <a:pt x="3159" y="956"/>
                </a:lnTo>
                <a:lnTo>
                  <a:pt x="3198" y="1047"/>
                </a:lnTo>
                <a:lnTo>
                  <a:pt x="3231" y="1140"/>
                </a:lnTo>
                <a:lnTo>
                  <a:pt x="3258" y="1235"/>
                </a:lnTo>
                <a:lnTo>
                  <a:pt x="3281" y="1333"/>
                </a:lnTo>
                <a:lnTo>
                  <a:pt x="3296" y="1433"/>
                </a:lnTo>
                <a:lnTo>
                  <a:pt x="3306" y="1535"/>
                </a:lnTo>
                <a:lnTo>
                  <a:pt x="3309" y="1638"/>
                </a:lnTo>
                <a:lnTo>
                  <a:pt x="3306" y="1742"/>
                </a:lnTo>
                <a:lnTo>
                  <a:pt x="3296" y="1845"/>
                </a:lnTo>
                <a:lnTo>
                  <a:pt x="3281" y="1944"/>
                </a:lnTo>
                <a:lnTo>
                  <a:pt x="3258" y="2042"/>
                </a:lnTo>
                <a:lnTo>
                  <a:pt x="3231" y="2138"/>
                </a:lnTo>
                <a:lnTo>
                  <a:pt x="3198" y="2231"/>
                </a:lnTo>
                <a:lnTo>
                  <a:pt x="3159" y="2321"/>
                </a:lnTo>
                <a:lnTo>
                  <a:pt x="3116" y="2409"/>
                </a:lnTo>
                <a:lnTo>
                  <a:pt x="3067" y="2494"/>
                </a:lnTo>
                <a:lnTo>
                  <a:pt x="3013" y="2575"/>
                </a:lnTo>
                <a:lnTo>
                  <a:pt x="2955" y="2653"/>
                </a:lnTo>
                <a:lnTo>
                  <a:pt x="2891" y="2727"/>
                </a:lnTo>
                <a:lnTo>
                  <a:pt x="2825" y="2798"/>
                </a:lnTo>
                <a:lnTo>
                  <a:pt x="2754" y="2864"/>
                </a:lnTo>
                <a:lnTo>
                  <a:pt x="2679" y="2926"/>
                </a:lnTo>
                <a:lnTo>
                  <a:pt x="2601" y="2984"/>
                </a:lnTo>
                <a:lnTo>
                  <a:pt x="2518" y="3036"/>
                </a:lnTo>
                <a:lnTo>
                  <a:pt x="2432" y="3086"/>
                </a:lnTo>
                <a:lnTo>
                  <a:pt x="2345" y="3129"/>
                </a:lnTo>
                <a:lnTo>
                  <a:pt x="2253" y="3167"/>
                </a:lnTo>
                <a:lnTo>
                  <a:pt x="2159" y="3200"/>
                </a:lnTo>
                <a:lnTo>
                  <a:pt x="2062" y="3227"/>
                </a:lnTo>
                <a:lnTo>
                  <a:pt x="1963" y="3249"/>
                </a:lnTo>
                <a:lnTo>
                  <a:pt x="1862" y="3265"/>
                </a:lnTo>
                <a:lnTo>
                  <a:pt x="1760" y="3274"/>
                </a:lnTo>
                <a:lnTo>
                  <a:pt x="1655" y="3277"/>
                </a:lnTo>
                <a:lnTo>
                  <a:pt x="1550" y="3274"/>
                </a:lnTo>
                <a:lnTo>
                  <a:pt x="1447" y="3265"/>
                </a:lnTo>
                <a:lnTo>
                  <a:pt x="1346" y="3249"/>
                </a:lnTo>
                <a:lnTo>
                  <a:pt x="1247" y="3227"/>
                </a:lnTo>
                <a:lnTo>
                  <a:pt x="1151" y="3200"/>
                </a:lnTo>
                <a:lnTo>
                  <a:pt x="1056" y="3167"/>
                </a:lnTo>
                <a:lnTo>
                  <a:pt x="966" y="3129"/>
                </a:lnTo>
                <a:lnTo>
                  <a:pt x="877" y="3086"/>
                </a:lnTo>
                <a:lnTo>
                  <a:pt x="791" y="3036"/>
                </a:lnTo>
                <a:lnTo>
                  <a:pt x="710" y="2984"/>
                </a:lnTo>
                <a:lnTo>
                  <a:pt x="630" y="2926"/>
                </a:lnTo>
                <a:lnTo>
                  <a:pt x="556" y="2864"/>
                </a:lnTo>
                <a:lnTo>
                  <a:pt x="484" y="2798"/>
                </a:lnTo>
                <a:lnTo>
                  <a:pt x="418" y="2727"/>
                </a:lnTo>
                <a:lnTo>
                  <a:pt x="355" y="2653"/>
                </a:lnTo>
                <a:lnTo>
                  <a:pt x="296" y="2575"/>
                </a:lnTo>
                <a:lnTo>
                  <a:pt x="243" y="2494"/>
                </a:lnTo>
                <a:lnTo>
                  <a:pt x="193" y="2409"/>
                </a:lnTo>
                <a:lnTo>
                  <a:pt x="150" y="2321"/>
                </a:lnTo>
                <a:lnTo>
                  <a:pt x="111" y="2231"/>
                </a:lnTo>
                <a:lnTo>
                  <a:pt x="78" y="2138"/>
                </a:lnTo>
                <a:lnTo>
                  <a:pt x="51" y="2042"/>
                </a:lnTo>
                <a:lnTo>
                  <a:pt x="28" y="1944"/>
                </a:lnTo>
                <a:lnTo>
                  <a:pt x="13" y="1845"/>
                </a:lnTo>
                <a:lnTo>
                  <a:pt x="3" y="1742"/>
                </a:lnTo>
                <a:lnTo>
                  <a:pt x="0" y="1638"/>
                </a:lnTo>
                <a:lnTo>
                  <a:pt x="3" y="1535"/>
                </a:lnTo>
                <a:lnTo>
                  <a:pt x="13" y="1433"/>
                </a:lnTo>
                <a:lnTo>
                  <a:pt x="28" y="1333"/>
                </a:lnTo>
                <a:lnTo>
                  <a:pt x="51" y="1235"/>
                </a:lnTo>
                <a:lnTo>
                  <a:pt x="78" y="1140"/>
                </a:lnTo>
                <a:lnTo>
                  <a:pt x="111" y="1047"/>
                </a:lnTo>
                <a:lnTo>
                  <a:pt x="150" y="956"/>
                </a:lnTo>
                <a:lnTo>
                  <a:pt x="193" y="869"/>
                </a:lnTo>
                <a:lnTo>
                  <a:pt x="243" y="784"/>
                </a:lnTo>
                <a:lnTo>
                  <a:pt x="296" y="703"/>
                </a:lnTo>
                <a:lnTo>
                  <a:pt x="355" y="624"/>
                </a:lnTo>
                <a:lnTo>
                  <a:pt x="418" y="550"/>
                </a:lnTo>
                <a:lnTo>
                  <a:pt x="484" y="480"/>
                </a:lnTo>
                <a:lnTo>
                  <a:pt x="556" y="414"/>
                </a:lnTo>
                <a:lnTo>
                  <a:pt x="630" y="351"/>
                </a:lnTo>
                <a:lnTo>
                  <a:pt x="710" y="294"/>
                </a:lnTo>
                <a:lnTo>
                  <a:pt x="791" y="240"/>
                </a:lnTo>
                <a:lnTo>
                  <a:pt x="877" y="192"/>
                </a:lnTo>
                <a:lnTo>
                  <a:pt x="966" y="149"/>
                </a:lnTo>
                <a:lnTo>
                  <a:pt x="1056" y="110"/>
                </a:lnTo>
                <a:lnTo>
                  <a:pt x="1151" y="78"/>
                </a:lnTo>
                <a:lnTo>
                  <a:pt x="1247" y="51"/>
                </a:lnTo>
                <a:lnTo>
                  <a:pt x="1346" y="29"/>
                </a:lnTo>
                <a:lnTo>
                  <a:pt x="1447" y="13"/>
                </a:lnTo>
                <a:lnTo>
                  <a:pt x="1550" y="3"/>
                </a:lnTo>
                <a:lnTo>
                  <a:pt x="1655" y="0"/>
                </a:lnTo>
                <a:close/>
              </a:path>
            </a:pathLst>
          </a:cu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6"/>
          <p:cNvSpPr>
            <a:spLocks noChangeAspect="1" noEditPoints="1"/>
          </p:cNvSpPr>
          <p:nvPr/>
        </p:nvSpPr>
        <p:spPr bwMode="auto">
          <a:xfrm>
            <a:off x="6935002" y="5640156"/>
            <a:ext cx="184664" cy="182880"/>
          </a:xfrm>
          <a:custGeom>
            <a:avLst/>
            <a:gdLst>
              <a:gd name="T0" fmla="*/ 2188 w 3309"/>
              <a:gd name="T1" fmla="*/ 922 h 3277"/>
              <a:gd name="T2" fmla="*/ 2136 w 3309"/>
              <a:gd name="T3" fmla="*/ 966 h 3277"/>
              <a:gd name="T4" fmla="*/ 1087 w 3309"/>
              <a:gd name="T5" fmla="*/ 1747 h 3277"/>
              <a:gd name="T6" fmla="*/ 1022 w 3309"/>
              <a:gd name="T7" fmla="*/ 1730 h 3277"/>
              <a:gd name="T8" fmla="*/ 959 w 3309"/>
              <a:gd name="T9" fmla="*/ 1758 h 3277"/>
              <a:gd name="T10" fmla="*/ 927 w 3309"/>
              <a:gd name="T11" fmla="*/ 1818 h 3277"/>
              <a:gd name="T12" fmla="*/ 940 w 3309"/>
              <a:gd name="T13" fmla="*/ 1883 h 3277"/>
              <a:gd name="T14" fmla="*/ 1445 w 3309"/>
              <a:gd name="T15" fmla="*/ 2349 h 3277"/>
              <a:gd name="T16" fmla="*/ 1510 w 3309"/>
              <a:gd name="T17" fmla="*/ 2366 h 3277"/>
              <a:gd name="T18" fmla="*/ 1574 w 3309"/>
              <a:gd name="T19" fmla="*/ 2339 h 3277"/>
              <a:gd name="T20" fmla="*/ 1590 w 3309"/>
              <a:gd name="T21" fmla="*/ 2314 h 3277"/>
              <a:gd name="T22" fmla="*/ 1628 w 3309"/>
              <a:gd name="T23" fmla="*/ 2250 h 3277"/>
              <a:gd name="T24" fmla="*/ 1684 w 3309"/>
              <a:gd name="T25" fmla="*/ 2155 h 3277"/>
              <a:gd name="T26" fmla="*/ 1755 w 3309"/>
              <a:gd name="T27" fmla="*/ 2034 h 3277"/>
              <a:gd name="T28" fmla="*/ 1835 w 3309"/>
              <a:gd name="T29" fmla="*/ 1897 h 3277"/>
              <a:gd name="T30" fmla="*/ 1921 w 3309"/>
              <a:gd name="T31" fmla="*/ 1749 h 3277"/>
              <a:gd name="T32" fmla="*/ 2007 w 3309"/>
              <a:gd name="T33" fmla="*/ 1601 h 3277"/>
              <a:gd name="T34" fmla="*/ 2091 w 3309"/>
              <a:gd name="T35" fmla="*/ 1456 h 3277"/>
              <a:gd name="T36" fmla="*/ 2167 w 3309"/>
              <a:gd name="T37" fmla="*/ 1324 h 3277"/>
              <a:gd name="T38" fmla="*/ 2233 w 3309"/>
              <a:gd name="T39" fmla="*/ 1213 h 3277"/>
              <a:gd name="T40" fmla="*/ 2281 w 3309"/>
              <a:gd name="T41" fmla="*/ 1128 h 3277"/>
              <a:gd name="T42" fmla="*/ 2310 w 3309"/>
              <a:gd name="T43" fmla="*/ 1079 h 3277"/>
              <a:gd name="T44" fmla="*/ 2326 w 3309"/>
              <a:gd name="T45" fmla="*/ 1047 h 3277"/>
              <a:gd name="T46" fmla="*/ 2322 w 3309"/>
              <a:gd name="T47" fmla="*/ 981 h 3277"/>
              <a:gd name="T48" fmla="*/ 2278 w 3309"/>
              <a:gd name="T49" fmla="*/ 928 h 3277"/>
              <a:gd name="T50" fmla="*/ 1655 w 3309"/>
              <a:gd name="T51" fmla="*/ 0 h 3277"/>
              <a:gd name="T52" fmla="*/ 1963 w 3309"/>
              <a:gd name="T53" fmla="*/ 29 h 3277"/>
              <a:gd name="T54" fmla="*/ 2253 w 3309"/>
              <a:gd name="T55" fmla="*/ 110 h 3277"/>
              <a:gd name="T56" fmla="*/ 2518 w 3309"/>
              <a:gd name="T57" fmla="*/ 240 h 3277"/>
              <a:gd name="T58" fmla="*/ 2754 w 3309"/>
              <a:gd name="T59" fmla="*/ 414 h 3277"/>
              <a:gd name="T60" fmla="*/ 2955 w 3309"/>
              <a:gd name="T61" fmla="*/ 624 h 3277"/>
              <a:gd name="T62" fmla="*/ 3116 w 3309"/>
              <a:gd name="T63" fmla="*/ 869 h 3277"/>
              <a:gd name="T64" fmla="*/ 3231 w 3309"/>
              <a:gd name="T65" fmla="*/ 1140 h 3277"/>
              <a:gd name="T66" fmla="*/ 3296 w 3309"/>
              <a:gd name="T67" fmla="*/ 1433 h 3277"/>
              <a:gd name="T68" fmla="*/ 3306 w 3309"/>
              <a:gd name="T69" fmla="*/ 1742 h 3277"/>
              <a:gd name="T70" fmla="*/ 3258 w 3309"/>
              <a:gd name="T71" fmla="*/ 2042 h 3277"/>
              <a:gd name="T72" fmla="*/ 3159 w 3309"/>
              <a:gd name="T73" fmla="*/ 2321 h 3277"/>
              <a:gd name="T74" fmla="*/ 3013 w 3309"/>
              <a:gd name="T75" fmla="*/ 2575 h 3277"/>
              <a:gd name="T76" fmla="*/ 2825 w 3309"/>
              <a:gd name="T77" fmla="*/ 2798 h 3277"/>
              <a:gd name="T78" fmla="*/ 2601 w 3309"/>
              <a:gd name="T79" fmla="*/ 2984 h 3277"/>
              <a:gd name="T80" fmla="*/ 2345 w 3309"/>
              <a:gd name="T81" fmla="*/ 3129 h 3277"/>
              <a:gd name="T82" fmla="*/ 2062 w 3309"/>
              <a:gd name="T83" fmla="*/ 3227 h 3277"/>
              <a:gd name="T84" fmla="*/ 1760 w 3309"/>
              <a:gd name="T85" fmla="*/ 3274 h 3277"/>
              <a:gd name="T86" fmla="*/ 1447 w 3309"/>
              <a:gd name="T87" fmla="*/ 3265 h 3277"/>
              <a:gd name="T88" fmla="*/ 1151 w 3309"/>
              <a:gd name="T89" fmla="*/ 3200 h 3277"/>
              <a:gd name="T90" fmla="*/ 877 w 3309"/>
              <a:gd name="T91" fmla="*/ 3086 h 3277"/>
              <a:gd name="T92" fmla="*/ 630 w 3309"/>
              <a:gd name="T93" fmla="*/ 2926 h 3277"/>
              <a:gd name="T94" fmla="*/ 418 w 3309"/>
              <a:gd name="T95" fmla="*/ 2727 h 3277"/>
              <a:gd name="T96" fmla="*/ 243 w 3309"/>
              <a:gd name="T97" fmla="*/ 2494 h 3277"/>
              <a:gd name="T98" fmla="*/ 111 w 3309"/>
              <a:gd name="T99" fmla="*/ 2231 h 3277"/>
              <a:gd name="T100" fmla="*/ 28 w 3309"/>
              <a:gd name="T101" fmla="*/ 1944 h 3277"/>
              <a:gd name="T102" fmla="*/ 0 w 3309"/>
              <a:gd name="T103" fmla="*/ 1638 h 3277"/>
              <a:gd name="T104" fmla="*/ 28 w 3309"/>
              <a:gd name="T105" fmla="*/ 1333 h 3277"/>
              <a:gd name="T106" fmla="*/ 111 w 3309"/>
              <a:gd name="T107" fmla="*/ 1047 h 3277"/>
              <a:gd name="T108" fmla="*/ 243 w 3309"/>
              <a:gd name="T109" fmla="*/ 784 h 3277"/>
              <a:gd name="T110" fmla="*/ 418 w 3309"/>
              <a:gd name="T111" fmla="*/ 550 h 3277"/>
              <a:gd name="T112" fmla="*/ 630 w 3309"/>
              <a:gd name="T113" fmla="*/ 351 h 3277"/>
              <a:gd name="T114" fmla="*/ 877 w 3309"/>
              <a:gd name="T115" fmla="*/ 192 h 3277"/>
              <a:gd name="T116" fmla="*/ 1151 w 3309"/>
              <a:gd name="T117" fmla="*/ 78 h 3277"/>
              <a:gd name="T118" fmla="*/ 1447 w 3309"/>
              <a:gd name="T119" fmla="*/ 13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09" h="3277">
                <a:moveTo>
                  <a:pt x="2234" y="915"/>
                </a:moveTo>
                <a:lnTo>
                  <a:pt x="2210" y="916"/>
                </a:lnTo>
                <a:lnTo>
                  <a:pt x="2188" y="922"/>
                </a:lnTo>
                <a:lnTo>
                  <a:pt x="2168" y="932"/>
                </a:lnTo>
                <a:lnTo>
                  <a:pt x="2151" y="947"/>
                </a:lnTo>
                <a:lnTo>
                  <a:pt x="2136" y="966"/>
                </a:lnTo>
                <a:lnTo>
                  <a:pt x="1475" y="2100"/>
                </a:lnTo>
                <a:lnTo>
                  <a:pt x="1105" y="1763"/>
                </a:lnTo>
                <a:lnTo>
                  <a:pt x="1087" y="1747"/>
                </a:lnTo>
                <a:lnTo>
                  <a:pt x="1066" y="1737"/>
                </a:lnTo>
                <a:lnTo>
                  <a:pt x="1045" y="1731"/>
                </a:lnTo>
                <a:lnTo>
                  <a:pt x="1022" y="1730"/>
                </a:lnTo>
                <a:lnTo>
                  <a:pt x="999" y="1735"/>
                </a:lnTo>
                <a:lnTo>
                  <a:pt x="978" y="1744"/>
                </a:lnTo>
                <a:lnTo>
                  <a:pt x="959" y="1758"/>
                </a:lnTo>
                <a:lnTo>
                  <a:pt x="943" y="1775"/>
                </a:lnTo>
                <a:lnTo>
                  <a:pt x="933" y="1796"/>
                </a:lnTo>
                <a:lnTo>
                  <a:pt x="927" y="1818"/>
                </a:lnTo>
                <a:lnTo>
                  <a:pt x="926" y="1840"/>
                </a:lnTo>
                <a:lnTo>
                  <a:pt x="931" y="1862"/>
                </a:lnTo>
                <a:lnTo>
                  <a:pt x="940" y="1883"/>
                </a:lnTo>
                <a:lnTo>
                  <a:pt x="954" y="1902"/>
                </a:lnTo>
                <a:lnTo>
                  <a:pt x="1427" y="2334"/>
                </a:lnTo>
                <a:lnTo>
                  <a:pt x="1445" y="2349"/>
                </a:lnTo>
                <a:lnTo>
                  <a:pt x="1466" y="2360"/>
                </a:lnTo>
                <a:lnTo>
                  <a:pt x="1488" y="2366"/>
                </a:lnTo>
                <a:lnTo>
                  <a:pt x="1510" y="2366"/>
                </a:lnTo>
                <a:lnTo>
                  <a:pt x="1532" y="2362"/>
                </a:lnTo>
                <a:lnTo>
                  <a:pt x="1555" y="2354"/>
                </a:lnTo>
                <a:lnTo>
                  <a:pt x="1574" y="2339"/>
                </a:lnTo>
                <a:lnTo>
                  <a:pt x="1576" y="2336"/>
                </a:lnTo>
                <a:lnTo>
                  <a:pt x="1581" y="2327"/>
                </a:lnTo>
                <a:lnTo>
                  <a:pt x="1590" y="2314"/>
                </a:lnTo>
                <a:lnTo>
                  <a:pt x="1600" y="2297"/>
                </a:lnTo>
                <a:lnTo>
                  <a:pt x="1613" y="2275"/>
                </a:lnTo>
                <a:lnTo>
                  <a:pt x="1628" y="2250"/>
                </a:lnTo>
                <a:lnTo>
                  <a:pt x="1645" y="2222"/>
                </a:lnTo>
                <a:lnTo>
                  <a:pt x="1664" y="2189"/>
                </a:lnTo>
                <a:lnTo>
                  <a:pt x="1684" y="2155"/>
                </a:lnTo>
                <a:lnTo>
                  <a:pt x="1706" y="2117"/>
                </a:lnTo>
                <a:lnTo>
                  <a:pt x="1729" y="2076"/>
                </a:lnTo>
                <a:lnTo>
                  <a:pt x="1755" y="2034"/>
                </a:lnTo>
                <a:lnTo>
                  <a:pt x="1780" y="1989"/>
                </a:lnTo>
                <a:lnTo>
                  <a:pt x="1807" y="1944"/>
                </a:lnTo>
                <a:lnTo>
                  <a:pt x="1835" y="1897"/>
                </a:lnTo>
                <a:lnTo>
                  <a:pt x="1862" y="1848"/>
                </a:lnTo>
                <a:lnTo>
                  <a:pt x="1891" y="1798"/>
                </a:lnTo>
                <a:lnTo>
                  <a:pt x="1921" y="1749"/>
                </a:lnTo>
                <a:lnTo>
                  <a:pt x="1949" y="1699"/>
                </a:lnTo>
                <a:lnTo>
                  <a:pt x="1979" y="1650"/>
                </a:lnTo>
                <a:lnTo>
                  <a:pt x="2007" y="1601"/>
                </a:lnTo>
                <a:lnTo>
                  <a:pt x="2036" y="1551"/>
                </a:lnTo>
                <a:lnTo>
                  <a:pt x="2063" y="1503"/>
                </a:lnTo>
                <a:lnTo>
                  <a:pt x="2091" y="1456"/>
                </a:lnTo>
                <a:lnTo>
                  <a:pt x="2117" y="1410"/>
                </a:lnTo>
                <a:lnTo>
                  <a:pt x="2143" y="1366"/>
                </a:lnTo>
                <a:lnTo>
                  <a:pt x="2167" y="1324"/>
                </a:lnTo>
                <a:lnTo>
                  <a:pt x="2190" y="1284"/>
                </a:lnTo>
                <a:lnTo>
                  <a:pt x="2212" y="1248"/>
                </a:lnTo>
                <a:lnTo>
                  <a:pt x="2233" y="1213"/>
                </a:lnTo>
                <a:lnTo>
                  <a:pt x="2251" y="1182"/>
                </a:lnTo>
                <a:lnTo>
                  <a:pt x="2266" y="1153"/>
                </a:lnTo>
                <a:lnTo>
                  <a:pt x="2281" y="1128"/>
                </a:lnTo>
                <a:lnTo>
                  <a:pt x="2293" y="1107"/>
                </a:lnTo>
                <a:lnTo>
                  <a:pt x="2302" y="1091"/>
                </a:lnTo>
                <a:lnTo>
                  <a:pt x="2310" y="1079"/>
                </a:lnTo>
                <a:lnTo>
                  <a:pt x="2314" y="1072"/>
                </a:lnTo>
                <a:lnTo>
                  <a:pt x="2316" y="1069"/>
                </a:lnTo>
                <a:lnTo>
                  <a:pt x="2326" y="1047"/>
                </a:lnTo>
                <a:lnTo>
                  <a:pt x="2330" y="1025"/>
                </a:lnTo>
                <a:lnTo>
                  <a:pt x="2329" y="1003"/>
                </a:lnTo>
                <a:lnTo>
                  <a:pt x="2322" y="981"/>
                </a:lnTo>
                <a:lnTo>
                  <a:pt x="2312" y="961"/>
                </a:lnTo>
                <a:lnTo>
                  <a:pt x="2297" y="943"/>
                </a:lnTo>
                <a:lnTo>
                  <a:pt x="2278" y="928"/>
                </a:lnTo>
                <a:lnTo>
                  <a:pt x="2256" y="919"/>
                </a:lnTo>
                <a:lnTo>
                  <a:pt x="2234" y="915"/>
                </a:lnTo>
                <a:close/>
                <a:moveTo>
                  <a:pt x="1655" y="0"/>
                </a:moveTo>
                <a:lnTo>
                  <a:pt x="1760" y="3"/>
                </a:lnTo>
                <a:lnTo>
                  <a:pt x="1862" y="13"/>
                </a:lnTo>
                <a:lnTo>
                  <a:pt x="1963" y="29"/>
                </a:lnTo>
                <a:lnTo>
                  <a:pt x="2062" y="51"/>
                </a:lnTo>
                <a:lnTo>
                  <a:pt x="2159" y="78"/>
                </a:lnTo>
                <a:lnTo>
                  <a:pt x="2253" y="110"/>
                </a:lnTo>
                <a:lnTo>
                  <a:pt x="2345" y="149"/>
                </a:lnTo>
                <a:lnTo>
                  <a:pt x="2432" y="192"/>
                </a:lnTo>
                <a:lnTo>
                  <a:pt x="2518" y="240"/>
                </a:lnTo>
                <a:lnTo>
                  <a:pt x="2601" y="294"/>
                </a:lnTo>
                <a:lnTo>
                  <a:pt x="2679" y="351"/>
                </a:lnTo>
                <a:lnTo>
                  <a:pt x="2754" y="414"/>
                </a:lnTo>
                <a:lnTo>
                  <a:pt x="2825" y="480"/>
                </a:lnTo>
                <a:lnTo>
                  <a:pt x="2891" y="550"/>
                </a:lnTo>
                <a:lnTo>
                  <a:pt x="2955" y="624"/>
                </a:lnTo>
                <a:lnTo>
                  <a:pt x="3013" y="703"/>
                </a:lnTo>
                <a:lnTo>
                  <a:pt x="3067" y="784"/>
                </a:lnTo>
                <a:lnTo>
                  <a:pt x="3116" y="869"/>
                </a:lnTo>
                <a:lnTo>
                  <a:pt x="3159" y="956"/>
                </a:lnTo>
                <a:lnTo>
                  <a:pt x="3198" y="1047"/>
                </a:lnTo>
                <a:lnTo>
                  <a:pt x="3231" y="1140"/>
                </a:lnTo>
                <a:lnTo>
                  <a:pt x="3258" y="1235"/>
                </a:lnTo>
                <a:lnTo>
                  <a:pt x="3281" y="1333"/>
                </a:lnTo>
                <a:lnTo>
                  <a:pt x="3296" y="1433"/>
                </a:lnTo>
                <a:lnTo>
                  <a:pt x="3306" y="1535"/>
                </a:lnTo>
                <a:lnTo>
                  <a:pt x="3309" y="1638"/>
                </a:lnTo>
                <a:lnTo>
                  <a:pt x="3306" y="1742"/>
                </a:lnTo>
                <a:lnTo>
                  <a:pt x="3296" y="1845"/>
                </a:lnTo>
                <a:lnTo>
                  <a:pt x="3281" y="1944"/>
                </a:lnTo>
                <a:lnTo>
                  <a:pt x="3258" y="2042"/>
                </a:lnTo>
                <a:lnTo>
                  <a:pt x="3231" y="2138"/>
                </a:lnTo>
                <a:lnTo>
                  <a:pt x="3198" y="2231"/>
                </a:lnTo>
                <a:lnTo>
                  <a:pt x="3159" y="2321"/>
                </a:lnTo>
                <a:lnTo>
                  <a:pt x="3116" y="2409"/>
                </a:lnTo>
                <a:lnTo>
                  <a:pt x="3067" y="2494"/>
                </a:lnTo>
                <a:lnTo>
                  <a:pt x="3013" y="2575"/>
                </a:lnTo>
                <a:lnTo>
                  <a:pt x="2955" y="2653"/>
                </a:lnTo>
                <a:lnTo>
                  <a:pt x="2891" y="2727"/>
                </a:lnTo>
                <a:lnTo>
                  <a:pt x="2825" y="2798"/>
                </a:lnTo>
                <a:lnTo>
                  <a:pt x="2754" y="2864"/>
                </a:lnTo>
                <a:lnTo>
                  <a:pt x="2679" y="2926"/>
                </a:lnTo>
                <a:lnTo>
                  <a:pt x="2601" y="2984"/>
                </a:lnTo>
                <a:lnTo>
                  <a:pt x="2518" y="3036"/>
                </a:lnTo>
                <a:lnTo>
                  <a:pt x="2432" y="3086"/>
                </a:lnTo>
                <a:lnTo>
                  <a:pt x="2345" y="3129"/>
                </a:lnTo>
                <a:lnTo>
                  <a:pt x="2253" y="3167"/>
                </a:lnTo>
                <a:lnTo>
                  <a:pt x="2159" y="3200"/>
                </a:lnTo>
                <a:lnTo>
                  <a:pt x="2062" y="3227"/>
                </a:lnTo>
                <a:lnTo>
                  <a:pt x="1963" y="3249"/>
                </a:lnTo>
                <a:lnTo>
                  <a:pt x="1862" y="3265"/>
                </a:lnTo>
                <a:lnTo>
                  <a:pt x="1760" y="3274"/>
                </a:lnTo>
                <a:lnTo>
                  <a:pt x="1655" y="3277"/>
                </a:lnTo>
                <a:lnTo>
                  <a:pt x="1550" y="3274"/>
                </a:lnTo>
                <a:lnTo>
                  <a:pt x="1447" y="3265"/>
                </a:lnTo>
                <a:lnTo>
                  <a:pt x="1346" y="3249"/>
                </a:lnTo>
                <a:lnTo>
                  <a:pt x="1247" y="3227"/>
                </a:lnTo>
                <a:lnTo>
                  <a:pt x="1151" y="3200"/>
                </a:lnTo>
                <a:lnTo>
                  <a:pt x="1056" y="3167"/>
                </a:lnTo>
                <a:lnTo>
                  <a:pt x="966" y="3129"/>
                </a:lnTo>
                <a:lnTo>
                  <a:pt x="877" y="3086"/>
                </a:lnTo>
                <a:lnTo>
                  <a:pt x="791" y="3036"/>
                </a:lnTo>
                <a:lnTo>
                  <a:pt x="710" y="2984"/>
                </a:lnTo>
                <a:lnTo>
                  <a:pt x="630" y="2926"/>
                </a:lnTo>
                <a:lnTo>
                  <a:pt x="556" y="2864"/>
                </a:lnTo>
                <a:lnTo>
                  <a:pt x="484" y="2798"/>
                </a:lnTo>
                <a:lnTo>
                  <a:pt x="418" y="2727"/>
                </a:lnTo>
                <a:lnTo>
                  <a:pt x="355" y="2653"/>
                </a:lnTo>
                <a:lnTo>
                  <a:pt x="296" y="2575"/>
                </a:lnTo>
                <a:lnTo>
                  <a:pt x="243" y="2494"/>
                </a:lnTo>
                <a:lnTo>
                  <a:pt x="193" y="2409"/>
                </a:lnTo>
                <a:lnTo>
                  <a:pt x="150" y="2321"/>
                </a:lnTo>
                <a:lnTo>
                  <a:pt x="111" y="2231"/>
                </a:lnTo>
                <a:lnTo>
                  <a:pt x="78" y="2138"/>
                </a:lnTo>
                <a:lnTo>
                  <a:pt x="51" y="2042"/>
                </a:lnTo>
                <a:lnTo>
                  <a:pt x="28" y="1944"/>
                </a:lnTo>
                <a:lnTo>
                  <a:pt x="13" y="1845"/>
                </a:lnTo>
                <a:lnTo>
                  <a:pt x="3" y="1742"/>
                </a:lnTo>
                <a:lnTo>
                  <a:pt x="0" y="1638"/>
                </a:lnTo>
                <a:lnTo>
                  <a:pt x="3" y="1535"/>
                </a:lnTo>
                <a:lnTo>
                  <a:pt x="13" y="1433"/>
                </a:lnTo>
                <a:lnTo>
                  <a:pt x="28" y="1333"/>
                </a:lnTo>
                <a:lnTo>
                  <a:pt x="51" y="1235"/>
                </a:lnTo>
                <a:lnTo>
                  <a:pt x="78" y="1140"/>
                </a:lnTo>
                <a:lnTo>
                  <a:pt x="111" y="1047"/>
                </a:lnTo>
                <a:lnTo>
                  <a:pt x="150" y="956"/>
                </a:lnTo>
                <a:lnTo>
                  <a:pt x="193" y="869"/>
                </a:lnTo>
                <a:lnTo>
                  <a:pt x="243" y="784"/>
                </a:lnTo>
                <a:lnTo>
                  <a:pt x="296" y="703"/>
                </a:lnTo>
                <a:lnTo>
                  <a:pt x="355" y="624"/>
                </a:lnTo>
                <a:lnTo>
                  <a:pt x="418" y="550"/>
                </a:lnTo>
                <a:lnTo>
                  <a:pt x="484" y="480"/>
                </a:lnTo>
                <a:lnTo>
                  <a:pt x="556" y="414"/>
                </a:lnTo>
                <a:lnTo>
                  <a:pt x="630" y="351"/>
                </a:lnTo>
                <a:lnTo>
                  <a:pt x="710" y="294"/>
                </a:lnTo>
                <a:lnTo>
                  <a:pt x="791" y="240"/>
                </a:lnTo>
                <a:lnTo>
                  <a:pt x="877" y="192"/>
                </a:lnTo>
                <a:lnTo>
                  <a:pt x="966" y="149"/>
                </a:lnTo>
                <a:lnTo>
                  <a:pt x="1056" y="110"/>
                </a:lnTo>
                <a:lnTo>
                  <a:pt x="1151" y="78"/>
                </a:lnTo>
                <a:lnTo>
                  <a:pt x="1247" y="51"/>
                </a:lnTo>
                <a:lnTo>
                  <a:pt x="1346" y="29"/>
                </a:lnTo>
                <a:lnTo>
                  <a:pt x="1447" y="13"/>
                </a:lnTo>
                <a:lnTo>
                  <a:pt x="1550" y="3"/>
                </a:lnTo>
                <a:lnTo>
                  <a:pt x="1655" y="0"/>
                </a:lnTo>
                <a:close/>
              </a:path>
            </a:pathLst>
          </a:custGeom>
          <a:gradFill>
            <a:gsLst>
              <a:gs pos="13000">
                <a:srgbClr val="0084CB"/>
              </a:gs>
              <a:gs pos="100000">
                <a:srgbClr val="00C2F3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11"/>
          <p:cNvSpPr>
            <a:spLocks noChangeAspect="1" noEditPoints="1"/>
          </p:cNvSpPr>
          <p:nvPr/>
        </p:nvSpPr>
        <p:spPr bwMode="auto">
          <a:xfrm>
            <a:off x="3527037" y="1662630"/>
            <a:ext cx="454515" cy="457200"/>
          </a:xfrm>
          <a:custGeom>
            <a:avLst/>
            <a:gdLst>
              <a:gd name="T0" fmla="*/ 2052 w 3385"/>
              <a:gd name="T1" fmla="*/ 1972 h 3404"/>
              <a:gd name="T2" fmla="*/ 2358 w 3385"/>
              <a:gd name="T3" fmla="*/ 2206 h 3404"/>
              <a:gd name="T4" fmla="*/ 2463 w 3385"/>
              <a:gd name="T5" fmla="*/ 2439 h 3404"/>
              <a:gd name="T6" fmla="*/ 2366 w 3385"/>
              <a:gd name="T7" fmla="*/ 2509 h 3404"/>
              <a:gd name="T8" fmla="*/ 2259 w 3385"/>
              <a:gd name="T9" fmla="*/ 2404 h 3404"/>
              <a:gd name="T10" fmla="*/ 2039 w 3385"/>
              <a:gd name="T11" fmla="*/ 2181 h 3404"/>
              <a:gd name="T12" fmla="*/ 1727 w 3385"/>
              <a:gd name="T13" fmla="*/ 2098 h 3404"/>
              <a:gd name="T14" fmla="*/ 1409 w 3385"/>
              <a:gd name="T15" fmla="*/ 2181 h 3404"/>
              <a:gd name="T16" fmla="*/ 1190 w 3385"/>
              <a:gd name="T17" fmla="*/ 2403 h 3404"/>
              <a:gd name="T18" fmla="*/ 1097 w 3385"/>
              <a:gd name="T19" fmla="*/ 2509 h 3404"/>
              <a:gd name="T20" fmla="*/ 995 w 3385"/>
              <a:gd name="T21" fmla="*/ 2460 h 3404"/>
              <a:gd name="T22" fmla="*/ 1051 w 3385"/>
              <a:gd name="T23" fmla="*/ 2260 h 3404"/>
              <a:gd name="T24" fmla="*/ 1336 w 3385"/>
              <a:gd name="T25" fmla="*/ 2001 h 3404"/>
              <a:gd name="T26" fmla="*/ 1727 w 3385"/>
              <a:gd name="T27" fmla="*/ 1905 h 3404"/>
              <a:gd name="T28" fmla="*/ 2308 w 3385"/>
              <a:gd name="T29" fmla="*/ 1113 h 3404"/>
              <a:gd name="T30" fmla="*/ 2342 w 3385"/>
              <a:gd name="T31" fmla="*/ 1311 h 3404"/>
              <a:gd name="T32" fmla="*/ 2191 w 3385"/>
              <a:gd name="T33" fmla="*/ 1437 h 3404"/>
              <a:gd name="T34" fmla="*/ 2004 w 3385"/>
              <a:gd name="T35" fmla="*/ 1370 h 3404"/>
              <a:gd name="T36" fmla="*/ 1971 w 3385"/>
              <a:gd name="T37" fmla="*/ 1172 h 3404"/>
              <a:gd name="T38" fmla="*/ 2121 w 3385"/>
              <a:gd name="T39" fmla="*/ 1046 h 3404"/>
              <a:gd name="T40" fmla="*/ 1387 w 3385"/>
              <a:gd name="T41" fmla="*/ 1090 h 3404"/>
              <a:gd name="T42" fmla="*/ 1453 w 3385"/>
              <a:gd name="T43" fmla="*/ 1277 h 3404"/>
              <a:gd name="T44" fmla="*/ 1328 w 3385"/>
              <a:gd name="T45" fmla="*/ 1428 h 3404"/>
              <a:gd name="T46" fmla="*/ 1131 w 3385"/>
              <a:gd name="T47" fmla="*/ 1394 h 3404"/>
              <a:gd name="T48" fmla="*/ 1065 w 3385"/>
              <a:gd name="T49" fmla="*/ 1206 h 3404"/>
              <a:gd name="T50" fmla="*/ 1189 w 3385"/>
              <a:gd name="T51" fmla="*/ 1055 h 3404"/>
              <a:gd name="T52" fmla="*/ 1440 w 3385"/>
              <a:gd name="T53" fmla="*/ 286 h 3404"/>
              <a:gd name="T54" fmla="*/ 960 w 3385"/>
              <a:gd name="T55" fmla="*/ 464 h 3404"/>
              <a:gd name="T56" fmla="*/ 561 w 3385"/>
              <a:gd name="T57" fmla="*/ 819 h 3404"/>
              <a:gd name="T58" fmla="*/ 323 w 3385"/>
              <a:gd name="T59" fmla="*/ 1282 h 3404"/>
              <a:gd name="T60" fmla="*/ 264 w 3385"/>
              <a:gd name="T61" fmla="*/ 1787 h 3404"/>
              <a:gd name="T62" fmla="*/ 383 w 3385"/>
              <a:gd name="T63" fmla="*/ 2285 h 3404"/>
              <a:gd name="T64" fmla="*/ 680 w 3385"/>
              <a:gd name="T65" fmla="*/ 2720 h 3404"/>
              <a:gd name="T66" fmla="*/ 1113 w 3385"/>
              <a:gd name="T67" fmla="*/ 3019 h 3404"/>
              <a:gd name="T68" fmla="*/ 1608 w 3385"/>
              <a:gd name="T69" fmla="*/ 3139 h 3404"/>
              <a:gd name="T70" fmla="*/ 2110 w 3385"/>
              <a:gd name="T71" fmla="*/ 3079 h 3404"/>
              <a:gd name="T72" fmla="*/ 2570 w 3385"/>
              <a:gd name="T73" fmla="*/ 2840 h 3404"/>
              <a:gd name="T74" fmla="*/ 2923 w 3385"/>
              <a:gd name="T75" fmla="*/ 2438 h 3404"/>
              <a:gd name="T76" fmla="*/ 3101 w 3385"/>
              <a:gd name="T77" fmla="*/ 1956 h 3404"/>
              <a:gd name="T78" fmla="*/ 3101 w 3385"/>
              <a:gd name="T79" fmla="*/ 1448 h 3404"/>
              <a:gd name="T80" fmla="*/ 2923 w 3385"/>
              <a:gd name="T81" fmla="*/ 965 h 3404"/>
              <a:gd name="T82" fmla="*/ 2570 w 3385"/>
              <a:gd name="T83" fmla="*/ 564 h 3404"/>
              <a:gd name="T84" fmla="*/ 2110 w 3385"/>
              <a:gd name="T85" fmla="*/ 325 h 3404"/>
              <a:gd name="T86" fmla="*/ 1692 w 3385"/>
              <a:gd name="T87" fmla="*/ 0 h 3404"/>
              <a:gd name="T88" fmla="*/ 2241 w 3385"/>
              <a:gd name="T89" fmla="*/ 91 h 3404"/>
              <a:gd name="T90" fmla="*/ 2742 w 3385"/>
              <a:gd name="T91" fmla="*/ 366 h 3404"/>
              <a:gd name="T92" fmla="*/ 3132 w 3385"/>
              <a:gd name="T93" fmla="*/ 805 h 3404"/>
              <a:gd name="T94" fmla="*/ 3344 w 3385"/>
              <a:gd name="T95" fmla="*/ 1331 h 3404"/>
              <a:gd name="T96" fmla="*/ 3374 w 3385"/>
              <a:gd name="T97" fmla="*/ 1888 h 3404"/>
              <a:gd name="T98" fmla="*/ 3223 w 3385"/>
              <a:gd name="T99" fmla="*/ 2430 h 3404"/>
              <a:gd name="T100" fmla="*/ 2890 w 3385"/>
              <a:gd name="T101" fmla="*/ 2906 h 3404"/>
              <a:gd name="T102" fmla="*/ 2416 w 3385"/>
              <a:gd name="T103" fmla="*/ 3241 h 3404"/>
              <a:gd name="T104" fmla="*/ 1877 w 3385"/>
              <a:gd name="T105" fmla="*/ 3394 h 3404"/>
              <a:gd name="T106" fmla="*/ 1323 w 3385"/>
              <a:gd name="T107" fmla="*/ 3363 h 3404"/>
              <a:gd name="T108" fmla="*/ 802 w 3385"/>
              <a:gd name="T109" fmla="*/ 3150 h 3404"/>
              <a:gd name="T110" fmla="*/ 364 w 3385"/>
              <a:gd name="T111" fmla="*/ 2758 h 3404"/>
              <a:gd name="T112" fmla="*/ 92 w 3385"/>
              <a:gd name="T113" fmla="*/ 2254 h 3404"/>
              <a:gd name="T114" fmla="*/ 0 w 3385"/>
              <a:gd name="T115" fmla="*/ 1702 h 3404"/>
              <a:gd name="T116" fmla="*/ 92 w 3385"/>
              <a:gd name="T117" fmla="*/ 1149 h 3404"/>
              <a:gd name="T118" fmla="*/ 364 w 3385"/>
              <a:gd name="T119" fmla="*/ 646 h 3404"/>
              <a:gd name="T120" fmla="*/ 802 w 3385"/>
              <a:gd name="T121" fmla="*/ 254 h 3404"/>
              <a:gd name="T122" fmla="*/ 1323 w 3385"/>
              <a:gd name="T123" fmla="*/ 41 h 3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85" h="3404">
                <a:moveTo>
                  <a:pt x="1727" y="1905"/>
                </a:moveTo>
                <a:lnTo>
                  <a:pt x="1794" y="1908"/>
                </a:lnTo>
                <a:lnTo>
                  <a:pt x="1862" y="1917"/>
                </a:lnTo>
                <a:lnTo>
                  <a:pt x="1927" y="1930"/>
                </a:lnTo>
                <a:lnTo>
                  <a:pt x="1991" y="1949"/>
                </a:lnTo>
                <a:lnTo>
                  <a:pt x="2052" y="1972"/>
                </a:lnTo>
                <a:lnTo>
                  <a:pt x="2110" y="2000"/>
                </a:lnTo>
                <a:lnTo>
                  <a:pt x="2166" y="2034"/>
                </a:lnTo>
                <a:lnTo>
                  <a:pt x="2219" y="2070"/>
                </a:lnTo>
                <a:lnTo>
                  <a:pt x="2269" y="2112"/>
                </a:lnTo>
                <a:lnTo>
                  <a:pt x="2315" y="2157"/>
                </a:lnTo>
                <a:lnTo>
                  <a:pt x="2358" y="2206"/>
                </a:lnTo>
                <a:lnTo>
                  <a:pt x="2395" y="2259"/>
                </a:lnTo>
                <a:lnTo>
                  <a:pt x="2429" y="2316"/>
                </a:lnTo>
                <a:lnTo>
                  <a:pt x="2458" y="2375"/>
                </a:lnTo>
                <a:lnTo>
                  <a:pt x="2465" y="2396"/>
                </a:lnTo>
                <a:lnTo>
                  <a:pt x="2466" y="2417"/>
                </a:lnTo>
                <a:lnTo>
                  <a:pt x="2463" y="2439"/>
                </a:lnTo>
                <a:lnTo>
                  <a:pt x="2454" y="2458"/>
                </a:lnTo>
                <a:lnTo>
                  <a:pt x="2443" y="2476"/>
                </a:lnTo>
                <a:lnTo>
                  <a:pt x="2427" y="2490"/>
                </a:lnTo>
                <a:lnTo>
                  <a:pt x="2408" y="2502"/>
                </a:lnTo>
                <a:lnTo>
                  <a:pt x="2387" y="2508"/>
                </a:lnTo>
                <a:lnTo>
                  <a:pt x="2366" y="2509"/>
                </a:lnTo>
                <a:lnTo>
                  <a:pt x="2345" y="2506"/>
                </a:lnTo>
                <a:lnTo>
                  <a:pt x="2326" y="2499"/>
                </a:lnTo>
                <a:lnTo>
                  <a:pt x="2308" y="2486"/>
                </a:lnTo>
                <a:lnTo>
                  <a:pt x="2293" y="2471"/>
                </a:lnTo>
                <a:lnTo>
                  <a:pt x="2282" y="2452"/>
                </a:lnTo>
                <a:lnTo>
                  <a:pt x="2259" y="2404"/>
                </a:lnTo>
                <a:lnTo>
                  <a:pt x="2231" y="2358"/>
                </a:lnTo>
                <a:lnTo>
                  <a:pt x="2200" y="2316"/>
                </a:lnTo>
                <a:lnTo>
                  <a:pt x="2164" y="2277"/>
                </a:lnTo>
                <a:lnTo>
                  <a:pt x="2126" y="2241"/>
                </a:lnTo>
                <a:lnTo>
                  <a:pt x="2083" y="2209"/>
                </a:lnTo>
                <a:lnTo>
                  <a:pt x="2039" y="2181"/>
                </a:lnTo>
                <a:lnTo>
                  <a:pt x="1992" y="2156"/>
                </a:lnTo>
                <a:lnTo>
                  <a:pt x="1942" y="2136"/>
                </a:lnTo>
                <a:lnTo>
                  <a:pt x="1891" y="2119"/>
                </a:lnTo>
                <a:lnTo>
                  <a:pt x="1837" y="2108"/>
                </a:lnTo>
                <a:lnTo>
                  <a:pt x="1783" y="2101"/>
                </a:lnTo>
                <a:lnTo>
                  <a:pt x="1727" y="2098"/>
                </a:lnTo>
                <a:lnTo>
                  <a:pt x="1669" y="2101"/>
                </a:lnTo>
                <a:lnTo>
                  <a:pt x="1613" y="2108"/>
                </a:lnTo>
                <a:lnTo>
                  <a:pt x="1558" y="2119"/>
                </a:lnTo>
                <a:lnTo>
                  <a:pt x="1506" y="2136"/>
                </a:lnTo>
                <a:lnTo>
                  <a:pt x="1456" y="2156"/>
                </a:lnTo>
                <a:lnTo>
                  <a:pt x="1409" y="2181"/>
                </a:lnTo>
                <a:lnTo>
                  <a:pt x="1364" y="2209"/>
                </a:lnTo>
                <a:lnTo>
                  <a:pt x="1321" y="2241"/>
                </a:lnTo>
                <a:lnTo>
                  <a:pt x="1283" y="2276"/>
                </a:lnTo>
                <a:lnTo>
                  <a:pt x="1249" y="2316"/>
                </a:lnTo>
                <a:lnTo>
                  <a:pt x="1217" y="2358"/>
                </a:lnTo>
                <a:lnTo>
                  <a:pt x="1190" y="2403"/>
                </a:lnTo>
                <a:lnTo>
                  <a:pt x="1167" y="2452"/>
                </a:lnTo>
                <a:lnTo>
                  <a:pt x="1158" y="2469"/>
                </a:lnTo>
                <a:lnTo>
                  <a:pt x="1146" y="2483"/>
                </a:lnTo>
                <a:lnTo>
                  <a:pt x="1131" y="2495"/>
                </a:lnTo>
                <a:lnTo>
                  <a:pt x="1114" y="2503"/>
                </a:lnTo>
                <a:lnTo>
                  <a:pt x="1097" y="2509"/>
                </a:lnTo>
                <a:lnTo>
                  <a:pt x="1079" y="2510"/>
                </a:lnTo>
                <a:lnTo>
                  <a:pt x="1060" y="2509"/>
                </a:lnTo>
                <a:lnTo>
                  <a:pt x="1042" y="2503"/>
                </a:lnTo>
                <a:lnTo>
                  <a:pt x="1023" y="2493"/>
                </a:lnTo>
                <a:lnTo>
                  <a:pt x="1006" y="2478"/>
                </a:lnTo>
                <a:lnTo>
                  <a:pt x="995" y="2460"/>
                </a:lnTo>
                <a:lnTo>
                  <a:pt x="987" y="2441"/>
                </a:lnTo>
                <a:lnTo>
                  <a:pt x="983" y="2420"/>
                </a:lnTo>
                <a:lnTo>
                  <a:pt x="985" y="2398"/>
                </a:lnTo>
                <a:lnTo>
                  <a:pt x="991" y="2378"/>
                </a:lnTo>
                <a:lnTo>
                  <a:pt x="1018" y="2318"/>
                </a:lnTo>
                <a:lnTo>
                  <a:pt x="1051" y="2260"/>
                </a:lnTo>
                <a:lnTo>
                  <a:pt x="1088" y="2208"/>
                </a:lnTo>
                <a:lnTo>
                  <a:pt x="1130" y="2158"/>
                </a:lnTo>
                <a:lnTo>
                  <a:pt x="1177" y="2113"/>
                </a:lnTo>
                <a:lnTo>
                  <a:pt x="1226" y="2071"/>
                </a:lnTo>
                <a:lnTo>
                  <a:pt x="1280" y="2034"/>
                </a:lnTo>
                <a:lnTo>
                  <a:pt x="1336" y="2001"/>
                </a:lnTo>
                <a:lnTo>
                  <a:pt x="1395" y="1973"/>
                </a:lnTo>
                <a:lnTo>
                  <a:pt x="1458" y="1949"/>
                </a:lnTo>
                <a:lnTo>
                  <a:pt x="1522" y="1930"/>
                </a:lnTo>
                <a:lnTo>
                  <a:pt x="1588" y="1917"/>
                </a:lnTo>
                <a:lnTo>
                  <a:pt x="1656" y="1908"/>
                </a:lnTo>
                <a:lnTo>
                  <a:pt x="1727" y="1905"/>
                </a:lnTo>
                <a:close/>
                <a:moveTo>
                  <a:pt x="2156" y="1043"/>
                </a:moveTo>
                <a:lnTo>
                  <a:pt x="2191" y="1046"/>
                </a:lnTo>
                <a:lnTo>
                  <a:pt x="2225" y="1055"/>
                </a:lnTo>
                <a:lnTo>
                  <a:pt x="2256" y="1070"/>
                </a:lnTo>
                <a:lnTo>
                  <a:pt x="2284" y="1090"/>
                </a:lnTo>
                <a:lnTo>
                  <a:pt x="2308" y="1113"/>
                </a:lnTo>
                <a:lnTo>
                  <a:pt x="2327" y="1141"/>
                </a:lnTo>
                <a:lnTo>
                  <a:pt x="2341" y="1172"/>
                </a:lnTo>
                <a:lnTo>
                  <a:pt x="2350" y="1206"/>
                </a:lnTo>
                <a:lnTo>
                  <a:pt x="2354" y="1241"/>
                </a:lnTo>
                <a:lnTo>
                  <a:pt x="2350" y="1277"/>
                </a:lnTo>
                <a:lnTo>
                  <a:pt x="2342" y="1311"/>
                </a:lnTo>
                <a:lnTo>
                  <a:pt x="2327" y="1342"/>
                </a:lnTo>
                <a:lnTo>
                  <a:pt x="2308" y="1370"/>
                </a:lnTo>
                <a:lnTo>
                  <a:pt x="2284" y="1394"/>
                </a:lnTo>
                <a:lnTo>
                  <a:pt x="2256" y="1413"/>
                </a:lnTo>
                <a:lnTo>
                  <a:pt x="2225" y="1428"/>
                </a:lnTo>
                <a:lnTo>
                  <a:pt x="2191" y="1437"/>
                </a:lnTo>
                <a:lnTo>
                  <a:pt x="2156" y="1440"/>
                </a:lnTo>
                <a:lnTo>
                  <a:pt x="2121" y="1437"/>
                </a:lnTo>
                <a:lnTo>
                  <a:pt x="2087" y="1428"/>
                </a:lnTo>
                <a:lnTo>
                  <a:pt x="2056" y="1413"/>
                </a:lnTo>
                <a:lnTo>
                  <a:pt x="2028" y="1394"/>
                </a:lnTo>
                <a:lnTo>
                  <a:pt x="2004" y="1370"/>
                </a:lnTo>
                <a:lnTo>
                  <a:pt x="1986" y="1342"/>
                </a:lnTo>
                <a:lnTo>
                  <a:pt x="1971" y="1311"/>
                </a:lnTo>
                <a:lnTo>
                  <a:pt x="1962" y="1277"/>
                </a:lnTo>
                <a:lnTo>
                  <a:pt x="1959" y="1241"/>
                </a:lnTo>
                <a:lnTo>
                  <a:pt x="1962" y="1206"/>
                </a:lnTo>
                <a:lnTo>
                  <a:pt x="1971" y="1172"/>
                </a:lnTo>
                <a:lnTo>
                  <a:pt x="1986" y="1141"/>
                </a:lnTo>
                <a:lnTo>
                  <a:pt x="2004" y="1113"/>
                </a:lnTo>
                <a:lnTo>
                  <a:pt x="2028" y="1090"/>
                </a:lnTo>
                <a:lnTo>
                  <a:pt x="2056" y="1070"/>
                </a:lnTo>
                <a:lnTo>
                  <a:pt x="2087" y="1055"/>
                </a:lnTo>
                <a:lnTo>
                  <a:pt x="2121" y="1046"/>
                </a:lnTo>
                <a:lnTo>
                  <a:pt x="2156" y="1043"/>
                </a:lnTo>
                <a:close/>
                <a:moveTo>
                  <a:pt x="1259" y="1043"/>
                </a:moveTo>
                <a:lnTo>
                  <a:pt x="1294" y="1046"/>
                </a:lnTo>
                <a:lnTo>
                  <a:pt x="1328" y="1055"/>
                </a:lnTo>
                <a:lnTo>
                  <a:pt x="1359" y="1070"/>
                </a:lnTo>
                <a:lnTo>
                  <a:pt x="1387" y="1090"/>
                </a:lnTo>
                <a:lnTo>
                  <a:pt x="1410" y="1113"/>
                </a:lnTo>
                <a:lnTo>
                  <a:pt x="1429" y="1141"/>
                </a:lnTo>
                <a:lnTo>
                  <a:pt x="1444" y="1172"/>
                </a:lnTo>
                <a:lnTo>
                  <a:pt x="1453" y="1206"/>
                </a:lnTo>
                <a:lnTo>
                  <a:pt x="1456" y="1241"/>
                </a:lnTo>
                <a:lnTo>
                  <a:pt x="1453" y="1277"/>
                </a:lnTo>
                <a:lnTo>
                  <a:pt x="1444" y="1311"/>
                </a:lnTo>
                <a:lnTo>
                  <a:pt x="1429" y="1342"/>
                </a:lnTo>
                <a:lnTo>
                  <a:pt x="1410" y="1370"/>
                </a:lnTo>
                <a:lnTo>
                  <a:pt x="1387" y="1394"/>
                </a:lnTo>
                <a:lnTo>
                  <a:pt x="1359" y="1413"/>
                </a:lnTo>
                <a:lnTo>
                  <a:pt x="1328" y="1428"/>
                </a:lnTo>
                <a:lnTo>
                  <a:pt x="1294" y="1437"/>
                </a:lnTo>
                <a:lnTo>
                  <a:pt x="1259" y="1440"/>
                </a:lnTo>
                <a:lnTo>
                  <a:pt x="1224" y="1437"/>
                </a:lnTo>
                <a:lnTo>
                  <a:pt x="1189" y="1428"/>
                </a:lnTo>
                <a:lnTo>
                  <a:pt x="1159" y="1413"/>
                </a:lnTo>
                <a:lnTo>
                  <a:pt x="1131" y="1394"/>
                </a:lnTo>
                <a:lnTo>
                  <a:pt x="1107" y="1370"/>
                </a:lnTo>
                <a:lnTo>
                  <a:pt x="1088" y="1342"/>
                </a:lnTo>
                <a:lnTo>
                  <a:pt x="1074" y="1311"/>
                </a:lnTo>
                <a:lnTo>
                  <a:pt x="1065" y="1277"/>
                </a:lnTo>
                <a:lnTo>
                  <a:pt x="1061" y="1241"/>
                </a:lnTo>
                <a:lnTo>
                  <a:pt x="1065" y="1206"/>
                </a:lnTo>
                <a:lnTo>
                  <a:pt x="1074" y="1172"/>
                </a:lnTo>
                <a:lnTo>
                  <a:pt x="1088" y="1141"/>
                </a:lnTo>
                <a:lnTo>
                  <a:pt x="1107" y="1113"/>
                </a:lnTo>
                <a:lnTo>
                  <a:pt x="1131" y="1090"/>
                </a:lnTo>
                <a:lnTo>
                  <a:pt x="1159" y="1070"/>
                </a:lnTo>
                <a:lnTo>
                  <a:pt x="1189" y="1055"/>
                </a:lnTo>
                <a:lnTo>
                  <a:pt x="1224" y="1046"/>
                </a:lnTo>
                <a:lnTo>
                  <a:pt x="1259" y="1043"/>
                </a:lnTo>
                <a:close/>
                <a:moveTo>
                  <a:pt x="1692" y="263"/>
                </a:moveTo>
                <a:lnTo>
                  <a:pt x="1608" y="265"/>
                </a:lnTo>
                <a:lnTo>
                  <a:pt x="1524" y="273"/>
                </a:lnTo>
                <a:lnTo>
                  <a:pt x="1440" y="286"/>
                </a:lnTo>
                <a:lnTo>
                  <a:pt x="1357" y="302"/>
                </a:lnTo>
                <a:lnTo>
                  <a:pt x="1275" y="325"/>
                </a:lnTo>
                <a:lnTo>
                  <a:pt x="1193" y="353"/>
                </a:lnTo>
                <a:lnTo>
                  <a:pt x="1113" y="385"/>
                </a:lnTo>
                <a:lnTo>
                  <a:pt x="1036" y="423"/>
                </a:lnTo>
                <a:lnTo>
                  <a:pt x="960" y="464"/>
                </a:lnTo>
                <a:lnTo>
                  <a:pt x="886" y="511"/>
                </a:lnTo>
                <a:lnTo>
                  <a:pt x="815" y="564"/>
                </a:lnTo>
                <a:lnTo>
                  <a:pt x="746" y="621"/>
                </a:lnTo>
                <a:lnTo>
                  <a:pt x="680" y="684"/>
                </a:lnTo>
                <a:lnTo>
                  <a:pt x="619" y="750"/>
                </a:lnTo>
                <a:lnTo>
                  <a:pt x="561" y="819"/>
                </a:lnTo>
                <a:lnTo>
                  <a:pt x="509" y="891"/>
                </a:lnTo>
                <a:lnTo>
                  <a:pt x="462" y="965"/>
                </a:lnTo>
                <a:lnTo>
                  <a:pt x="420" y="1041"/>
                </a:lnTo>
                <a:lnTo>
                  <a:pt x="383" y="1120"/>
                </a:lnTo>
                <a:lnTo>
                  <a:pt x="350" y="1200"/>
                </a:lnTo>
                <a:lnTo>
                  <a:pt x="323" y="1282"/>
                </a:lnTo>
                <a:lnTo>
                  <a:pt x="300" y="1365"/>
                </a:lnTo>
                <a:lnTo>
                  <a:pt x="284" y="1448"/>
                </a:lnTo>
                <a:lnTo>
                  <a:pt x="271" y="1532"/>
                </a:lnTo>
                <a:lnTo>
                  <a:pt x="264" y="1616"/>
                </a:lnTo>
                <a:lnTo>
                  <a:pt x="261" y="1702"/>
                </a:lnTo>
                <a:lnTo>
                  <a:pt x="264" y="1787"/>
                </a:lnTo>
                <a:lnTo>
                  <a:pt x="271" y="1872"/>
                </a:lnTo>
                <a:lnTo>
                  <a:pt x="284" y="1956"/>
                </a:lnTo>
                <a:lnTo>
                  <a:pt x="300" y="2040"/>
                </a:lnTo>
                <a:lnTo>
                  <a:pt x="323" y="2122"/>
                </a:lnTo>
                <a:lnTo>
                  <a:pt x="350" y="2204"/>
                </a:lnTo>
                <a:lnTo>
                  <a:pt x="383" y="2285"/>
                </a:lnTo>
                <a:lnTo>
                  <a:pt x="420" y="2362"/>
                </a:lnTo>
                <a:lnTo>
                  <a:pt x="462" y="2439"/>
                </a:lnTo>
                <a:lnTo>
                  <a:pt x="509" y="2513"/>
                </a:lnTo>
                <a:lnTo>
                  <a:pt x="561" y="2585"/>
                </a:lnTo>
                <a:lnTo>
                  <a:pt x="619" y="2654"/>
                </a:lnTo>
                <a:lnTo>
                  <a:pt x="680" y="2720"/>
                </a:lnTo>
                <a:lnTo>
                  <a:pt x="746" y="2782"/>
                </a:lnTo>
                <a:lnTo>
                  <a:pt x="815" y="2840"/>
                </a:lnTo>
                <a:lnTo>
                  <a:pt x="886" y="2892"/>
                </a:lnTo>
                <a:lnTo>
                  <a:pt x="960" y="2940"/>
                </a:lnTo>
                <a:lnTo>
                  <a:pt x="1036" y="2982"/>
                </a:lnTo>
                <a:lnTo>
                  <a:pt x="1113" y="3019"/>
                </a:lnTo>
                <a:lnTo>
                  <a:pt x="1193" y="3052"/>
                </a:lnTo>
                <a:lnTo>
                  <a:pt x="1275" y="3079"/>
                </a:lnTo>
                <a:lnTo>
                  <a:pt x="1357" y="3102"/>
                </a:lnTo>
                <a:lnTo>
                  <a:pt x="1440" y="3119"/>
                </a:lnTo>
                <a:lnTo>
                  <a:pt x="1524" y="3131"/>
                </a:lnTo>
                <a:lnTo>
                  <a:pt x="1608" y="3139"/>
                </a:lnTo>
                <a:lnTo>
                  <a:pt x="1692" y="3142"/>
                </a:lnTo>
                <a:lnTo>
                  <a:pt x="1777" y="3139"/>
                </a:lnTo>
                <a:lnTo>
                  <a:pt x="1862" y="3131"/>
                </a:lnTo>
                <a:lnTo>
                  <a:pt x="1945" y="3119"/>
                </a:lnTo>
                <a:lnTo>
                  <a:pt x="2028" y="3101"/>
                </a:lnTo>
                <a:lnTo>
                  <a:pt x="2110" y="3079"/>
                </a:lnTo>
                <a:lnTo>
                  <a:pt x="2191" y="3052"/>
                </a:lnTo>
                <a:lnTo>
                  <a:pt x="2271" y="3019"/>
                </a:lnTo>
                <a:lnTo>
                  <a:pt x="2349" y="2982"/>
                </a:lnTo>
                <a:lnTo>
                  <a:pt x="2425" y="2939"/>
                </a:lnTo>
                <a:lnTo>
                  <a:pt x="2499" y="2892"/>
                </a:lnTo>
                <a:lnTo>
                  <a:pt x="2570" y="2840"/>
                </a:lnTo>
                <a:lnTo>
                  <a:pt x="2639" y="2782"/>
                </a:lnTo>
                <a:lnTo>
                  <a:pt x="2705" y="2720"/>
                </a:lnTo>
                <a:lnTo>
                  <a:pt x="2767" y="2654"/>
                </a:lnTo>
                <a:lnTo>
                  <a:pt x="2823" y="2585"/>
                </a:lnTo>
                <a:lnTo>
                  <a:pt x="2875" y="2512"/>
                </a:lnTo>
                <a:lnTo>
                  <a:pt x="2923" y="2438"/>
                </a:lnTo>
                <a:lnTo>
                  <a:pt x="2965" y="2362"/>
                </a:lnTo>
                <a:lnTo>
                  <a:pt x="3002" y="2283"/>
                </a:lnTo>
                <a:lnTo>
                  <a:pt x="3035" y="2204"/>
                </a:lnTo>
                <a:lnTo>
                  <a:pt x="3062" y="2122"/>
                </a:lnTo>
                <a:lnTo>
                  <a:pt x="3084" y="2040"/>
                </a:lnTo>
                <a:lnTo>
                  <a:pt x="3101" y="1956"/>
                </a:lnTo>
                <a:lnTo>
                  <a:pt x="3114" y="1872"/>
                </a:lnTo>
                <a:lnTo>
                  <a:pt x="3121" y="1787"/>
                </a:lnTo>
                <a:lnTo>
                  <a:pt x="3124" y="1702"/>
                </a:lnTo>
                <a:lnTo>
                  <a:pt x="3121" y="1616"/>
                </a:lnTo>
                <a:lnTo>
                  <a:pt x="3114" y="1532"/>
                </a:lnTo>
                <a:lnTo>
                  <a:pt x="3101" y="1448"/>
                </a:lnTo>
                <a:lnTo>
                  <a:pt x="3084" y="1365"/>
                </a:lnTo>
                <a:lnTo>
                  <a:pt x="3062" y="1282"/>
                </a:lnTo>
                <a:lnTo>
                  <a:pt x="3035" y="1200"/>
                </a:lnTo>
                <a:lnTo>
                  <a:pt x="3002" y="1120"/>
                </a:lnTo>
                <a:lnTo>
                  <a:pt x="2965" y="1041"/>
                </a:lnTo>
                <a:lnTo>
                  <a:pt x="2923" y="965"/>
                </a:lnTo>
                <a:lnTo>
                  <a:pt x="2875" y="891"/>
                </a:lnTo>
                <a:lnTo>
                  <a:pt x="2823" y="820"/>
                </a:lnTo>
                <a:lnTo>
                  <a:pt x="2767" y="750"/>
                </a:lnTo>
                <a:lnTo>
                  <a:pt x="2705" y="684"/>
                </a:lnTo>
                <a:lnTo>
                  <a:pt x="2639" y="621"/>
                </a:lnTo>
                <a:lnTo>
                  <a:pt x="2570" y="564"/>
                </a:lnTo>
                <a:lnTo>
                  <a:pt x="2499" y="511"/>
                </a:lnTo>
                <a:lnTo>
                  <a:pt x="2425" y="464"/>
                </a:lnTo>
                <a:lnTo>
                  <a:pt x="2349" y="423"/>
                </a:lnTo>
                <a:lnTo>
                  <a:pt x="2271" y="385"/>
                </a:lnTo>
                <a:lnTo>
                  <a:pt x="2191" y="353"/>
                </a:lnTo>
                <a:lnTo>
                  <a:pt x="2110" y="325"/>
                </a:lnTo>
                <a:lnTo>
                  <a:pt x="2028" y="302"/>
                </a:lnTo>
                <a:lnTo>
                  <a:pt x="1945" y="286"/>
                </a:lnTo>
                <a:lnTo>
                  <a:pt x="1862" y="273"/>
                </a:lnTo>
                <a:lnTo>
                  <a:pt x="1777" y="265"/>
                </a:lnTo>
                <a:lnTo>
                  <a:pt x="1692" y="263"/>
                </a:lnTo>
                <a:close/>
                <a:moveTo>
                  <a:pt x="1692" y="0"/>
                </a:moveTo>
                <a:lnTo>
                  <a:pt x="1785" y="2"/>
                </a:lnTo>
                <a:lnTo>
                  <a:pt x="1879" y="11"/>
                </a:lnTo>
                <a:lnTo>
                  <a:pt x="1970" y="23"/>
                </a:lnTo>
                <a:lnTo>
                  <a:pt x="2061" y="41"/>
                </a:lnTo>
                <a:lnTo>
                  <a:pt x="2152" y="64"/>
                </a:lnTo>
                <a:lnTo>
                  <a:pt x="2241" y="91"/>
                </a:lnTo>
                <a:lnTo>
                  <a:pt x="2330" y="125"/>
                </a:lnTo>
                <a:lnTo>
                  <a:pt x="2416" y="163"/>
                </a:lnTo>
                <a:lnTo>
                  <a:pt x="2501" y="206"/>
                </a:lnTo>
                <a:lnTo>
                  <a:pt x="2583" y="254"/>
                </a:lnTo>
                <a:lnTo>
                  <a:pt x="2664" y="308"/>
                </a:lnTo>
                <a:lnTo>
                  <a:pt x="2742" y="366"/>
                </a:lnTo>
                <a:lnTo>
                  <a:pt x="2817" y="430"/>
                </a:lnTo>
                <a:lnTo>
                  <a:pt x="2890" y="498"/>
                </a:lnTo>
                <a:lnTo>
                  <a:pt x="2958" y="571"/>
                </a:lnTo>
                <a:lnTo>
                  <a:pt x="3021" y="646"/>
                </a:lnTo>
                <a:lnTo>
                  <a:pt x="3079" y="725"/>
                </a:lnTo>
                <a:lnTo>
                  <a:pt x="3132" y="805"/>
                </a:lnTo>
                <a:lnTo>
                  <a:pt x="3180" y="889"/>
                </a:lnTo>
                <a:lnTo>
                  <a:pt x="3223" y="975"/>
                </a:lnTo>
                <a:lnTo>
                  <a:pt x="3261" y="1061"/>
                </a:lnTo>
                <a:lnTo>
                  <a:pt x="3293" y="1149"/>
                </a:lnTo>
                <a:lnTo>
                  <a:pt x="3321" y="1240"/>
                </a:lnTo>
                <a:lnTo>
                  <a:pt x="3344" y="1331"/>
                </a:lnTo>
                <a:lnTo>
                  <a:pt x="3362" y="1423"/>
                </a:lnTo>
                <a:lnTo>
                  <a:pt x="3374" y="1515"/>
                </a:lnTo>
                <a:lnTo>
                  <a:pt x="3382" y="1609"/>
                </a:lnTo>
                <a:lnTo>
                  <a:pt x="3385" y="1702"/>
                </a:lnTo>
                <a:lnTo>
                  <a:pt x="3382" y="1795"/>
                </a:lnTo>
                <a:lnTo>
                  <a:pt x="3374" y="1888"/>
                </a:lnTo>
                <a:lnTo>
                  <a:pt x="3362" y="1981"/>
                </a:lnTo>
                <a:lnTo>
                  <a:pt x="3344" y="2073"/>
                </a:lnTo>
                <a:lnTo>
                  <a:pt x="3321" y="2164"/>
                </a:lnTo>
                <a:lnTo>
                  <a:pt x="3293" y="2254"/>
                </a:lnTo>
                <a:lnTo>
                  <a:pt x="3261" y="2343"/>
                </a:lnTo>
                <a:lnTo>
                  <a:pt x="3223" y="2430"/>
                </a:lnTo>
                <a:lnTo>
                  <a:pt x="3180" y="2516"/>
                </a:lnTo>
                <a:lnTo>
                  <a:pt x="3132" y="2598"/>
                </a:lnTo>
                <a:lnTo>
                  <a:pt x="3079" y="2680"/>
                </a:lnTo>
                <a:lnTo>
                  <a:pt x="3021" y="2757"/>
                </a:lnTo>
                <a:lnTo>
                  <a:pt x="2958" y="2833"/>
                </a:lnTo>
                <a:lnTo>
                  <a:pt x="2890" y="2906"/>
                </a:lnTo>
                <a:lnTo>
                  <a:pt x="2817" y="2975"/>
                </a:lnTo>
                <a:lnTo>
                  <a:pt x="2742" y="3038"/>
                </a:lnTo>
                <a:lnTo>
                  <a:pt x="2664" y="3097"/>
                </a:lnTo>
                <a:lnTo>
                  <a:pt x="2583" y="3150"/>
                </a:lnTo>
                <a:lnTo>
                  <a:pt x="2501" y="3198"/>
                </a:lnTo>
                <a:lnTo>
                  <a:pt x="2416" y="3241"/>
                </a:lnTo>
                <a:lnTo>
                  <a:pt x="2330" y="3280"/>
                </a:lnTo>
                <a:lnTo>
                  <a:pt x="2241" y="3312"/>
                </a:lnTo>
                <a:lnTo>
                  <a:pt x="2152" y="3340"/>
                </a:lnTo>
                <a:lnTo>
                  <a:pt x="2061" y="3363"/>
                </a:lnTo>
                <a:lnTo>
                  <a:pt x="1970" y="3381"/>
                </a:lnTo>
                <a:lnTo>
                  <a:pt x="1877" y="3394"/>
                </a:lnTo>
                <a:lnTo>
                  <a:pt x="1785" y="3401"/>
                </a:lnTo>
                <a:lnTo>
                  <a:pt x="1692" y="3404"/>
                </a:lnTo>
                <a:lnTo>
                  <a:pt x="1600" y="3401"/>
                </a:lnTo>
                <a:lnTo>
                  <a:pt x="1507" y="3394"/>
                </a:lnTo>
                <a:lnTo>
                  <a:pt x="1415" y="3381"/>
                </a:lnTo>
                <a:lnTo>
                  <a:pt x="1323" y="3363"/>
                </a:lnTo>
                <a:lnTo>
                  <a:pt x="1233" y="3340"/>
                </a:lnTo>
                <a:lnTo>
                  <a:pt x="1144" y="3312"/>
                </a:lnTo>
                <a:lnTo>
                  <a:pt x="1055" y="3280"/>
                </a:lnTo>
                <a:lnTo>
                  <a:pt x="969" y="3241"/>
                </a:lnTo>
                <a:lnTo>
                  <a:pt x="884" y="3198"/>
                </a:lnTo>
                <a:lnTo>
                  <a:pt x="802" y="3150"/>
                </a:lnTo>
                <a:lnTo>
                  <a:pt x="720" y="3097"/>
                </a:lnTo>
                <a:lnTo>
                  <a:pt x="642" y="3038"/>
                </a:lnTo>
                <a:lnTo>
                  <a:pt x="568" y="2975"/>
                </a:lnTo>
                <a:lnTo>
                  <a:pt x="495" y="2907"/>
                </a:lnTo>
                <a:lnTo>
                  <a:pt x="427" y="2833"/>
                </a:lnTo>
                <a:lnTo>
                  <a:pt x="364" y="2758"/>
                </a:lnTo>
                <a:lnTo>
                  <a:pt x="306" y="2680"/>
                </a:lnTo>
                <a:lnTo>
                  <a:pt x="253" y="2598"/>
                </a:lnTo>
                <a:lnTo>
                  <a:pt x="205" y="2516"/>
                </a:lnTo>
                <a:lnTo>
                  <a:pt x="162" y="2430"/>
                </a:lnTo>
                <a:lnTo>
                  <a:pt x="124" y="2343"/>
                </a:lnTo>
                <a:lnTo>
                  <a:pt x="92" y="2254"/>
                </a:lnTo>
                <a:lnTo>
                  <a:pt x="63" y="2164"/>
                </a:lnTo>
                <a:lnTo>
                  <a:pt x="41" y="2073"/>
                </a:lnTo>
                <a:lnTo>
                  <a:pt x="23" y="1981"/>
                </a:lnTo>
                <a:lnTo>
                  <a:pt x="10" y="1888"/>
                </a:lnTo>
                <a:lnTo>
                  <a:pt x="3" y="1795"/>
                </a:lnTo>
                <a:lnTo>
                  <a:pt x="0" y="1702"/>
                </a:lnTo>
                <a:lnTo>
                  <a:pt x="3" y="1608"/>
                </a:lnTo>
                <a:lnTo>
                  <a:pt x="10" y="1515"/>
                </a:lnTo>
                <a:lnTo>
                  <a:pt x="23" y="1423"/>
                </a:lnTo>
                <a:lnTo>
                  <a:pt x="41" y="1331"/>
                </a:lnTo>
                <a:lnTo>
                  <a:pt x="63" y="1240"/>
                </a:lnTo>
                <a:lnTo>
                  <a:pt x="92" y="1149"/>
                </a:lnTo>
                <a:lnTo>
                  <a:pt x="124" y="1061"/>
                </a:lnTo>
                <a:lnTo>
                  <a:pt x="162" y="974"/>
                </a:lnTo>
                <a:lnTo>
                  <a:pt x="205" y="889"/>
                </a:lnTo>
                <a:lnTo>
                  <a:pt x="253" y="805"/>
                </a:lnTo>
                <a:lnTo>
                  <a:pt x="306" y="725"/>
                </a:lnTo>
                <a:lnTo>
                  <a:pt x="364" y="646"/>
                </a:lnTo>
                <a:lnTo>
                  <a:pt x="427" y="571"/>
                </a:lnTo>
                <a:lnTo>
                  <a:pt x="495" y="498"/>
                </a:lnTo>
                <a:lnTo>
                  <a:pt x="568" y="430"/>
                </a:lnTo>
                <a:lnTo>
                  <a:pt x="642" y="366"/>
                </a:lnTo>
                <a:lnTo>
                  <a:pt x="720" y="308"/>
                </a:lnTo>
                <a:lnTo>
                  <a:pt x="802" y="254"/>
                </a:lnTo>
                <a:lnTo>
                  <a:pt x="884" y="206"/>
                </a:lnTo>
                <a:lnTo>
                  <a:pt x="969" y="162"/>
                </a:lnTo>
                <a:lnTo>
                  <a:pt x="1055" y="125"/>
                </a:lnTo>
                <a:lnTo>
                  <a:pt x="1144" y="91"/>
                </a:lnTo>
                <a:lnTo>
                  <a:pt x="1233" y="64"/>
                </a:lnTo>
                <a:lnTo>
                  <a:pt x="1323" y="41"/>
                </a:lnTo>
                <a:lnTo>
                  <a:pt x="1415" y="23"/>
                </a:lnTo>
                <a:lnTo>
                  <a:pt x="1507" y="11"/>
                </a:lnTo>
                <a:lnTo>
                  <a:pt x="1600" y="2"/>
                </a:lnTo>
                <a:lnTo>
                  <a:pt x="169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4" name="Straight Connector 33"/>
          <p:cNvCxnSpPr/>
          <p:nvPr/>
        </p:nvCxnSpPr>
        <p:spPr>
          <a:xfrm>
            <a:off x="6096000" y="2402889"/>
            <a:ext cx="0" cy="105193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6096000" y="4353977"/>
            <a:ext cx="0" cy="105193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69"/>
          <a:stretch/>
        </p:blipFill>
        <p:spPr>
          <a:xfrm>
            <a:off x="8162795" y="1662630"/>
            <a:ext cx="417623" cy="4572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99208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G_xpJgMUSIQDI9Tqh7_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02</TotalTime>
  <Words>1283</Words>
  <Application>Microsoft Office PowerPoint</Application>
  <PresentationFormat>Custom</PresentationFormat>
  <Paragraphs>288</Paragraphs>
  <Slides>25</Slides>
  <Notes>16</Notes>
  <HiddenSlides>1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Raleway</vt:lpstr>
      <vt:lpstr>等线</vt:lpstr>
      <vt:lpstr>Calibri Light</vt:lpstr>
      <vt:lpstr>Times New Roman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rahWS1</dc:creator>
  <cp:lastModifiedBy>KorahWS1</cp:lastModifiedBy>
  <cp:revision>88</cp:revision>
  <dcterms:created xsi:type="dcterms:W3CDTF">2017-04-27T22:41:44Z</dcterms:created>
  <dcterms:modified xsi:type="dcterms:W3CDTF">2017-05-08T16:29:24Z</dcterms:modified>
</cp:coreProperties>
</file>